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5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Lst>
  <p:notesMasterIdLst>
    <p:notesMasterId r:id="rId71"/>
  </p:notesMasterIdLst>
  <p:handoutMasterIdLst>
    <p:handoutMasterId r:id="rId72"/>
  </p:handoutMasterIdLst>
  <p:sldIdLst>
    <p:sldId id="368" r:id="rId2"/>
    <p:sldId id="1596" r:id="rId3"/>
    <p:sldId id="645" r:id="rId4"/>
    <p:sldId id="382" r:id="rId5"/>
    <p:sldId id="1597" r:id="rId6"/>
    <p:sldId id="648" r:id="rId7"/>
    <p:sldId id="657" r:id="rId8"/>
    <p:sldId id="412" r:id="rId9"/>
    <p:sldId id="656" r:id="rId10"/>
    <p:sldId id="389" r:id="rId11"/>
    <p:sldId id="390" r:id="rId12"/>
    <p:sldId id="391" r:id="rId13"/>
    <p:sldId id="392" r:id="rId14"/>
    <p:sldId id="393" r:id="rId15"/>
    <p:sldId id="394" r:id="rId16"/>
    <p:sldId id="395" r:id="rId17"/>
    <p:sldId id="397" r:id="rId18"/>
    <p:sldId id="573" r:id="rId19"/>
    <p:sldId id="650" r:id="rId20"/>
    <p:sldId id="415" r:id="rId21"/>
    <p:sldId id="611" r:id="rId22"/>
    <p:sldId id="612" r:id="rId23"/>
    <p:sldId id="410" r:id="rId24"/>
    <p:sldId id="1599" r:id="rId25"/>
    <p:sldId id="1600" r:id="rId26"/>
    <p:sldId id="1601" r:id="rId27"/>
    <p:sldId id="1602" r:id="rId28"/>
    <p:sldId id="383" r:id="rId29"/>
    <p:sldId id="384" r:id="rId30"/>
    <p:sldId id="385" r:id="rId31"/>
    <p:sldId id="386" r:id="rId32"/>
    <p:sldId id="387" r:id="rId33"/>
    <p:sldId id="375" r:id="rId34"/>
    <p:sldId id="388" r:id="rId35"/>
    <p:sldId id="372" r:id="rId36"/>
    <p:sldId id="411" r:id="rId37"/>
    <p:sldId id="1605" r:id="rId38"/>
    <p:sldId id="1606" r:id="rId39"/>
    <p:sldId id="1611" r:id="rId40"/>
    <p:sldId id="418" r:id="rId41"/>
    <p:sldId id="416" r:id="rId42"/>
    <p:sldId id="1607" r:id="rId43"/>
    <p:sldId id="1608" r:id="rId44"/>
    <p:sldId id="1609" r:id="rId45"/>
    <p:sldId id="610" r:id="rId46"/>
    <p:sldId id="631" r:id="rId47"/>
    <p:sldId id="634" r:id="rId48"/>
    <p:sldId id="637" r:id="rId49"/>
    <p:sldId id="417" r:id="rId50"/>
    <p:sldId id="419" r:id="rId51"/>
    <p:sldId id="1612" r:id="rId52"/>
    <p:sldId id="1613" r:id="rId53"/>
    <p:sldId id="402" r:id="rId54"/>
    <p:sldId id="399" r:id="rId55"/>
    <p:sldId id="403" r:id="rId56"/>
    <p:sldId id="371" r:id="rId57"/>
    <p:sldId id="1604" r:id="rId58"/>
    <p:sldId id="413" r:id="rId59"/>
    <p:sldId id="378" r:id="rId60"/>
    <p:sldId id="396" r:id="rId61"/>
    <p:sldId id="398" r:id="rId62"/>
    <p:sldId id="400" r:id="rId63"/>
    <p:sldId id="401" r:id="rId64"/>
    <p:sldId id="404" r:id="rId65"/>
    <p:sldId id="405" r:id="rId66"/>
    <p:sldId id="406" r:id="rId67"/>
    <p:sldId id="407" r:id="rId68"/>
    <p:sldId id="408" r:id="rId69"/>
    <p:sldId id="409" r:id="rId70"/>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78D7"/>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74" autoAdjust="0"/>
    <p:restoredTop sz="83871" autoAdjust="0"/>
  </p:normalViewPr>
  <p:slideViewPr>
    <p:cSldViewPr snapToGrid="0">
      <p:cViewPr varScale="1">
        <p:scale>
          <a:sx n="101" d="100"/>
          <a:sy n="101" d="100"/>
        </p:scale>
        <p:origin x="41" y="41"/>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k El-Azem" userId="e9a1393194618efd" providerId="LiveId" clId="{0E83E319-DD06-42C9-950A-41FC9BC8C8A8}"/>
    <pc:docChg chg="undo custSel addSld delSld modSld sldOrd delMainMaster">
      <pc:chgData name="Patrick El-Azem" userId="e9a1393194618efd" providerId="LiveId" clId="{0E83E319-DD06-42C9-950A-41FC9BC8C8A8}" dt="2018-05-15T16:56:19.386" v="6554" actId="2696"/>
      <pc:docMkLst>
        <pc:docMk/>
      </pc:docMkLst>
      <pc:sldChg chg="addSp delSp modSp del delAnim">
        <pc:chgData name="Patrick El-Azem" userId="e9a1393194618efd" providerId="LiveId" clId="{0E83E319-DD06-42C9-950A-41FC9BC8C8A8}" dt="2018-05-15T13:54:27.515" v="4825" actId="2696"/>
        <pc:sldMkLst>
          <pc:docMk/>
          <pc:sldMk cId="4162784970" sldId="324"/>
        </pc:sldMkLst>
        <pc:spChg chg="del">
          <ac:chgData name="Patrick El-Azem" userId="e9a1393194618efd" providerId="LiveId" clId="{0E83E319-DD06-42C9-950A-41FC9BC8C8A8}" dt="2018-05-15T13:25:52.771" v="3249" actId="478"/>
          <ac:spMkLst>
            <pc:docMk/>
            <pc:sldMk cId="4162784970" sldId="324"/>
            <ac:spMk id="2" creationId="{00000000-0000-0000-0000-000000000000}"/>
          </ac:spMkLst>
        </pc:spChg>
        <pc:spChg chg="del">
          <ac:chgData name="Patrick El-Azem" userId="e9a1393194618efd" providerId="LiveId" clId="{0E83E319-DD06-42C9-950A-41FC9BC8C8A8}" dt="2018-05-15T13:25:55.306" v="3250" actId="478"/>
          <ac:spMkLst>
            <pc:docMk/>
            <pc:sldMk cId="4162784970" sldId="324"/>
            <ac:spMk id="3" creationId="{3610C69D-3ACD-4A25-B8B8-580189D69A91}"/>
          </ac:spMkLst>
        </pc:spChg>
        <pc:spChg chg="mod">
          <ac:chgData name="Patrick El-Azem" userId="e9a1393194618efd" providerId="LiveId" clId="{0E83E319-DD06-42C9-950A-41FC9BC8C8A8}" dt="2018-05-15T13:32:04.275" v="4041" actId="20577"/>
          <ac:spMkLst>
            <pc:docMk/>
            <pc:sldMk cId="4162784970" sldId="324"/>
            <ac:spMk id="6" creationId="{00000000-0000-0000-0000-000000000000}"/>
          </ac:spMkLst>
        </pc:spChg>
        <pc:spChg chg="add del mod">
          <ac:chgData name="Patrick El-Azem" userId="e9a1393194618efd" providerId="LiveId" clId="{0E83E319-DD06-42C9-950A-41FC9BC8C8A8}" dt="2018-05-15T13:25:00.978" v="3198" actId="478"/>
          <ac:spMkLst>
            <pc:docMk/>
            <pc:sldMk cId="4162784970" sldId="324"/>
            <ac:spMk id="9" creationId="{B6763D43-1BF4-4594-A138-C1556AD03ACA}"/>
          </ac:spMkLst>
        </pc:spChg>
        <pc:spChg chg="add mod">
          <ac:chgData name="Patrick El-Azem" userId="e9a1393194618efd" providerId="LiveId" clId="{0E83E319-DD06-42C9-950A-41FC9BC8C8A8}" dt="2018-05-15T13:25:25.134" v="3243" actId="20577"/>
          <ac:spMkLst>
            <pc:docMk/>
            <pc:sldMk cId="4162784970" sldId="324"/>
            <ac:spMk id="10" creationId="{68810728-1CC7-47AF-9142-19F123DBAEE5}"/>
          </ac:spMkLst>
        </pc:spChg>
        <pc:spChg chg="del">
          <ac:chgData name="Patrick El-Azem" userId="e9a1393194618efd" providerId="LiveId" clId="{0E83E319-DD06-42C9-950A-41FC9BC8C8A8}" dt="2018-05-15T13:24:58.373" v="3197" actId="478"/>
          <ac:spMkLst>
            <pc:docMk/>
            <pc:sldMk cId="4162784970" sldId="324"/>
            <ac:spMk id="17" creationId="{00000000-0000-0000-0000-000000000000}"/>
          </ac:spMkLst>
        </pc:spChg>
        <pc:picChg chg="mod">
          <ac:chgData name="Patrick El-Azem" userId="e9a1393194618efd" providerId="LiveId" clId="{0E83E319-DD06-42C9-950A-41FC9BC8C8A8}" dt="2018-05-15T13:32:21.438" v="4044" actId="1076"/>
          <ac:picMkLst>
            <pc:docMk/>
            <pc:sldMk cId="4162784970" sldId="324"/>
            <ac:picMk id="4" creationId="{00000000-0000-0000-0000-000000000000}"/>
          </ac:picMkLst>
        </pc:picChg>
        <pc:picChg chg="del mod">
          <ac:chgData name="Patrick El-Azem" userId="e9a1393194618efd" providerId="LiveId" clId="{0E83E319-DD06-42C9-950A-41FC9BC8C8A8}" dt="2018-05-15T13:29:19.265" v="3440" actId="478"/>
          <ac:picMkLst>
            <pc:docMk/>
            <pc:sldMk cId="4162784970" sldId="324"/>
            <ac:picMk id="5" creationId="{00000000-0000-0000-0000-000000000000}"/>
          </ac:picMkLst>
        </pc:picChg>
        <pc:picChg chg="mod">
          <ac:chgData name="Patrick El-Azem" userId="e9a1393194618efd" providerId="LiveId" clId="{0E83E319-DD06-42C9-950A-41FC9BC8C8A8}" dt="2018-05-15T13:32:18.695" v="4043" actId="1076"/>
          <ac:picMkLst>
            <pc:docMk/>
            <pc:sldMk cId="4162784970" sldId="324"/>
            <ac:picMk id="7" creationId="{00000000-0000-0000-0000-000000000000}"/>
          </ac:picMkLst>
        </pc:picChg>
        <pc:picChg chg="mod">
          <ac:chgData name="Patrick El-Azem" userId="e9a1393194618efd" providerId="LiveId" clId="{0E83E319-DD06-42C9-950A-41FC9BC8C8A8}" dt="2018-05-15T13:32:16.567" v="4042" actId="1076"/>
          <ac:picMkLst>
            <pc:docMk/>
            <pc:sldMk cId="4162784970" sldId="324"/>
            <ac:picMk id="1026" creationId="{00000000-0000-0000-0000-000000000000}"/>
          </ac:picMkLst>
        </pc:picChg>
      </pc:sldChg>
      <pc:sldChg chg="addSp delSp modSp">
        <pc:chgData name="Patrick El-Azem" userId="e9a1393194618efd" providerId="LiveId" clId="{0E83E319-DD06-42C9-950A-41FC9BC8C8A8}" dt="2018-05-15T16:45:51.491" v="6003" actId="20577"/>
        <pc:sldMkLst>
          <pc:docMk/>
          <pc:sldMk cId="2122759917" sldId="368"/>
        </pc:sldMkLst>
        <pc:spChg chg="add del mod">
          <ac:chgData name="Patrick El-Azem" userId="e9a1393194618efd" providerId="LiveId" clId="{0E83E319-DD06-42C9-950A-41FC9BC8C8A8}" dt="2018-05-15T16:44:59.286" v="5998"/>
          <ac:spMkLst>
            <pc:docMk/>
            <pc:sldMk cId="2122759917" sldId="368"/>
            <ac:spMk id="3" creationId="{A972EEC6-1600-49FA-B445-9FFB91C925F2}"/>
          </ac:spMkLst>
        </pc:spChg>
        <pc:spChg chg="add del mod">
          <ac:chgData name="Patrick El-Azem" userId="e9a1393194618efd" providerId="LiveId" clId="{0E83E319-DD06-42C9-950A-41FC9BC8C8A8}" dt="2018-05-15T16:45:51.491" v="6003" actId="20577"/>
          <ac:spMkLst>
            <pc:docMk/>
            <pc:sldMk cId="2122759917" sldId="368"/>
            <ac:spMk id="4" creationId="{47603156-A91A-45A2-8D74-E23EC1955270}"/>
          </ac:spMkLst>
        </pc:spChg>
      </pc:sldChg>
      <pc:sldChg chg="modSp ord">
        <pc:chgData name="Patrick El-Azem" userId="e9a1393194618efd" providerId="LiveId" clId="{0E83E319-DD06-42C9-950A-41FC9BC8C8A8}" dt="2018-05-15T13:09:23.364" v="2117" actId="14100"/>
        <pc:sldMkLst>
          <pc:docMk/>
          <pc:sldMk cId="74687238" sldId="372"/>
        </pc:sldMkLst>
        <pc:spChg chg="mod">
          <ac:chgData name="Patrick El-Azem" userId="e9a1393194618efd" providerId="LiveId" clId="{0E83E319-DD06-42C9-950A-41FC9BC8C8A8}" dt="2018-05-15T13:09:23.364" v="2117" actId="14100"/>
          <ac:spMkLst>
            <pc:docMk/>
            <pc:sldMk cId="74687238" sldId="372"/>
            <ac:spMk id="3" creationId="{7BB945C5-781C-42CA-91AD-0677E0D7F8A9}"/>
          </ac:spMkLst>
        </pc:spChg>
        <pc:spChg chg="mod">
          <ac:chgData name="Patrick El-Azem" userId="e9a1393194618efd" providerId="LiveId" clId="{0E83E319-DD06-42C9-950A-41FC9BC8C8A8}" dt="2018-05-15T13:08:07.215" v="2114" actId="20577"/>
          <ac:spMkLst>
            <pc:docMk/>
            <pc:sldMk cId="74687238" sldId="372"/>
            <ac:spMk id="4" creationId="{E07A14BA-BF2B-4DB4-8A4E-EFEC29CFB75E}"/>
          </ac:spMkLst>
        </pc:spChg>
      </pc:sldChg>
      <pc:sldChg chg="ord">
        <pc:chgData name="Patrick El-Azem" userId="e9a1393194618efd" providerId="LiveId" clId="{0E83E319-DD06-42C9-950A-41FC9BC8C8A8}" dt="2018-05-15T13:06:33.501" v="2054" actId="14100"/>
        <pc:sldMkLst>
          <pc:docMk/>
          <pc:sldMk cId="3026760170" sldId="375"/>
        </pc:sldMkLst>
      </pc:sldChg>
      <pc:sldChg chg="ord modTransition">
        <pc:chgData name="Patrick El-Azem" userId="e9a1393194618efd" providerId="LiveId" clId="{0E83E319-DD06-42C9-950A-41FC9BC8C8A8}" dt="2018-05-15T14:01:18.510" v="5324" actId="14100"/>
        <pc:sldMkLst>
          <pc:docMk/>
          <pc:sldMk cId="127534850" sldId="378"/>
        </pc:sldMkLst>
      </pc:sldChg>
      <pc:sldChg chg="addSp delSp modSp del ord modNotesTx">
        <pc:chgData name="Patrick El-Azem" userId="e9a1393194618efd" providerId="LiveId" clId="{0E83E319-DD06-42C9-950A-41FC9BC8C8A8}" dt="2018-05-15T11:51:55.687" v="547" actId="2696"/>
        <pc:sldMkLst>
          <pc:docMk/>
          <pc:sldMk cId="1288550663" sldId="380"/>
        </pc:sldMkLst>
        <pc:spChg chg="add del mod">
          <ac:chgData name="Patrick El-Azem" userId="e9a1393194618efd" providerId="LiveId" clId="{0E83E319-DD06-42C9-950A-41FC9BC8C8A8}" dt="2018-05-15T11:46:04.033" v="335" actId="2696"/>
          <ac:spMkLst>
            <pc:docMk/>
            <pc:sldMk cId="1288550663" sldId="380"/>
            <ac:spMk id="2" creationId="{E70172B5-AF8F-46F0-9408-B60F899B310C}"/>
          </ac:spMkLst>
        </pc:spChg>
        <pc:spChg chg="mod">
          <ac:chgData name="Patrick El-Azem" userId="e9a1393194618efd" providerId="LiveId" clId="{0E83E319-DD06-42C9-950A-41FC9BC8C8A8}" dt="2018-05-15T11:40:50.902" v="139" actId="14100"/>
          <ac:spMkLst>
            <pc:docMk/>
            <pc:sldMk cId="1288550663" sldId="380"/>
            <ac:spMk id="4" creationId="{E07A14BA-BF2B-4DB4-8A4E-EFEC29CFB75E}"/>
          </ac:spMkLst>
        </pc:spChg>
        <pc:spChg chg="del mod">
          <ac:chgData name="Patrick El-Azem" userId="e9a1393194618efd" providerId="LiveId" clId="{0E83E319-DD06-42C9-950A-41FC9BC8C8A8}" dt="2018-05-15T11:45:34.369" v="327" actId="478"/>
          <ac:spMkLst>
            <pc:docMk/>
            <pc:sldMk cId="1288550663" sldId="380"/>
            <ac:spMk id="5" creationId="{715DBB09-CFD2-42F3-A3A3-B2F9EB623159}"/>
          </ac:spMkLst>
        </pc:spChg>
        <pc:spChg chg="add del">
          <ac:chgData name="Patrick El-Azem" userId="e9a1393194618efd" providerId="LiveId" clId="{0E83E319-DD06-42C9-950A-41FC9BC8C8A8}" dt="2018-05-15T11:42:36.384" v="156" actId="2696"/>
          <ac:spMkLst>
            <pc:docMk/>
            <pc:sldMk cId="1288550663" sldId="380"/>
            <ac:spMk id="6" creationId="{7945B653-1AEE-4FD1-A5D0-CB34FD0F45C7}"/>
          </ac:spMkLst>
        </pc:spChg>
        <pc:spChg chg="add mod">
          <ac:chgData name="Patrick El-Azem" userId="e9a1393194618efd" providerId="LiveId" clId="{0E83E319-DD06-42C9-950A-41FC9BC8C8A8}" dt="2018-05-15T11:47:57.953" v="362" actId="404"/>
          <ac:spMkLst>
            <pc:docMk/>
            <pc:sldMk cId="1288550663" sldId="380"/>
            <ac:spMk id="7" creationId="{956CCFB7-DE90-406E-AB7C-BDE252E7305D}"/>
          </ac:spMkLst>
        </pc:spChg>
        <pc:spChg chg="add del mod">
          <ac:chgData name="Patrick El-Azem" userId="e9a1393194618efd" providerId="LiveId" clId="{0E83E319-DD06-42C9-950A-41FC9BC8C8A8}" dt="2018-05-15T11:46:16.362" v="337" actId="2696"/>
          <ac:spMkLst>
            <pc:docMk/>
            <pc:sldMk cId="1288550663" sldId="380"/>
            <ac:spMk id="8" creationId="{1A2ED4DB-6588-45AC-A8A4-F02A6C86DED0}"/>
          </ac:spMkLst>
        </pc:spChg>
      </pc:sldChg>
      <pc:sldChg chg="del">
        <pc:chgData name="Patrick El-Azem" userId="e9a1393194618efd" providerId="LiveId" clId="{0E83E319-DD06-42C9-950A-41FC9BC8C8A8}" dt="2018-05-15T11:39:54.277" v="134" actId="2696"/>
        <pc:sldMkLst>
          <pc:docMk/>
          <pc:sldMk cId="3321903727" sldId="380"/>
        </pc:sldMkLst>
      </pc:sldChg>
      <pc:sldChg chg="modSp ord">
        <pc:chgData name="Patrick El-Azem" userId="e9a1393194618efd" providerId="LiveId" clId="{0E83E319-DD06-42C9-950A-41FC9BC8C8A8}" dt="2018-05-15T11:33:10.082" v="112" actId="14100"/>
        <pc:sldMkLst>
          <pc:docMk/>
          <pc:sldMk cId="3454767189" sldId="382"/>
        </pc:sldMkLst>
        <pc:graphicFrameChg chg="mod">
          <ac:chgData name="Patrick El-Azem" userId="e9a1393194618efd" providerId="LiveId" clId="{0E83E319-DD06-42C9-950A-41FC9BC8C8A8}" dt="2018-05-15T11:33:00.325" v="111" actId="20577"/>
          <ac:graphicFrameMkLst>
            <pc:docMk/>
            <pc:sldMk cId="3454767189" sldId="382"/>
            <ac:graphicFrameMk id="153" creationId="{D625BDA5-AEC5-4C7D-8D98-8E7EF87C7D6B}"/>
          </ac:graphicFrameMkLst>
        </pc:graphicFrameChg>
        <pc:picChg chg="mod">
          <ac:chgData name="Patrick El-Azem" userId="e9a1393194618efd" providerId="LiveId" clId="{0E83E319-DD06-42C9-950A-41FC9BC8C8A8}" dt="2018-05-15T11:32:21.380" v="97" actId="1076"/>
          <ac:picMkLst>
            <pc:docMk/>
            <pc:sldMk cId="3454767189" sldId="382"/>
            <ac:picMk id="148" creationId="{2EC0D62D-555E-4424-8D20-22B886BB5B24}"/>
          </ac:picMkLst>
        </pc:picChg>
      </pc:sldChg>
      <pc:sldChg chg="modSp">
        <pc:chgData name="Patrick El-Azem" userId="e9a1393194618efd" providerId="LiveId" clId="{0E83E319-DD06-42C9-950A-41FC9BC8C8A8}" dt="2018-05-15T13:06:12.327" v="2053" actId="20577"/>
        <pc:sldMkLst>
          <pc:docMk/>
          <pc:sldMk cId="3110772266" sldId="383"/>
        </pc:sldMkLst>
        <pc:spChg chg="mod">
          <ac:chgData name="Patrick El-Azem" userId="e9a1393194618efd" providerId="LiveId" clId="{0E83E319-DD06-42C9-950A-41FC9BC8C8A8}" dt="2018-05-15T13:06:12.327" v="2053" actId="20577"/>
          <ac:spMkLst>
            <pc:docMk/>
            <pc:sldMk cId="3110772266" sldId="383"/>
            <ac:spMk id="4" creationId="{E07A14BA-BF2B-4DB4-8A4E-EFEC29CFB75E}"/>
          </ac:spMkLst>
        </pc:spChg>
      </pc:sldChg>
      <pc:sldChg chg="add del ord modTransition">
        <pc:chgData name="Patrick El-Azem" userId="e9a1393194618efd" providerId="LiveId" clId="{0E83E319-DD06-42C9-950A-41FC9BC8C8A8}" dt="2018-05-15T16:21:04.973" v="5665" actId="2696"/>
        <pc:sldMkLst>
          <pc:docMk/>
          <pc:sldMk cId="1050617980" sldId="388"/>
        </pc:sldMkLst>
      </pc:sldChg>
      <pc:sldChg chg="add ord">
        <pc:chgData name="Patrick El-Azem" userId="e9a1393194618efd" providerId="LiveId" clId="{0E83E319-DD06-42C9-950A-41FC9BC8C8A8}" dt="2018-05-15T16:21:36.807" v="5667"/>
        <pc:sldMkLst>
          <pc:docMk/>
          <pc:sldMk cId="1960404801" sldId="388"/>
        </pc:sldMkLst>
      </pc:sldChg>
      <pc:sldChg chg="add">
        <pc:chgData name="Patrick El-Azem" userId="e9a1393194618efd" providerId="LiveId" clId="{0E83E319-DD06-42C9-950A-41FC9BC8C8A8}" dt="2018-05-15T11:55:34.075" v="573" actId="14100"/>
        <pc:sldMkLst>
          <pc:docMk/>
          <pc:sldMk cId="813515144" sldId="389"/>
        </pc:sldMkLst>
      </pc:sldChg>
      <pc:sldChg chg="del">
        <pc:chgData name="Patrick El-Azem" userId="e9a1393194618efd" providerId="LiveId" clId="{0E83E319-DD06-42C9-950A-41FC9BC8C8A8}" dt="2018-05-15T11:55:28.249" v="567" actId="2696"/>
        <pc:sldMkLst>
          <pc:docMk/>
          <pc:sldMk cId="2708629106" sldId="389"/>
        </pc:sldMkLst>
      </pc:sldChg>
      <pc:sldChg chg="del">
        <pc:chgData name="Patrick El-Azem" userId="e9a1393194618efd" providerId="LiveId" clId="{0E83E319-DD06-42C9-950A-41FC9BC8C8A8}" dt="2018-05-15T11:55:28.264" v="568" actId="2696"/>
        <pc:sldMkLst>
          <pc:docMk/>
          <pc:sldMk cId="3978100768" sldId="390"/>
        </pc:sldMkLst>
      </pc:sldChg>
      <pc:sldChg chg="add">
        <pc:chgData name="Patrick El-Azem" userId="e9a1393194618efd" providerId="LiveId" clId="{0E83E319-DD06-42C9-950A-41FC9BC8C8A8}" dt="2018-05-15T11:55:34.075" v="573" actId="14100"/>
        <pc:sldMkLst>
          <pc:docMk/>
          <pc:sldMk cId="4234193599" sldId="390"/>
        </pc:sldMkLst>
      </pc:sldChg>
      <pc:sldChg chg="del">
        <pc:chgData name="Patrick El-Azem" userId="e9a1393194618efd" providerId="LiveId" clId="{0E83E319-DD06-42C9-950A-41FC9BC8C8A8}" dt="2018-05-15T11:55:28.281" v="569" actId="2696"/>
        <pc:sldMkLst>
          <pc:docMk/>
          <pc:sldMk cId="3092725637" sldId="391"/>
        </pc:sldMkLst>
      </pc:sldChg>
      <pc:sldChg chg="add">
        <pc:chgData name="Patrick El-Azem" userId="e9a1393194618efd" providerId="LiveId" clId="{0E83E319-DD06-42C9-950A-41FC9BC8C8A8}" dt="2018-05-15T11:55:34.075" v="573" actId="14100"/>
        <pc:sldMkLst>
          <pc:docMk/>
          <pc:sldMk cId="3211917841" sldId="391"/>
        </pc:sldMkLst>
      </pc:sldChg>
      <pc:sldChg chg="add">
        <pc:chgData name="Patrick El-Azem" userId="e9a1393194618efd" providerId="LiveId" clId="{0E83E319-DD06-42C9-950A-41FC9BC8C8A8}" dt="2018-05-15T11:55:34.075" v="573" actId="14100"/>
        <pc:sldMkLst>
          <pc:docMk/>
          <pc:sldMk cId="2694159119" sldId="392"/>
        </pc:sldMkLst>
      </pc:sldChg>
      <pc:sldChg chg="del">
        <pc:chgData name="Patrick El-Azem" userId="e9a1393194618efd" providerId="LiveId" clId="{0E83E319-DD06-42C9-950A-41FC9BC8C8A8}" dt="2018-05-15T11:55:28.294" v="570" actId="2696"/>
        <pc:sldMkLst>
          <pc:docMk/>
          <pc:sldMk cId="3479218060" sldId="392"/>
        </pc:sldMkLst>
      </pc:sldChg>
      <pc:sldChg chg="del">
        <pc:chgData name="Patrick El-Azem" userId="e9a1393194618efd" providerId="LiveId" clId="{0E83E319-DD06-42C9-950A-41FC9BC8C8A8}" dt="2018-05-15T11:55:28.303" v="571" actId="2696"/>
        <pc:sldMkLst>
          <pc:docMk/>
          <pc:sldMk cId="1534032297" sldId="393"/>
        </pc:sldMkLst>
      </pc:sldChg>
      <pc:sldChg chg="add">
        <pc:chgData name="Patrick El-Azem" userId="e9a1393194618efd" providerId="LiveId" clId="{0E83E319-DD06-42C9-950A-41FC9BC8C8A8}" dt="2018-05-15T11:55:34.075" v="573" actId="14100"/>
        <pc:sldMkLst>
          <pc:docMk/>
          <pc:sldMk cId="3222315543" sldId="393"/>
        </pc:sldMkLst>
      </pc:sldChg>
      <pc:sldChg chg="del">
        <pc:chgData name="Patrick El-Azem" userId="e9a1393194618efd" providerId="LiveId" clId="{0E83E319-DD06-42C9-950A-41FC9BC8C8A8}" dt="2018-05-15T11:55:28.312" v="572" actId="2696"/>
        <pc:sldMkLst>
          <pc:docMk/>
          <pc:sldMk cId="3758700504" sldId="394"/>
        </pc:sldMkLst>
      </pc:sldChg>
      <pc:sldChg chg="add">
        <pc:chgData name="Patrick El-Azem" userId="e9a1393194618efd" providerId="LiveId" clId="{0E83E319-DD06-42C9-950A-41FC9BC8C8A8}" dt="2018-05-15T11:55:34.075" v="573" actId="14100"/>
        <pc:sldMkLst>
          <pc:docMk/>
          <pc:sldMk cId="3802819364" sldId="394"/>
        </pc:sldMkLst>
      </pc:sldChg>
      <pc:sldChg chg="add">
        <pc:chgData name="Patrick El-Azem" userId="e9a1393194618efd" providerId="LiveId" clId="{0E83E319-DD06-42C9-950A-41FC9BC8C8A8}" dt="2018-05-15T11:55:34.075" v="573" actId="14100"/>
        <pc:sldMkLst>
          <pc:docMk/>
          <pc:sldMk cId="2832941071" sldId="395"/>
        </pc:sldMkLst>
      </pc:sldChg>
      <pc:sldChg chg="del">
        <pc:chgData name="Patrick El-Azem" userId="e9a1393194618efd" providerId="LiveId" clId="{0E83E319-DD06-42C9-950A-41FC9BC8C8A8}" dt="2018-05-15T11:55:28.198" v="566" actId="2696"/>
        <pc:sldMkLst>
          <pc:docMk/>
          <pc:sldMk cId="3861240974" sldId="395"/>
        </pc:sldMkLst>
      </pc:sldChg>
      <pc:sldChg chg="addSp delSp modSp ord modTransition">
        <pc:chgData name="Patrick El-Azem" userId="e9a1393194618efd" providerId="LiveId" clId="{0E83E319-DD06-42C9-950A-41FC9BC8C8A8}" dt="2018-05-15T16:31:24.562" v="5924" actId="478"/>
        <pc:sldMkLst>
          <pc:docMk/>
          <pc:sldMk cId="2180341143" sldId="396"/>
        </pc:sldMkLst>
        <pc:spChg chg="add del mod">
          <ac:chgData name="Patrick El-Azem" userId="e9a1393194618efd" providerId="LiveId" clId="{0E83E319-DD06-42C9-950A-41FC9BC8C8A8}" dt="2018-05-15T16:31:24.562" v="5924" actId="478"/>
          <ac:spMkLst>
            <pc:docMk/>
            <pc:sldMk cId="2180341143" sldId="396"/>
            <ac:spMk id="2" creationId="{FD7597B2-4477-453D-8F3E-824E8A038667}"/>
          </ac:spMkLst>
        </pc:spChg>
      </pc:sldChg>
      <pc:sldChg chg="modSp add">
        <pc:chgData name="Patrick El-Azem" userId="e9a1393194618efd" providerId="LiveId" clId="{0E83E319-DD06-42C9-950A-41FC9BC8C8A8}" dt="2018-05-15T14:07:44.548" v="5333" actId="20577"/>
        <pc:sldMkLst>
          <pc:docMk/>
          <pc:sldMk cId="1157348169" sldId="397"/>
        </pc:sldMkLst>
        <pc:spChg chg="mod">
          <ac:chgData name="Patrick El-Azem" userId="e9a1393194618efd" providerId="LiveId" clId="{0E83E319-DD06-42C9-950A-41FC9BC8C8A8}" dt="2018-05-15T13:11:30.102" v="2137" actId="20577"/>
          <ac:spMkLst>
            <pc:docMk/>
            <pc:sldMk cId="1157348169" sldId="397"/>
            <ac:spMk id="2" creationId="{02C6DA00-AD37-4327-ABCA-408F57516B76}"/>
          </ac:spMkLst>
        </pc:spChg>
        <pc:spChg chg="mod">
          <ac:chgData name="Patrick El-Azem" userId="e9a1393194618efd" providerId="LiveId" clId="{0E83E319-DD06-42C9-950A-41FC9BC8C8A8}" dt="2018-05-15T14:07:44.548" v="5333" actId="20577"/>
          <ac:spMkLst>
            <pc:docMk/>
            <pc:sldMk cId="1157348169" sldId="397"/>
            <ac:spMk id="4" creationId="{E07A14BA-BF2B-4DB4-8A4E-EFEC29CFB75E}"/>
          </ac:spMkLst>
        </pc:spChg>
      </pc:sldChg>
      <pc:sldChg chg="modSp del">
        <pc:chgData name="Patrick El-Azem" userId="e9a1393194618efd" providerId="LiveId" clId="{0E83E319-DD06-42C9-950A-41FC9BC8C8A8}" dt="2018-05-15T13:11:17.285" v="2135" actId="2696"/>
        <pc:sldMkLst>
          <pc:docMk/>
          <pc:sldMk cId="4104652487" sldId="397"/>
        </pc:sldMkLst>
        <pc:spChg chg="mod">
          <ac:chgData name="Patrick El-Azem" userId="e9a1393194618efd" providerId="LiveId" clId="{0E83E319-DD06-42C9-950A-41FC9BC8C8A8}" dt="2018-05-15T13:11:07.365" v="2123" actId="5793"/>
          <ac:spMkLst>
            <pc:docMk/>
            <pc:sldMk cId="4104652487" sldId="397"/>
            <ac:spMk id="2" creationId="{02C6DA00-AD37-4327-ABCA-408F57516B76}"/>
          </ac:spMkLst>
        </pc:spChg>
        <pc:spChg chg="mod">
          <ac:chgData name="Patrick El-Azem" userId="e9a1393194618efd" providerId="LiveId" clId="{0E83E319-DD06-42C9-950A-41FC9BC8C8A8}" dt="2018-05-15T13:11:10.974" v="2134" actId="20577"/>
          <ac:spMkLst>
            <pc:docMk/>
            <pc:sldMk cId="4104652487" sldId="397"/>
            <ac:spMk id="4" creationId="{E07A14BA-BF2B-4DB4-8A4E-EFEC29CFB75E}"/>
          </ac:spMkLst>
        </pc:spChg>
      </pc:sldChg>
      <pc:sldChg chg="ord modTransition">
        <pc:chgData name="Patrick El-Azem" userId="e9a1393194618efd" providerId="LiveId" clId="{0E83E319-DD06-42C9-950A-41FC9BC8C8A8}" dt="2018-05-15T14:01:18.510" v="5324" actId="14100"/>
        <pc:sldMkLst>
          <pc:docMk/>
          <pc:sldMk cId="1702896721" sldId="398"/>
        </pc:sldMkLst>
      </pc:sldChg>
      <pc:sldChg chg="ord modTransition">
        <pc:chgData name="Patrick El-Azem" userId="e9a1393194618efd" providerId="LiveId" clId="{0E83E319-DD06-42C9-950A-41FC9BC8C8A8}" dt="2018-05-15T16:22:10.165" v="5669"/>
        <pc:sldMkLst>
          <pc:docMk/>
          <pc:sldMk cId="1340810513" sldId="399"/>
        </pc:sldMkLst>
      </pc:sldChg>
      <pc:sldChg chg="ord modTransition">
        <pc:chgData name="Patrick El-Azem" userId="e9a1393194618efd" providerId="LiveId" clId="{0E83E319-DD06-42C9-950A-41FC9BC8C8A8}" dt="2018-05-15T14:01:18.510" v="5324" actId="14100"/>
        <pc:sldMkLst>
          <pc:docMk/>
          <pc:sldMk cId="2679890694" sldId="400"/>
        </pc:sldMkLst>
      </pc:sldChg>
      <pc:sldChg chg="ord modTransition">
        <pc:chgData name="Patrick El-Azem" userId="e9a1393194618efd" providerId="LiveId" clId="{0E83E319-DD06-42C9-950A-41FC9BC8C8A8}" dt="2018-05-15T14:01:18.510" v="5324" actId="14100"/>
        <pc:sldMkLst>
          <pc:docMk/>
          <pc:sldMk cId="3603588212" sldId="401"/>
        </pc:sldMkLst>
      </pc:sldChg>
      <pc:sldChg chg="add ord">
        <pc:chgData name="Patrick El-Azem" userId="e9a1393194618efd" providerId="LiveId" clId="{0E83E319-DD06-42C9-950A-41FC9BC8C8A8}" dt="2018-05-15T16:22:25.862" v="5673"/>
        <pc:sldMkLst>
          <pc:docMk/>
          <pc:sldMk cId="2104894645" sldId="402"/>
        </pc:sldMkLst>
      </pc:sldChg>
      <pc:sldChg chg="del ord modTransition">
        <pc:chgData name="Patrick El-Azem" userId="e9a1393194618efd" providerId="LiveId" clId="{0E83E319-DD06-42C9-950A-41FC9BC8C8A8}" dt="2018-05-15T16:22:19.061" v="5670" actId="2696"/>
        <pc:sldMkLst>
          <pc:docMk/>
          <pc:sldMk cId="2852168536" sldId="402"/>
        </pc:sldMkLst>
      </pc:sldChg>
      <pc:sldChg chg="add">
        <pc:chgData name="Patrick El-Azem" userId="e9a1393194618efd" providerId="LiveId" clId="{0E83E319-DD06-42C9-950A-41FC9BC8C8A8}" dt="2018-05-15T16:22:22.509" v="5672"/>
        <pc:sldMkLst>
          <pc:docMk/>
          <pc:sldMk cId="2249342236" sldId="403"/>
        </pc:sldMkLst>
      </pc:sldChg>
      <pc:sldChg chg="del ord modTransition">
        <pc:chgData name="Patrick El-Azem" userId="e9a1393194618efd" providerId="LiveId" clId="{0E83E319-DD06-42C9-950A-41FC9BC8C8A8}" dt="2018-05-15T16:22:19.139" v="5671" actId="2696"/>
        <pc:sldMkLst>
          <pc:docMk/>
          <pc:sldMk cId="4018597513" sldId="403"/>
        </pc:sldMkLst>
      </pc:sldChg>
      <pc:sldChg chg="addSp delSp modSp ord modTransition">
        <pc:chgData name="Patrick El-Azem" userId="e9a1393194618efd" providerId="LiveId" clId="{0E83E319-DD06-42C9-950A-41FC9BC8C8A8}" dt="2018-05-15T16:46:50.838" v="6026" actId="478"/>
        <pc:sldMkLst>
          <pc:docMk/>
          <pc:sldMk cId="3111472584" sldId="404"/>
        </pc:sldMkLst>
        <pc:spChg chg="add del mod">
          <ac:chgData name="Patrick El-Azem" userId="e9a1393194618efd" providerId="LiveId" clId="{0E83E319-DD06-42C9-950A-41FC9BC8C8A8}" dt="2018-05-15T16:46:50.838" v="6026" actId="478"/>
          <ac:spMkLst>
            <pc:docMk/>
            <pc:sldMk cId="3111472584" sldId="404"/>
            <ac:spMk id="4" creationId="{48BB186A-96A6-4D50-AB39-43B1E930EF4D}"/>
          </ac:spMkLst>
        </pc:spChg>
      </pc:sldChg>
      <pc:sldChg chg="addSp delSp modSp ord modTransition">
        <pc:chgData name="Patrick El-Azem" userId="e9a1393194618efd" providerId="LiveId" clId="{0E83E319-DD06-42C9-950A-41FC9BC8C8A8}" dt="2018-05-15T16:47:02.026" v="6028" actId="478"/>
        <pc:sldMkLst>
          <pc:docMk/>
          <pc:sldMk cId="4021458972" sldId="405"/>
        </pc:sldMkLst>
        <pc:spChg chg="add del mod">
          <ac:chgData name="Patrick El-Azem" userId="e9a1393194618efd" providerId="LiveId" clId="{0E83E319-DD06-42C9-950A-41FC9BC8C8A8}" dt="2018-05-15T16:47:02.026" v="6028" actId="478"/>
          <ac:spMkLst>
            <pc:docMk/>
            <pc:sldMk cId="4021458972" sldId="405"/>
            <ac:spMk id="2" creationId="{2C133FAB-4D17-4AF9-919D-6A2382154317}"/>
          </ac:spMkLst>
        </pc:spChg>
      </pc:sldChg>
      <pc:sldChg chg="ord modTransition">
        <pc:chgData name="Patrick El-Azem" userId="e9a1393194618efd" providerId="LiveId" clId="{0E83E319-DD06-42C9-950A-41FC9BC8C8A8}" dt="2018-05-15T14:01:18.510" v="5324" actId="14100"/>
        <pc:sldMkLst>
          <pc:docMk/>
          <pc:sldMk cId="2794462208" sldId="406"/>
        </pc:sldMkLst>
      </pc:sldChg>
      <pc:sldChg chg="addSp delSp modSp ord modTransition">
        <pc:chgData name="Patrick El-Azem" userId="e9a1393194618efd" providerId="LiveId" clId="{0E83E319-DD06-42C9-950A-41FC9BC8C8A8}" dt="2018-05-15T16:47:16.785" v="6030" actId="478"/>
        <pc:sldMkLst>
          <pc:docMk/>
          <pc:sldMk cId="3962738965" sldId="407"/>
        </pc:sldMkLst>
        <pc:spChg chg="add del mod">
          <ac:chgData name="Patrick El-Azem" userId="e9a1393194618efd" providerId="LiveId" clId="{0E83E319-DD06-42C9-950A-41FC9BC8C8A8}" dt="2018-05-15T16:47:16.785" v="6030" actId="478"/>
          <ac:spMkLst>
            <pc:docMk/>
            <pc:sldMk cId="3962738965" sldId="407"/>
            <ac:spMk id="3" creationId="{93310DCB-C31A-412E-B542-9D3D0D9C1001}"/>
          </ac:spMkLst>
        </pc:spChg>
      </pc:sldChg>
      <pc:sldChg chg="modSp ord modTransition">
        <pc:chgData name="Patrick El-Azem" userId="e9a1393194618efd" providerId="LiveId" clId="{0E83E319-DD06-42C9-950A-41FC9BC8C8A8}" dt="2018-05-15T16:23:18.866" v="5701" actId="20577"/>
        <pc:sldMkLst>
          <pc:docMk/>
          <pc:sldMk cId="4084148685" sldId="408"/>
        </pc:sldMkLst>
        <pc:spChg chg="mod">
          <ac:chgData name="Patrick El-Azem" userId="e9a1393194618efd" providerId="LiveId" clId="{0E83E319-DD06-42C9-950A-41FC9BC8C8A8}" dt="2018-05-15T16:23:18.866" v="5701" actId="20577"/>
          <ac:spMkLst>
            <pc:docMk/>
            <pc:sldMk cId="4084148685" sldId="408"/>
            <ac:spMk id="80" creationId="{C3B6E84D-4331-4ACB-B8DA-105230E3D5F8}"/>
          </ac:spMkLst>
        </pc:spChg>
      </pc:sldChg>
      <pc:sldChg chg="addSp delSp modSp ord modTransition">
        <pc:chgData name="Patrick El-Azem" userId="e9a1393194618efd" providerId="LiveId" clId="{0E83E319-DD06-42C9-950A-41FC9BC8C8A8}" dt="2018-05-15T16:47:26.953" v="6032" actId="478"/>
        <pc:sldMkLst>
          <pc:docMk/>
          <pc:sldMk cId="3080249270" sldId="409"/>
        </pc:sldMkLst>
        <pc:spChg chg="add del mod">
          <ac:chgData name="Patrick El-Azem" userId="e9a1393194618efd" providerId="LiveId" clId="{0E83E319-DD06-42C9-950A-41FC9BC8C8A8}" dt="2018-05-15T16:47:26.953" v="6032" actId="478"/>
          <ac:spMkLst>
            <pc:docMk/>
            <pc:sldMk cId="3080249270" sldId="409"/>
            <ac:spMk id="2" creationId="{2B70C5A5-B3A0-4D5F-87EA-670A6A5BE0E3}"/>
          </ac:spMkLst>
        </pc:spChg>
      </pc:sldChg>
      <pc:sldChg chg="modSp">
        <pc:chgData name="Patrick El-Azem" userId="e9a1393194618efd" providerId="LiveId" clId="{0E83E319-DD06-42C9-950A-41FC9BC8C8A8}" dt="2018-05-15T11:24:52.253" v="78" actId="20577"/>
        <pc:sldMkLst>
          <pc:docMk/>
          <pc:sldMk cId="3942552148" sldId="410"/>
        </pc:sldMkLst>
        <pc:spChg chg="mod">
          <ac:chgData name="Patrick El-Azem" userId="e9a1393194618efd" providerId="LiveId" clId="{0E83E319-DD06-42C9-950A-41FC9BC8C8A8}" dt="2018-05-15T11:24:52.253" v="78" actId="20577"/>
          <ac:spMkLst>
            <pc:docMk/>
            <pc:sldMk cId="3942552148" sldId="410"/>
            <ac:spMk id="2" creationId="{00000000-0000-0000-0000-000000000000}"/>
          </ac:spMkLst>
        </pc:spChg>
      </pc:sldChg>
      <pc:sldChg chg="ord">
        <pc:chgData name="Patrick El-Azem" userId="e9a1393194618efd" providerId="LiveId" clId="{0E83E319-DD06-42C9-950A-41FC9BC8C8A8}" dt="2018-05-15T13:09:04.253" v="2115" actId="14100"/>
        <pc:sldMkLst>
          <pc:docMk/>
          <pc:sldMk cId="3386598672" sldId="411"/>
        </pc:sldMkLst>
      </pc:sldChg>
      <pc:sldChg chg="del">
        <pc:chgData name="Patrick El-Azem" userId="e9a1393194618efd" providerId="LiveId" clId="{0E83E319-DD06-42C9-950A-41FC9BC8C8A8}" dt="2018-05-15T11:39:54.043" v="133" actId="2696"/>
        <pc:sldMkLst>
          <pc:docMk/>
          <pc:sldMk cId="156716061" sldId="412"/>
        </pc:sldMkLst>
      </pc:sldChg>
      <pc:sldChg chg="modSp ord">
        <pc:chgData name="Patrick El-Azem" userId="e9a1393194618efd" providerId="LiveId" clId="{0E83E319-DD06-42C9-950A-41FC9BC8C8A8}" dt="2018-05-15T11:53:54.607" v="565" actId="14100"/>
        <pc:sldMkLst>
          <pc:docMk/>
          <pc:sldMk cId="1691279449" sldId="412"/>
        </pc:sldMkLst>
        <pc:spChg chg="mod">
          <ac:chgData name="Patrick El-Azem" userId="e9a1393194618efd" providerId="LiveId" clId="{0E83E319-DD06-42C9-950A-41FC9BC8C8A8}" dt="2018-05-15T11:40:46.560" v="138" actId="14100"/>
          <ac:spMkLst>
            <pc:docMk/>
            <pc:sldMk cId="1691279449" sldId="412"/>
            <ac:spMk id="7" creationId="{00000000-0000-0000-0000-000000000000}"/>
          </ac:spMkLst>
        </pc:spChg>
      </pc:sldChg>
      <pc:sldChg chg="ord modTransition">
        <pc:chgData name="Patrick El-Azem" userId="e9a1393194618efd" providerId="LiveId" clId="{0E83E319-DD06-42C9-950A-41FC9BC8C8A8}" dt="2018-05-15T14:01:18.510" v="5324" actId="14100"/>
        <pc:sldMkLst>
          <pc:docMk/>
          <pc:sldMk cId="1089219664" sldId="413"/>
        </pc:sldMkLst>
      </pc:sldChg>
      <pc:sldChg chg="del">
        <pc:chgData name="Patrick El-Azem" userId="e9a1393194618efd" providerId="LiveId" clId="{0E83E319-DD06-42C9-950A-41FC9BC8C8A8}" dt="2018-05-15T12:46:23.024" v="1054" actId="2696"/>
        <pc:sldMkLst>
          <pc:docMk/>
          <pc:sldMk cId="2200160350" sldId="414"/>
        </pc:sldMkLst>
      </pc:sldChg>
      <pc:sldChg chg="modSp add del">
        <pc:chgData name="Patrick El-Azem" userId="e9a1393194618efd" providerId="LiveId" clId="{0E83E319-DD06-42C9-950A-41FC9BC8C8A8}" dt="2018-05-15T12:49:57.972" v="1094" actId="2696"/>
        <pc:sldMkLst>
          <pc:docMk/>
          <pc:sldMk cId="3470916493" sldId="414"/>
        </pc:sldMkLst>
        <pc:spChg chg="mod">
          <ac:chgData name="Patrick El-Azem" userId="e9a1393194618efd" providerId="LiveId" clId="{0E83E319-DD06-42C9-950A-41FC9BC8C8A8}" dt="2018-05-15T12:46:32.216" v="1064" actId="20577"/>
          <ac:spMkLst>
            <pc:docMk/>
            <pc:sldMk cId="3470916493" sldId="414"/>
            <ac:spMk id="7" creationId="{00000000-0000-0000-0000-000000000000}"/>
          </ac:spMkLst>
        </pc:spChg>
      </pc:sldChg>
      <pc:sldChg chg="modSp add setBg">
        <pc:chgData name="Patrick El-Azem" userId="e9a1393194618efd" providerId="LiveId" clId="{0E83E319-DD06-42C9-950A-41FC9BC8C8A8}" dt="2018-05-15T12:01:20.661" v="641" actId="20577"/>
        <pc:sldMkLst>
          <pc:docMk/>
          <pc:sldMk cId="3793339490" sldId="415"/>
        </pc:sldMkLst>
        <pc:spChg chg="mod">
          <ac:chgData name="Patrick El-Azem" userId="e9a1393194618efd" providerId="LiveId" clId="{0E83E319-DD06-42C9-950A-41FC9BC8C8A8}" dt="2018-05-15T12:01:20.661" v="641" actId="20577"/>
          <ac:spMkLst>
            <pc:docMk/>
            <pc:sldMk cId="3793339490" sldId="415"/>
            <ac:spMk id="9" creationId="{52808121-8AED-474A-9D78-CC57738272EE}"/>
          </ac:spMkLst>
        </pc:spChg>
      </pc:sldChg>
      <pc:sldChg chg="del">
        <pc:chgData name="Patrick El-Azem" userId="e9a1393194618efd" providerId="LiveId" clId="{0E83E319-DD06-42C9-950A-41FC9BC8C8A8}" dt="2018-05-15T11:58:08.891" v="576" actId="2696"/>
        <pc:sldMkLst>
          <pc:docMk/>
          <pc:sldMk cId="4200500027" sldId="415"/>
        </pc:sldMkLst>
      </pc:sldChg>
      <pc:sldChg chg="del">
        <pc:chgData name="Patrick El-Azem" userId="e9a1393194618efd" providerId="LiveId" clId="{0E83E319-DD06-42C9-950A-41FC9BC8C8A8}" dt="2018-05-15T13:11:50.434" v="2139" actId="2696"/>
        <pc:sldMkLst>
          <pc:docMk/>
          <pc:sldMk cId="465724920" sldId="416"/>
        </pc:sldMkLst>
      </pc:sldChg>
      <pc:sldChg chg="delSp modSp add setBg">
        <pc:chgData name="Patrick El-Azem" userId="e9a1393194618efd" providerId="LiveId" clId="{0E83E319-DD06-42C9-950A-41FC9BC8C8A8}" dt="2018-05-15T14:22:30.966" v="5524" actId="20577"/>
        <pc:sldMkLst>
          <pc:docMk/>
          <pc:sldMk cId="2500987189" sldId="416"/>
        </pc:sldMkLst>
        <pc:spChg chg="del mod">
          <ac:chgData name="Patrick El-Azem" userId="e9a1393194618efd" providerId="LiveId" clId="{0E83E319-DD06-42C9-950A-41FC9BC8C8A8}" dt="2018-05-15T14:22:17.330" v="5486" actId="478"/>
          <ac:spMkLst>
            <pc:docMk/>
            <pc:sldMk cId="2500987189" sldId="416"/>
            <ac:spMk id="11" creationId="{240B324C-07A5-4513-BEE4-EBFD5FBCC846}"/>
          </ac:spMkLst>
        </pc:spChg>
        <pc:spChg chg="mod">
          <ac:chgData name="Patrick El-Azem" userId="e9a1393194618efd" providerId="LiveId" clId="{0E83E319-DD06-42C9-950A-41FC9BC8C8A8}" dt="2018-05-15T14:22:30.966" v="5524" actId="20577"/>
          <ac:spMkLst>
            <pc:docMk/>
            <pc:sldMk cId="2500987189" sldId="416"/>
            <ac:spMk id="14" creationId="{1E527BC4-263E-4C13-82C2-0388C847AE9D}"/>
          </ac:spMkLst>
        </pc:spChg>
        <pc:picChg chg="mod">
          <ac:chgData name="Patrick El-Azem" userId="e9a1393194618efd" providerId="LiveId" clId="{0E83E319-DD06-42C9-950A-41FC9BC8C8A8}" dt="2018-05-15T14:22:22.532" v="5488" actId="1076"/>
          <ac:picMkLst>
            <pc:docMk/>
            <pc:sldMk cId="2500987189" sldId="416"/>
            <ac:picMk id="5" creationId="{4A5204DD-3FB6-41F4-B603-9F786559C121}"/>
          </ac:picMkLst>
        </pc:picChg>
      </pc:sldChg>
      <pc:sldChg chg="modSp add setBg">
        <pc:chgData name="Patrick El-Azem" userId="e9a1393194618efd" providerId="LiveId" clId="{0E83E319-DD06-42C9-950A-41FC9BC8C8A8}" dt="2018-05-15T13:47:01.750" v="4759" actId="20577"/>
        <pc:sldMkLst>
          <pc:docMk/>
          <pc:sldMk cId="872686958" sldId="417"/>
        </pc:sldMkLst>
        <pc:spChg chg="mod">
          <ac:chgData name="Patrick El-Azem" userId="e9a1393194618efd" providerId="LiveId" clId="{0E83E319-DD06-42C9-950A-41FC9BC8C8A8}" dt="2018-05-15T13:47:01.750" v="4759" actId="20577"/>
          <ac:spMkLst>
            <pc:docMk/>
            <pc:sldMk cId="872686958" sldId="417"/>
            <ac:spMk id="14" creationId="{1E527BC4-263E-4C13-82C2-0388C847AE9D}"/>
          </ac:spMkLst>
        </pc:spChg>
      </pc:sldChg>
      <pc:sldChg chg="del">
        <pc:chgData name="Patrick El-Azem" userId="e9a1393194618efd" providerId="LiveId" clId="{0E83E319-DD06-42C9-950A-41FC9BC8C8A8}" dt="2018-05-15T13:45:42.808" v="4723" actId="2696"/>
        <pc:sldMkLst>
          <pc:docMk/>
          <pc:sldMk cId="2576469702" sldId="417"/>
        </pc:sldMkLst>
      </pc:sldChg>
      <pc:sldChg chg="del">
        <pc:chgData name="Patrick El-Azem" userId="e9a1393194618efd" providerId="LiveId" clId="{0E83E319-DD06-42C9-950A-41FC9BC8C8A8}" dt="2018-05-15T13:11:50.384" v="2138" actId="2696"/>
        <pc:sldMkLst>
          <pc:docMk/>
          <pc:sldMk cId="953474439" sldId="418"/>
        </pc:sldMkLst>
      </pc:sldChg>
      <pc:sldChg chg="add ord setBg">
        <pc:chgData name="Patrick El-Azem" userId="e9a1393194618efd" providerId="LiveId" clId="{0E83E319-DD06-42C9-950A-41FC9BC8C8A8}" dt="2018-05-15T14:22:07.071" v="5484" actId="14100"/>
        <pc:sldMkLst>
          <pc:docMk/>
          <pc:sldMk cId="3158066366" sldId="418"/>
        </pc:sldMkLst>
      </pc:sldChg>
      <pc:sldChg chg="modSp add setBg">
        <pc:chgData name="Patrick El-Azem" userId="e9a1393194618efd" providerId="LiveId" clId="{0E83E319-DD06-42C9-950A-41FC9BC8C8A8}" dt="2018-05-15T13:47:20.704" v="4782" actId="20577"/>
        <pc:sldMkLst>
          <pc:docMk/>
          <pc:sldMk cId="810426906" sldId="419"/>
        </pc:sldMkLst>
        <pc:spChg chg="mod">
          <ac:chgData name="Patrick El-Azem" userId="e9a1393194618efd" providerId="LiveId" clId="{0E83E319-DD06-42C9-950A-41FC9BC8C8A8}" dt="2018-05-15T13:47:20.704" v="4782" actId="20577"/>
          <ac:spMkLst>
            <pc:docMk/>
            <pc:sldMk cId="810426906" sldId="419"/>
            <ac:spMk id="14" creationId="{1E527BC4-263E-4C13-82C2-0388C847AE9D}"/>
          </ac:spMkLst>
        </pc:spChg>
      </pc:sldChg>
      <pc:sldChg chg="del">
        <pc:chgData name="Patrick El-Azem" userId="e9a1393194618efd" providerId="LiveId" clId="{0E83E319-DD06-42C9-950A-41FC9BC8C8A8}" dt="2018-05-15T13:45:42.791" v="4722" actId="2696"/>
        <pc:sldMkLst>
          <pc:docMk/>
          <pc:sldMk cId="1212033168" sldId="419"/>
        </pc:sldMkLst>
      </pc:sldChg>
      <pc:sldChg chg="modSp modNotesTx">
        <pc:chgData name="Patrick El-Azem" userId="e9a1393194618efd" providerId="LiveId" clId="{0E83E319-DD06-42C9-950A-41FC9BC8C8A8}" dt="2018-05-15T14:09:37.835" v="5461" actId="27636"/>
        <pc:sldMkLst>
          <pc:docMk/>
          <pc:sldMk cId="778967922" sldId="573"/>
        </pc:sldMkLst>
        <pc:spChg chg="mod">
          <ac:chgData name="Patrick El-Azem" userId="e9a1393194618efd" providerId="LiveId" clId="{0E83E319-DD06-42C9-950A-41FC9BC8C8A8}" dt="2018-05-15T11:59:16.925" v="582" actId="14100"/>
          <ac:spMkLst>
            <pc:docMk/>
            <pc:sldMk cId="778967922" sldId="573"/>
            <ac:spMk id="2" creationId="{00000000-0000-0000-0000-000000000000}"/>
          </ac:spMkLst>
        </pc:spChg>
        <pc:spChg chg="mod">
          <ac:chgData name="Patrick El-Azem" userId="e9a1393194618efd" providerId="LiveId" clId="{0E83E319-DD06-42C9-950A-41FC9BC8C8A8}" dt="2018-05-15T14:09:37.835" v="5461" actId="27636"/>
          <ac:spMkLst>
            <pc:docMk/>
            <pc:sldMk cId="778967922" sldId="573"/>
            <ac:spMk id="3" creationId="{00000000-0000-0000-0000-000000000000}"/>
          </ac:spMkLst>
        </pc:spChg>
        <pc:picChg chg="mod">
          <ac:chgData name="Patrick El-Azem" userId="e9a1393194618efd" providerId="LiveId" clId="{0E83E319-DD06-42C9-950A-41FC9BC8C8A8}" dt="2018-05-15T14:09:08.155" v="5425" actId="1076"/>
          <ac:picMkLst>
            <pc:docMk/>
            <pc:sldMk cId="778967922" sldId="573"/>
            <ac:picMk id="4" creationId="{00000000-0000-0000-0000-000000000000}"/>
          </ac:picMkLst>
        </pc:picChg>
      </pc:sldChg>
      <pc:sldChg chg="modSp">
        <pc:chgData name="Patrick El-Azem" userId="e9a1393194618efd" providerId="LiveId" clId="{0E83E319-DD06-42C9-950A-41FC9BC8C8A8}" dt="2018-05-15T16:55:14.948" v="6491" actId="20577"/>
        <pc:sldMkLst>
          <pc:docMk/>
          <pc:sldMk cId="97005478" sldId="610"/>
        </pc:sldMkLst>
        <pc:spChg chg="mod">
          <ac:chgData name="Patrick El-Azem" userId="e9a1393194618efd" providerId="LiveId" clId="{0E83E319-DD06-42C9-950A-41FC9BC8C8A8}" dt="2018-05-15T16:55:07.537" v="6489" actId="121"/>
          <ac:spMkLst>
            <pc:docMk/>
            <pc:sldMk cId="97005478" sldId="610"/>
            <ac:spMk id="9" creationId="{8F072B36-7D30-4840-89F7-283616241575}"/>
          </ac:spMkLst>
        </pc:spChg>
        <pc:spChg chg="mod">
          <ac:chgData name="Patrick El-Azem" userId="e9a1393194618efd" providerId="LiveId" clId="{0E83E319-DD06-42C9-950A-41FC9BC8C8A8}" dt="2018-05-15T16:55:14.948" v="6491" actId="20577"/>
          <ac:spMkLst>
            <pc:docMk/>
            <pc:sldMk cId="97005478" sldId="610"/>
            <ac:spMk id="10" creationId="{0713C4AD-8562-4073-A080-B150E938A93B}"/>
          </ac:spMkLst>
        </pc:spChg>
      </pc:sldChg>
      <pc:sldChg chg="modSp">
        <pc:chgData name="Patrick El-Azem" userId="e9a1393194618efd" providerId="LiveId" clId="{0E83E319-DD06-42C9-950A-41FC9BC8C8A8}" dt="2018-05-15T12:05:28.374" v="689" actId="14100"/>
        <pc:sldMkLst>
          <pc:docMk/>
          <pc:sldMk cId="2536770981" sldId="611"/>
        </pc:sldMkLst>
        <pc:spChg chg="mod">
          <ac:chgData name="Patrick El-Azem" userId="e9a1393194618efd" providerId="LiveId" clId="{0E83E319-DD06-42C9-950A-41FC9BC8C8A8}" dt="2018-05-15T12:04:44.309" v="658" actId="14100"/>
          <ac:spMkLst>
            <pc:docMk/>
            <pc:sldMk cId="2536770981" sldId="611"/>
            <ac:spMk id="2" creationId="{00000000-0000-0000-0000-000000000000}"/>
          </ac:spMkLst>
        </pc:spChg>
        <pc:picChg chg="mod">
          <ac:chgData name="Patrick El-Azem" userId="e9a1393194618efd" providerId="LiveId" clId="{0E83E319-DD06-42C9-950A-41FC9BC8C8A8}" dt="2018-05-15T12:05:28.374" v="689" actId="14100"/>
          <ac:picMkLst>
            <pc:docMk/>
            <pc:sldMk cId="2536770981" sldId="611"/>
            <ac:picMk id="6" creationId="{00000000-0000-0000-0000-000000000000}"/>
          </ac:picMkLst>
        </pc:picChg>
      </pc:sldChg>
      <pc:sldChg chg="addSp delSp modSp">
        <pc:chgData name="Patrick El-Azem" userId="e9a1393194618efd" providerId="LiveId" clId="{0E83E319-DD06-42C9-950A-41FC9BC8C8A8}" dt="2018-05-15T12:05:16.067" v="683" actId="20577"/>
        <pc:sldMkLst>
          <pc:docMk/>
          <pc:sldMk cId="551036567" sldId="612"/>
        </pc:sldMkLst>
        <pc:spChg chg="del">
          <ac:chgData name="Patrick El-Azem" userId="e9a1393194618efd" providerId="LiveId" clId="{0E83E319-DD06-42C9-950A-41FC9BC8C8A8}" dt="2018-05-15T12:04:52.875" v="660" actId="478"/>
          <ac:spMkLst>
            <pc:docMk/>
            <pc:sldMk cId="551036567" sldId="612"/>
            <ac:spMk id="2" creationId="{00000000-0000-0000-0000-000000000000}"/>
          </ac:spMkLst>
        </pc:spChg>
        <pc:spChg chg="add mod">
          <ac:chgData name="Patrick El-Azem" userId="e9a1393194618efd" providerId="LiveId" clId="{0E83E319-DD06-42C9-950A-41FC9BC8C8A8}" dt="2018-05-15T12:05:16.067" v="683" actId="20577"/>
          <ac:spMkLst>
            <pc:docMk/>
            <pc:sldMk cId="551036567" sldId="612"/>
            <ac:spMk id="5" creationId="{7A7D13B9-550C-4920-AFEF-FFE5DE7DA3E1}"/>
          </ac:spMkLst>
        </pc:spChg>
        <pc:spChg chg="add del mod">
          <ac:chgData name="Patrick El-Azem" userId="e9a1393194618efd" providerId="LiveId" clId="{0E83E319-DD06-42C9-950A-41FC9BC8C8A8}" dt="2018-05-15T12:04:55.204" v="661" actId="478"/>
          <ac:spMkLst>
            <pc:docMk/>
            <pc:sldMk cId="551036567" sldId="612"/>
            <ac:spMk id="7" creationId="{A536D76D-35DC-4D76-B823-5968C33F8491}"/>
          </ac:spMkLst>
        </pc:spChg>
        <pc:picChg chg="mod">
          <ac:chgData name="Patrick El-Azem" userId="e9a1393194618efd" providerId="LiveId" clId="{0E83E319-DD06-42C9-950A-41FC9BC8C8A8}" dt="2018-05-15T12:05:02.702" v="664" actId="1076"/>
          <ac:picMkLst>
            <pc:docMk/>
            <pc:sldMk cId="551036567" sldId="612"/>
            <ac:picMk id="4" creationId="{00000000-0000-0000-0000-000000000000}"/>
          </ac:picMkLst>
        </pc:picChg>
      </pc:sldChg>
      <pc:sldChg chg="addSp delSp modSp del modTransition">
        <pc:chgData name="Patrick El-Azem" userId="e9a1393194618efd" providerId="LiveId" clId="{0E83E319-DD06-42C9-950A-41FC9BC8C8A8}" dt="2018-05-15T11:04:53.881" v="73" actId="2696"/>
        <pc:sldMkLst>
          <pc:docMk/>
          <pc:sldMk cId="15222292" sldId="628"/>
        </pc:sldMkLst>
        <pc:spChg chg="mod">
          <ac:chgData name="Patrick El-Azem" userId="e9a1393194618efd" providerId="LiveId" clId="{0E83E319-DD06-42C9-950A-41FC9BC8C8A8}" dt="2018-05-15T11:01:17.015" v="7" actId="27636"/>
          <ac:spMkLst>
            <pc:docMk/>
            <pc:sldMk cId="15222292" sldId="628"/>
            <ac:spMk id="3" creationId="{00000000-0000-0000-0000-000000000000}"/>
          </ac:spMkLst>
        </pc:spChg>
        <pc:spChg chg="add del mod">
          <ac:chgData name="Patrick El-Azem" userId="e9a1393194618efd" providerId="LiveId" clId="{0E83E319-DD06-42C9-950A-41FC9BC8C8A8}" dt="2018-05-15T10:59:27.109" v="6" actId="478"/>
          <ac:spMkLst>
            <pc:docMk/>
            <pc:sldMk cId="15222292" sldId="628"/>
            <ac:spMk id="4" creationId="{C1E4A4B6-E58E-4298-A51C-74054B4C36A2}"/>
          </ac:spMkLst>
        </pc:spChg>
      </pc:sldChg>
      <pc:sldChg chg="modSp">
        <pc:chgData name="Patrick El-Azem" userId="e9a1393194618efd" providerId="LiveId" clId="{0E83E319-DD06-42C9-950A-41FC9BC8C8A8}" dt="2018-05-15T13:52:08.637" v="4817" actId="14100"/>
        <pc:sldMkLst>
          <pc:docMk/>
          <pc:sldMk cId="2386863029" sldId="631"/>
        </pc:sldMkLst>
        <pc:spChg chg="mod">
          <ac:chgData name="Patrick El-Azem" userId="e9a1393194618efd" providerId="LiveId" clId="{0E83E319-DD06-42C9-950A-41FC9BC8C8A8}" dt="2018-05-15T13:52:08.637" v="4817" actId="14100"/>
          <ac:spMkLst>
            <pc:docMk/>
            <pc:sldMk cId="2386863029" sldId="631"/>
            <ac:spMk id="2" creationId="{097DC9AD-003A-4A65-BEF0-F3F847567861}"/>
          </ac:spMkLst>
        </pc:spChg>
        <pc:spChg chg="mod">
          <ac:chgData name="Patrick El-Azem" userId="e9a1393194618efd" providerId="LiveId" clId="{0E83E319-DD06-42C9-950A-41FC9BC8C8A8}" dt="2018-05-15T13:51:42.532" v="4812" actId="1076"/>
          <ac:spMkLst>
            <pc:docMk/>
            <pc:sldMk cId="2386863029" sldId="631"/>
            <ac:spMk id="9" creationId="{974B2910-0090-48BB-AA5E-5C031258E909}"/>
          </ac:spMkLst>
        </pc:spChg>
      </pc:sldChg>
      <pc:sldChg chg="modSp">
        <pc:chgData name="Patrick El-Azem" userId="e9a1393194618efd" providerId="LiveId" clId="{0E83E319-DD06-42C9-950A-41FC9BC8C8A8}" dt="2018-05-15T13:52:29.989" v="4821" actId="14100"/>
        <pc:sldMkLst>
          <pc:docMk/>
          <pc:sldMk cId="22464236" sldId="634"/>
        </pc:sldMkLst>
        <pc:spChg chg="mod">
          <ac:chgData name="Patrick El-Azem" userId="e9a1393194618efd" providerId="LiveId" clId="{0E83E319-DD06-42C9-950A-41FC9BC8C8A8}" dt="2018-05-15T13:52:29.989" v="4821" actId="14100"/>
          <ac:spMkLst>
            <pc:docMk/>
            <pc:sldMk cId="22464236" sldId="634"/>
            <ac:spMk id="7" creationId="{0ACFA053-2FCC-4C69-B579-FE2A1EE26422}"/>
          </ac:spMkLst>
        </pc:spChg>
      </pc:sldChg>
      <pc:sldChg chg="modSp">
        <pc:chgData name="Patrick El-Azem" userId="e9a1393194618efd" providerId="LiveId" clId="{0E83E319-DD06-42C9-950A-41FC9BC8C8A8}" dt="2018-05-15T13:52:38.255" v="4824" actId="14100"/>
        <pc:sldMkLst>
          <pc:docMk/>
          <pc:sldMk cId="1724345464" sldId="637"/>
        </pc:sldMkLst>
        <pc:spChg chg="mod">
          <ac:chgData name="Patrick El-Azem" userId="e9a1393194618efd" providerId="LiveId" clId="{0E83E319-DD06-42C9-950A-41FC9BC8C8A8}" dt="2018-05-15T13:52:38.255" v="4824" actId="14100"/>
          <ac:spMkLst>
            <pc:docMk/>
            <pc:sldMk cId="1724345464" sldId="637"/>
            <ac:spMk id="2" creationId="{CCDB9020-DD43-4023-B791-8F9DAD3B0E22}"/>
          </ac:spMkLst>
        </pc:spChg>
      </pc:sldChg>
      <pc:sldChg chg="modSp">
        <pc:chgData name="Patrick El-Azem" userId="e9a1393194618efd" providerId="LiveId" clId="{0E83E319-DD06-42C9-950A-41FC9BC8C8A8}" dt="2018-05-15T11:28:19.435" v="79" actId="20577"/>
        <pc:sldMkLst>
          <pc:docMk/>
          <pc:sldMk cId="2383031254" sldId="645"/>
        </pc:sldMkLst>
        <pc:spChg chg="mod">
          <ac:chgData name="Patrick El-Azem" userId="e9a1393194618efd" providerId="LiveId" clId="{0E83E319-DD06-42C9-950A-41FC9BC8C8A8}" dt="2018-05-15T11:28:19.435" v="79" actId="20577"/>
          <ac:spMkLst>
            <pc:docMk/>
            <pc:sldMk cId="2383031254" sldId="645"/>
            <ac:spMk id="17" creationId="{00000000-0000-0000-0000-000000000000}"/>
          </ac:spMkLst>
        </pc:spChg>
      </pc:sldChg>
      <pc:sldChg chg="modSp del">
        <pc:chgData name="Patrick El-Azem" userId="e9a1393194618efd" providerId="LiveId" clId="{0E83E319-DD06-42C9-950A-41FC9BC8C8A8}" dt="2018-05-15T11:31:15.777" v="93" actId="20577"/>
        <pc:sldMkLst>
          <pc:docMk/>
          <pc:sldMk cId="1521297027" sldId="648"/>
        </pc:sldMkLst>
        <pc:spChg chg="mod">
          <ac:chgData name="Patrick El-Azem" userId="e9a1393194618efd" providerId="LiveId" clId="{0E83E319-DD06-42C9-950A-41FC9BC8C8A8}" dt="2018-05-15T11:31:15.777" v="93" actId="20577"/>
          <ac:spMkLst>
            <pc:docMk/>
            <pc:sldMk cId="1521297027" sldId="648"/>
            <ac:spMk id="11" creationId="{00000000-0000-0000-0000-000000000000}"/>
          </ac:spMkLst>
        </pc:spChg>
        <pc:spChg chg="mod">
          <ac:chgData name="Patrick El-Azem" userId="e9a1393194618efd" providerId="LiveId" clId="{0E83E319-DD06-42C9-950A-41FC9BC8C8A8}" dt="2018-05-15T11:31:09.759" v="87" actId="403"/>
          <ac:spMkLst>
            <pc:docMk/>
            <pc:sldMk cId="1521297027" sldId="648"/>
            <ac:spMk id="160" creationId="{00000000-0000-0000-0000-000000000000}"/>
          </ac:spMkLst>
        </pc:spChg>
      </pc:sldChg>
      <pc:sldChg chg="modSp">
        <pc:chgData name="Patrick El-Azem" userId="e9a1393194618efd" providerId="LiveId" clId="{0E83E319-DD06-42C9-950A-41FC9BC8C8A8}" dt="2018-05-15T12:03:46.444" v="644" actId="14100"/>
        <pc:sldMkLst>
          <pc:docMk/>
          <pc:sldMk cId="3148401056" sldId="650"/>
        </pc:sldMkLst>
        <pc:spChg chg="mod">
          <ac:chgData name="Patrick El-Azem" userId="e9a1393194618efd" providerId="LiveId" clId="{0E83E319-DD06-42C9-950A-41FC9BC8C8A8}" dt="2018-05-15T12:03:46.444" v="644" actId="14100"/>
          <ac:spMkLst>
            <pc:docMk/>
            <pc:sldMk cId="3148401056" sldId="650"/>
            <ac:spMk id="4" creationId="{00000000-0000-0000-0000-000000000000}"/>
          </ac:spMkLst>
        </pc:spChg>
      </pc:sldChg>
      <pc:sldChg chg="addSp delSp modSp del">
        <pc:chgData name="Patrick El-Azem" userId="e9a1393194618efd" providerId="LiveId" clId="{0E83E319-DD06-42C9-950A-41FC9BC8C8A8}" dt="2018-05-15T12:55:01.959" v="1161" actId="2696"/>
        <pc:sldMkLst>
          <pc:docMk/>
          <pc:sldMk cId="46454789" sldId="654"/>
        </pc:sldMkLst>
        <pc:spChg chg="del">
          <ac:chgData name="Patrick El-Azem" userId="e9a1393194618efd" providerId="LiveId" clId="{0E83E319-DD06-42C9-950A-41FC9BC8C8A8}" dt="2018-05-15T12:34:46.511" v="989" actId="478"/>
          <ac:spMkLst>
            <pc:docMk/>
            <pc:sldMk cId="46454789" sldId="654"/>
            <ac:spMk id="2" creationId="{76E11486-EC36-48C5-B24F-5996CD308114}"/>
          </ac:spMkLst>
        </pc:spChg>
        <pc:spChg chg="mod">
          <ac:chgData name="Patrick El-Azem" userId="e9a1393194618efd" providerId="LiveId" clId="{0E83E319-DD06-42C9-950A-41FC9BC8C8A8}" dt="2018-05-15T12:30:13.620" v="950" actId="14100"/>
          <ac:spMkLst>
            <pc:docMk/>
            <pc:sldMk cId="46454789" sldId="654"/>
            <ac:spMk id="3" creationId="{FBBC3E18-E875-4469-9AAA-14BF1307802F}"/>
          </ac:spMkLst>
        </pc:spChg>
        <pc:spChg chg="mod">
          <ac:chgData name="Patrick El-Azem" userId="e9a1393194618efd" providerId="LiveId" clId="{0E83E319-DD06-42C9-950A-41FC9BC8C8A8}" dt="2018-05-15T12:34:42.595" v="988" actId="1076"/>
          <ac:spMkLst>
            <pc:docMk/>
            <pc:sldMk cId="46454789" sldId="654"/>
            <ac:spMk id="4" creationId="{35A9164F-8154-4638-8556-AC3211A07EA2}"/>
          </ac:spMkLst>
        </pc:spChg>
        <pc:spChg chg="mod">
          <ac:chgData name="Patrick El-Azem" userId="e9a1393194618efd" providerId="LiveId" clId="{0E83E319-DD06-42C9-950A-41FC9BC8C8A8}" dt="2018-05-15T12:34:32.916" v="987" actId="1076"/>
          <ac:spMkLst>
            <pc:docMk/>
            <pc:sldMk cId="46454789" sldId="654"/>
            <ac:spMk id="5" creationId="{36707BFB-77FC-45D5-A1D5-1B18C8746287}"/>
          </ac:spMkLst>
        </pc:spChg>
        <pc:spChg chg="mod">
          <ac:chgData name="Patrick El-Azem" userId="e9a1393194618efd" providerId="LiveId" clId="{0E83E319-DD06-42C9-950A-41FC9BC8C8A8}" dt="2018-05-15T12:26:50.373" v="924" actId="408"/>
          <ac:spMkLst>
            <pc:docMk/>
            <pc:sldMk cId="46454789" sldId="654"/>
            <ac:spMk id="6" creationId="{8D80E22A-EA1B-4047-A920-708B6B5329B3}"/>
          </ac:spMkLst>
        </pc:spChg>
        <pc:spChg chg="mod">
          <ac:chgData name="Patrick El-Azem" userId="e9a1393194618efd" providerId="LiveId" clId="{0E83E319-DD06-42C9-950A-41FC9BC8C8A8}" dt="2018-05-15T12:34:42.595" v="988" actId="1076"/>
          <ac:spMkLst>
            <pc:docMk/>
            <pc:sldMk cId="46454789" sldId="654"/>
            <ac:spMk id="7" creationId="{EBA961AB-D786-4D53-896D-CB32E705F324}"/>
          </ac:spMkLst>
        </pc:spChg>
        <pc:spChg chg="mod">
          <ac:chgData name="Patrick El-Azem" userId="e9a1393194618efd" providerId="LiveId" clId="{0E83E319-DD06-42C9-950A-41FC9BC8C8A8}" dt="2018-05-15T12:34:32.916" v="987" actId="1076"/>
          <ac:spMkLst>
            <pc:docMk/>
            <pc:sldMk cId="46454789" sldId="654"/>
            <ac:spMk id="8" creationId="{B10CF003-81E7-4C4D-8872-EAC06B8F4FBF}"/>
          </ac:spMkLst>
        </pc:spChg>
        <pc:spChg chg="mod">
          <ac:chgData name="Patrick El-Azem" userId="e9a1393194618efd" providerId="LiveId" clId="{0E83E319-DD06-42C9-950A-41FC9BC8C8A8}" dt="2018-05-15T12:36:47.250" v="991" actId="403"/>
          <ac:spMkLst>
            <pc:docMk/>
            <pc:sldMk cId="46454789" sldId="654"/>
            <ac:spMk id="12" creationId="{7441DD4B-0E69-4383-89E3-7DDBADD6C040}"/>
          </ac:spMkLst>
        </pc:spChg>
        <pc:spChg chg="mod">
          <ac:chgData name="Patrick El-Azem" userId="e9a1393194618efd" providerId="LiveId" clId="{0E83E319-DD06-42C9-950A-41FC9BC8C8A8}" dt="2018-05-15T12:36:55.104" v="992" actId="403"/>
          <ac:spMkLst>
            <pc:docMk/>
            <pc:sldMk cId="46454789" sldId="654"/>
            <ac:spMk id="13" creationId="{E5FB479B-442A-4AD4-A360-26076A8683FB}"/>
          </ac:spMkLst>
        </pc:spChg>
        <pc:spChg chg="mod">
          <ac:chgData name="Patrick El-Azem" userId="e9a1393194618efd" providerId="LiveId" clId="{0E83E319-DD06-42C9-950A-41FC9BC8C8A8}" dt="2018-05-15T12:34:32.916" v="987" actId="1076"/>
          <ac:spMkLst>
            <pc:docMk/>
            <pc:sldMk cId="46454789" sldId="654"/>
            <ac:spMk id="14" creationId="{E34736C0-1FC6-4619-86DF-924AF8A7DE81}"/>
          </ac:spMkLst>
        </pc:spChg>
        <pc:spChg chg="mod">
          <ac:chgData name="Patrick El-Azem" userId="e9a1393194618efd" providerId="LiveId" clId="{0E83E319-DD06-42C9-950A-41FC9BC8C8A8}" dt="2018-05-15T12:37:13.206" v="994" actId="14100"/>
          <ac:spMkLst>
            <pc:docMk/>
            <pc:sldMk cId="46454789" sldId="654"/>
            <ac:spMk id="15" creationId="{9764F003-2563-43FD-8C6D-8A32FF5CA792}"/>
          </ac:spMkLst>
        </pc:spChg>
        <pc:spChg chg="mod">
          <ac:chgData name="Patrick El-Azem" userId="e9a1393194618efd" providerId="LiveId" clId="{0E83E319-DD06-42C9-950A-41FC9BC8C8A8}" dt="2018-05-15T12:37:18.002" v="995" actId="1076"/>
          <ac:spMkLst>
            <pc:docMk/>
            <pc:sldMk cId="46454789" sldId="654"/>
            <ac:spMk id="16" creationId="{634FC372-5887-4817-834A-2A7D6D5371DC}"/>
          </ac:spMkLst>
        </pc:spChg>
        <pc:spChg chg="mod">
          <ac:chgData name="Patrick El-Azem" userId="e9a1393194618efd" providerId="LiveId" clId="{0E83E319-DD06-42C9-950A-41FC9BC8C8A8}" dt="2018-05-15T12:37:23.090" v="996" actId="1076"/>
          <ac:spMkLst>
            <pc:docMk/>
            <pc:sldMk cId="46454789" sldId="654"/>
            <ac:spMk id="17" creationId="{E6F87D49-97BA-4DA3-A0F8-424CAEAA3479}"/>
          </ac:spMkLst>
        </pc:spChg>
        <pc:spChg chg="add del mod">
          <ac:chgData name="Patrick El-Azem" userId="e9a1393194618efd" providerId="LiveId" clId="{0E83E319-DD06-42C9-950A-41FC9BC8C8A8}" dt="2018-05-15T12:34:48.987" v="990" actId="478"/>
          <ac:spMkLst>
            <pc:docMk/>
            <pc:sldMk cId="46454789" sldId="654"/>
            <ac:spMk id="19" creationId="{EA1E7B69-8FD3-4E09-81B7-0E712361B208}"/>
          </ac:spMkLst>
        </pc:spChg>
        <pc:spChg chg="del">
          <ac:chgData name="Patrick El-Azem" userId="e9a1393194618efd" providerId="LiveId" clId="{0E83E319-DD06-42C9-950A-41FC9BC8C8A8}" dt="2018-05-15T12:14:04.228" v="704" actId="478"/>
          <ac:spMkLst>
            <pc:docMk/>
            <pc:sldMk cId="46454789" sldId="654"/>
            <ac:spMk id="20" creationId="{55C0549E-537B-4BF6-B5C8-A73390329A35}"/>
          </ac:spMkLst>
        </pc:spChg>
        <pc:cxnChg chg="mod">
          <ac:chgData name="Patrick El-Azem" userId="e9a1393194618efd" providerId="LiveId" clId="{0E83E319-DD06-42C9-950A-41FC9BC8C8A8}" dt="2018-05-15T12:26:50.373" v="924" actId="408"/>
          <ac:cxnSpMkLst>
            <pc:docMk/>
            <pc:sldMk cId="46454789" sldId="654"/>
            <ac:cxnSpMk id="9" creationId="{F776287E-7D4D-4950-9513-8522A5631E4C}"/>
          </ac:cxnSpMkLst>
        </pc:cxnChg>
        <pc:cxnChg chg="mod">
          <ac:chgData name="Patrick El-Azem" userId="e9a1393194618efd" providerId="LiveId" clId="{0E83E319-DD06-42C9-950A-41FC9BC8C8A8}" dt="2018-05-15T12:34:42.595" v="988" actId="1076"/>
          <ac:cxnSpMkLst>
            <pc:docMk/>
            <pc:sldMk cId="46454789" sldId="654"/>
            <ac:cxnSpMk id="10" creationId="{53B4A63F-C94B-4B96-B481-8C2FA698603A}"/>
          </ac:cxnSpMkLst>
        </pc:cxnChg>
        <pc:cxnChg chg="mod">
          <ac:chgData name="Patrick El-Azem" userId="e9a1393194618efd" providerId="LiveId" clId="{0E83E319-DD06-42C9-950A-41FC9BC8C8A8}" dt="2018-05-15T12:34:32.916" v="987" actId="1076"/>
          <ac:cxnSpMkLst>
            <pc:docMk/>
            <pc:sldMk cId="46454789" sldId="654"/>
            <ac:cxnSpMk id="11" creationId="{55BEA9E9-9B2A-4F28-BADC-53AA05588C49}"/>
          </ac:cxnSpMkLst>
        </pc:cxnChg>
      </pc:sldChg>
      <pc:sldChg chg="addSp delSp modSp">
        <pc:chgData name="Patrick El-Azem" userId="e9a1393194618efd" providerId="LiveId" clId="{0E83E319-DD06-42C9-950A-41FC9BC8C8A8}" dt="2018-05-15T11:56:10.300" v="575" actId="14100"/>
        <pc:sldMkLst>
          <pc:docMk/>
          <pc:sldMk cId="831527634" sldId="656"/>
        </pc:sldMkLst>
        <pc:spChg chg="mod">
          <ac:chgData name="Patrick El-Azem" userId="e9a1393194618efd" providerId="LiveId" clId="{0E83E319-DD06-42C9-950A-41FC9BC8C8A8}" dt="2018-05-15T11:37:29.926" v="129" actId="14100"/>
          <ac:spMkLst>
            <pc:docMk/>
            <pc:sldMk cId="831527634" sldId="656"/>
            <ac:spMk id="2" creationId="{00000000-0000-0000-0000-000000000000}"/>
          </ac:spMkLst>
        </pc:spChg>
        <pc:spChg chg="add del mod">
          <ac:chgData name="Patrick El-Azem" userId="e9a1393194618efd" providerId="LiveId" clId="{0E83E319-DD06-42C9-950A-41FC9BC8C8A8}" dt="2018-05-15T11:35:56.288" v="114" actId="14100"/>
          <ac:spMkLst>
            <pc:docMk/>
            <pc:sldMk cId="831527634" sldId="656"/>
            <ac:spMk id="3" creationId="{7745C3A7-2644-4C69-80F9-6F66F982D178}"/>
          </ac:spMkLst>
        </pc:spChg>
        <pc:spChg chg="mod">
          <ac:chgData name="Patrick El-Azem" userId="e9a1393194618efd" providerId="LiveId" clId="{0E83E319-DD06-42C9-950A-41FC9BC8C8A8}" dt="2018-05-15T11:56:10.300" v="575" actId="14100"/>
          <ac:spMkLst>
            <pc:docMk/>
            <pc:sldMk cId="831527634" sldId="656"/>
            <ac:spMk id="7" creationId="{00000000-0000-0000-0000-000000000000}"/>
          </ac:spMkLst>
        </pc:spChg>
        <pc:picChg chg="mod">
          <ac:chgData name="Patrick El-Azem" userId="e9a1393194618efd" providerId="LiveId" clId="{0E83E319-DD06-42C9-950A-41FC9BC8C8A8}" dt="2018-05-15T11:36:23.327" v="118" actId="1076"/>
          <ac:picMkLst>
            <pc:docMk/>
            <pc:sldMk cId="831527634" sldId="656"/>
            <ac:picMk id="2052" creationId="{CC9B1064-A517-4188-87C3-6C3CE882BF84}"/>
          </ac:picMkLst>
        </pc:picChg>
      </pc:sldChg>
      <pc:sldChg chg="modSp ord">
        <pc:chgData name="Patrick El-Azem" userId="e9a1393194618efd" providerId="LiveId" clId="{0E83E319-DD06-42C9-950A-41FC9BC8C8A8}" dt="2018-05-15T11:53:52.272" v="564" actId="14100"/>
        <pc:sldMkLst>
          <pc:docMk/>
          <pc:sldMk cId="1349037553" sldId="657"/>
        </pc:sldMkLst>
        <pc:spChg chg="mod">
          <ac:chgData name="Patrick El-Azem" userId="e9a1393194618efd" providerId="LiveId" clId="{0E83E319-DD06-42C9-950A-41FC9BC8C8A8}" dt="2018-05-15T11:37:15.280" v="127" actId="14100"/>
          <ac:spMkLst>
            <pc:docMk/>
            <pc:sldMk cId="1349037553" sldId="657"/>
            <ac:spMk id="2" creationId="{00000000-0000-0000-0000-000000000000}"/>
          </ac:spMkLst>
        </pc:spChg>
        <pc:spChg chg="mod">
          <ac:chgData name="Patrick El-Azem" userId="e9a1393194618efd" providerId="LiveId" clId="{0E83E319-DD06-42C9-950A-41FC9BC8C8A8}" dt="2018-05-15T11:51:50.678" v="546" actId="1076"/>
          <ac:spMkLst>
            <pc:docMk/>
            <pc:sldMk cId="1349037553" sldId="657"/>
            <ac:spMk id="7" creationId="{00000000-0000-0000-0000-000000000000}"/>
          </ac:spMkLst>
        </pc:spChg>
      </pc:sldChg>
      <pc:sldChg chg="addSp del modTransition delDesignElem">
        <pc:chgData name="Patrick El-Azem" userId="e9a1393194618efd" providerId="LiveId" clId="{0E83E319-DD06-42C9-950A-41FC9BC8C8A8}" dt="2018-05-15T16:46:00.120" v="6004" actId="2696"/>
        <pc:sldMkLst>
          <pc:docMk/>
          <pc:sldMk cId="1364773666" sldId="1595"/>
        </pc:sldMkLst>
        <pc:spChg chg="add">
          <ac:chgData name="Patrick El-Azem" userId="e9a1393194618efd" providerId="LiveId" clId="{0E83E319-DD06-42C9-950A-41FC9BC8C8A8}" dt="2018-05-15T10:57:33.023" v="3" actId="14100"/>
          <ac:spMkLst>
            <pc:docMk/>
            <pc:sldMk cId="1364773666" sldId="1595"/>
            <ac:spMk id="19" creationId="{50E53EDA-3B94-4F6B-9E86-D3BB9EBB9616}"/>
          </ac:spMkLst>
        </pc:spChg>
        <pc:cxnChg chg="add">
          <ac:chgData name="Patrick El-Azem" userId="e9a1393194618efd" providerId="LiveId" clId="{0E83E319-DD06-42C9-950A-41FC9BC8C8A8}" dt="2018-05-15T10:57:33.023" v="3" actId="14100"/>
          <ac:cxnSpMkLst>
            <pc:docMk/>
            <pc:sldMk cId="1364773666" sldId="1595"/>
            <ac:cxnSpMk id="21" creationId="{30EFD79F-7790-479B-B7DB-BD0D8C101DDD}"/>
          </ac:cxnSpMkLst>
        </pc:cxnChg>
      </pc:sldChg>
      <pc:sldChg chg="delSp modSp add">
        <pc:chgData name="Patrick El-Azem" userId="e9a1393194618efd" providerId="LiveId" clId="{0E83E319-DD06-42C9-950A-41FC9BC8C8A8}" dt="2018-05-15T14:00:48.380" v="5321" actId="13926"/>
        <pc:sldMkLst>
          <pc:docMk/>
          <pc:sldMk cId="1160496612" sldId="1596"/>
        </pc:sldMkLst>
        <pc:spChg chg="mod">
          <ac:chgData name="Patrick El-Azem" userId="e9a1393194618efd" providerId="LiveId" clId="{0E83E319-DD06-42C9-950A-41FC9BC8C8A8}" dt="2018-05-15T14:00:48.380" v="5321" actId="13926"/>
          <ac:spMkLst>
            <pc:docMk/>
            <pc:sldMk cId="1160496612" sldId="1596"/>
            <ac:spMk id="2" creationId="{02C6DA00-AD37-4327-ABCA-408F57516B76}"/>
          </ac:spMkLst>
        </pc:spChg>
        <pc:spChg chg="del">
          <ac:chgData name="Patrick El-Azem" userId="e9a1393194618efd" providerId="LiveId" clId="{0E83E319-DD06-42C9-950A-41FC9BC8C8A8}" dt="2018-05-15T11:03:06.661" v="12" actId="478"/>
          <ac:spMkLst>
            <pc:docMk/>
            <pc:sldMk cId="1160496612" sldId="1596"/>
            <ac:spMk id="3" creationId="{7BB945C5-781C-42CA-91AD-0677E0D7F8A9}"/>
          </ac:spMkLst>
        </pc:spChg>
        <pc:spChg chg="mod">
          <ac:chgData name="Patrick El-Azem" userId="e9a1393194618efd" providerId="LiveId" clId="{0E83E319-DD06-42C9-950A-41FC9BC8C8A8}" dt="2018-05-15T11:02:57.371" v="11" actId="13926"/>
          <ac:spMkLst>
            <pc:docMk/>
            <pc:sldMk cId="1160496612" sldId="1596"/>
            <ac:spMk id="4" creationId="{E07A14BA-BF2B-4DB4-8A4E-EFEC29CFB75E}"/>
          </ac:spMkLst>
        </pc:spChg>
      </pc:sldChg>
      <pc:sldChg chg="modSp add">
        <pc:chgData name="Patrick El-Azem" userId="e9a1393194618efd" providerId="LiveId" clId="{0E83E319-DD06-42C9-950A-41FC9BC8C8A8}" dt="2018-05-15T11:24:44.585" v="76" actId="20577"/>
        <pc:sldMkLst>
          <pc:docMk/>
          <pc:sldMk cId="1703941689" sldId="1597"/>
        </pc:sldMkLst>
        <pc:spChg chg="mod">
          <ac:chgData name="Patrick El-Azem" userId="e9a1393194618efd" providerId="LiveId" clId="{0E83E319-DD06-42C9-950A-41FC9BC8C8A8}" dt="2018-05-15T11:24:44.585" v="76" actId="20577"/>
          <ac:spMkLst>
            <pc:docMk/>
            <pc:sldMk cId="1703941689" sldId="1597"/>
            <ac:spMk id="2" creationId="{00000000-0000-0000-0000-000000000000}"/>
          </ac:spMkLst>
        </pc:spChg>
      </pc:sldChg>
      <pc:sldChg chg="addSp delSp modSp add del">
        <pc:chgData name="Patrick El-Azem" userId="e9a1393194618efd" providerId="LiveId" clId="{0E83E319-DD06-42C9-950A-41FC9BC8C8A8}" dt="2018-05-15T13:05:02.682" v="2047" actId="2696"/>
        <pc:sldMkLst>
          <pc:docMk/>
          <pc:sldMk cId="1585820102" sldId="1598"/>
        </pc:sldMkLst>
        <pc:spChg chg="del">
          <ac:chgData name="Patrick El-Azem" userId="e9a1393194618efd" providerId="LiveId" clId="{0E83E319-DD06-42C9-950A-41FC9BC8C8A8}" dt="2018-05-15T12:08:55.631" v="691" actId="2696"/>
          <ac:spMkLst>
            <pc:docMk/>
            <pc:sldMk cId="1585820102" sldId="1598"/>
            <ac:spMk id="2" creationId="{37191C0E-D4EA-4CB0-AFA4-A44BCE7AF105}"/>
          </ac:spMkLst>
        </pc:spChg>
        <pc:spChg chg="add del mod">
          <ac:chgData name="Patrick El-Azem" userId="e9a1393194618efd" providerId="LiveId" clId="{0E83E319-DD06-42C9-950A-41FC9BC8C8A8}" dt="2018-05-15T12:09:00.950" v="692" actId="2696"/>
          <ac:spMkLst>
            <pc:docMk/>
            <pc:sldMk cId="1585820102" sldId="1598"/>
            <ac:spMk id="3" creationId="{2F750F54-768D-4800-958E-5A942F0DDBFE}"/>
          </ac:spMkLst>
        </pc:spChg>
        <pc:spChg chg="add del mod">
          <ac:chgData name="Patrick El-Azem" userId="e9a1393194618efd" providerId="LiveId" clId="{0E83E319-DD06-42C9-950A-41FC9BC8C8A8}" dt="2018-05-15T12:09:00.950" v="692" actId="2696"/>
          <ac:spMkLst>
            <pc:docMk/>
            <pc:sldMk cId="1585820102" sldId="1598"/>
            <ac:spMk id="4" creationId="{9AF8CD95-36C1-4E99-8071-8C299D9D02F8}"/>
          </ac:spMkLst>
        </pc:spChg>
        <pc:spChg chg="add del mod">
          <ac:chgData name="Patrick El-Azem" userId="e9a1393194618efd" providerId="LiveId" clId="{0E83E319-DD06-42C9-950A-41FC9BC8C8A8}" dt="2018-05-15T12:09:00.950" v="692" actId="2696"/>
          <ac:spMkLst>
            <pc:docMk/>
            <pc:sldMk cId="1585820102" sldId="1598"/>
            <ac:spMk id="5" creationId="{0D3FC939-E15B-4AC2-B6A1-3FA1ACDF22FC}"/>
          </ac:spMkLst>
        </pc:spChg>
        <pc:spChg chg="add mod">
          <ac:chgData name="Patrick El-Azem" userId="e9a1393194618efd" providerId="LiveId" clId="{0E83E319-DD06-42C9-950A-41FC9BC8C8A8}" dt="2018-05-15T12:09:00.950" v="692" actId="2696"/>
          <ac:spMkLst>
            <pc:docMk/>
            <pc:sldMk cId="1585820102" sldId="1598"/>
            <ac:spMk id="6" creationId="{4CB690C7-61A6-4BF1-8C56-4C8BA58ACC87}"/>
          </ac:spMkLst>
        </pc:spChg>
      </pc:sldChg>
      <pc:sldChg chg="addSp delSp modSp add ord modNotesTx">
        <pc:chgData name="Patrick El-Azem" userId="e9a1393194618efd" providerId="LiveId" clId="{0E83E319-DD06-42C9-950A-41FC9BC8C8A8}" dt="2018-05-15T14:14:15.173" v="5467" actId="1076"/>
        <pc:sldMkLst>
          <pc:docMk/>
          <pc:sldMk cId="1337492897" sldId="1599"/>
        </pc:sldMkLst>
        <pc:spChg chg="mod">
          <ac:chgData name="Patrick El-Azem" userId="e9a1393194618efd" providerId="LiveId" clId="{0E83E319-DD06-42C9-950A-41FC9BC8C8A8}" dt="2018-05-15T12:43:09.007" v="1013" actId="20577"/>
          <ac:spMkLst>
            <pc:docMk/>
            <pc:sldMk cId="1337492897" sldId="1599"/>
            <ac:spMk id="2" creationId="{00000000-0000-0000-0000-000000000000}"/>
          </ac:spMkLst>
        </pc:spChg>
        <pc:spChg chg="add mod">
          <ac:chgData name="Patrick El-Azem" userId="e9a1393194618efd" providerId="LiveId" clId="{0E83E319-DD06-42C9-950A-41FC9BC8C8A8}" dt="2018-05-15T12:46:09.387" v="1053" actId="1076"/>
          <ac:spMkLst>
            <pc:docMk/>
            <pc:sldMk cId="1337492897" sldId="1599"/>
            <ac:spMk id="4" creationId="{A9D3DFEF-0530-44BB-B6A8-1534CEB455A7}"/>
          </ac:spMkLst>
        </pc:spChg>
        <pc:spChg chg="mod">
          <ac:chgData name="Patrick El-Azem" userId="e9a1393194618efd" providerId="LiveId" clId="{0E83E319-DD06-42C9-950A-41FC9BC8C8A8}" dt="2018-05-15T12:45:53.353" v="1048" actId="1076"/>
          <ac:spMkLst>
            <pc:docMk/>
            <pc:sldMk cId="1337492897" sldId="1599"/>
            <ac:spMk id="7" creationId="{00000000-0000-0000-0000-000000000000}"/>
          </ac:spMkLst>
        </pc:spChg>
        <pc:picChg chg="add del mod">
          <ac:chgData name="Patrick El-Azem" userId="e9a1393194618efd" providerId="LiveId" clId="{0E83E319-DD06-42C9-950A-41FC9BC8C8A8}" dt="2018-05-15T14:13:44.273" v="5463" actId="478"/>
          <ac:picMkLst>
            <pc:docMk/>
            <pc:sldMk cId="1337492897" sldId="1599"/>
            <ac:picMk id="3" creationId="{DD268008-18AD-4FA9-8E34-E14542582416}"/>
          </ac:picMkLst>
        </pc:picChg>
        <pc:picChg chg="add del mod">
          <ac:chgData name="Patrick El-Azem" userId="e9a1393194618efd" providerId="LiveId" clId="{0E83E319-DD06-42C9-950A-41FC9BC8C8A8}" dt="2018-05-15T14:14:11.140" v="5465" actId="478"/>
          <ac:picMkLst>
            <pc:docMk/>
            <pc:sldMk cId="1337492897" sldId="1599"/>
            <ac:picMk id="5" creationId="{B72781FF-9040-4485-9ED4-5115B1D65EB8}"/>
          </ac:picMkLst>
        </pc:picChg>
        <pc:picChg chg="add mod">
          <ac:chgData name="Patrick El-Azem" userId="e9a1393194618efd" providerId="LiveId" clId="{0E83E319-DD06-42C9-950A-41FC9BC8C8A8}" dt="2018-05-15T14:14:15.173" v="5467" actId="1076"/>
          <ac:picMkLst>
            <pc:docMk/>
            <pc:sldMk cId="1337492897" sldId="1599"/>
            <ac:picMk id="6" creationId="{1F34C6BD-D692-4760-886F-E4E41B662405}"/>
          </ac:picMkLst>
        </pc:picChg>
        <pc:picChg chg="del">
          <ac:chgData name="Patrick El-Azem" userId="e9a1393194618efd" providerId="LiveId" clId="{0E83E319-DD06-42C9-950A-41FC9BC8C8A8}" dt="2018-05-15T12:44:38.621" v="1038" actId="478"/>
          <ac:picMkLst>
            <pc:docMk/>
            <pc:sldMk cId="1337492897" sldId="1599"/>
            <ac:picMk id="5122" creationId="{574FACBA-11ED-4574-8E92-C83F31D54E08}"/>
          </ac:picMkLst>
        </pc:picChg>
      </pc:sldChg>
      <pc:sldChg chg="addSp delSp modSp add modNotesTx">
        <pc:chgData name="Patrick El-Azem" userId="e9a1393194618efd" providerId="LiveId" clId="{0E83E319-DD06-42C9-950A-41FC9BC8C8A8}" dt="2018-05-15T12:54:01.338" v="1118" actId="20577"/>
        <pc:sldMkLst>
          <pc:docMk/>
          <pc:sldMk cId="3232124664" sldId="1600"/>
        </pc:sldMkLst>
        <pc:spChg chg="mod">
          <ac:chgData name="Patrick El-Azem" userId="e9a1393194618efd" providerId="LiveId" clId="{0E83E319-DD06-42C9-950A-41FC9BC8C8A8}" dt="2018-05-15T12:46:42.985" v="1072" actId="20577"/>
          <ac:spMkLst>
            <pc:docMk/>
            <pc:sldMk cId="3232124664" sldId="1600"/>
            <ac:spMk id="2" creationId="{00000000-0000-0000-0000-000000000000}"/>
          </ac:spMkLst>
        </pc:spChg>
        <pc:spChg chg="mod">
          <ac:chgData name="Patrick El-Azem" userId="e9a1393194618efd" providerId="LiveId" clId="{0E83E319-DD06-42C9-950A-41FC9BC8C8A8}" dt="2018-05-15T12:47:09.678" v="1085" actId="20577"/>
          <ac:spMkLst>
            <pc:docMk/>
            <pc:sldMk cId="3232124664" sldId="1600"/>
            <ac:spMk id="4" creationId="{A9D3DFEF-0530-44BB-B6A8-1534CEB455A7}"/>
          </ac:spMkLst>
        </pc:spChg>
        <pc:spChg chg="mod">
          <ac:chgData name="Patrick El-Azem" userId="e9a1393194618efd" providerId="LiveId" clId="{0E83E319-DD06-42C9-950A-41FC9BC8C8A8}" dt="2018-05-15T12:49:21.299" v="1088" actId="1076"/>
          <ac:spMkLst>
            <pc:docMk/>
            <pc:sldMk cId="3232124664" sldId="1600"/>
            <ac:spMk id="7" creationId="{00000000-0000-0000-0000-000000000000}"/>
          </ac:spMkLst>
        </pc:spChg>
        <pc:picChg chg="del">
          <ac:chgData name="Patrick El-Azem" userId="e9a1393194618efd" providerId="LiveId" clId="{0E83E319-DD06-42C9-950A-41FC9BC8C8A8}" dt="2018-05-15T12:47:23.841" v="1086" actId="478"/>
          <ac:picMkLst>
            <pc:docMk/>
            <pc:sldMk cId="3232124664" sldId="1600"/>
            <ac:picMk id="3" creationId="{DD268008-18AD-4FA9-8E34-E14542582416}"/>
          </ac:picMkLst>
        </pc:picChg>
        <pc:picChg chg="add mod">
          <ac:chgData name="Patrick El-Azem" userId="e9a1393194618efd" providerId="LiveId" clId="{0E83E319-DD06-42C9-950A-41FC9BC8C8A8}" dt="2018-05-15T12:49:51.529" v="1093" actId="1076"/>
          <ac:picMkLst>
            <pc:docMk/>
            <pc:sldMk cId="3232124664" sldId="1600"/>
            <ac:picMk id="5" creationId="{21D55421-B6B6-4E24-B093-6212727923B8}"/>
          </ac:picMkLst>
        </pc:picChg>
      </pc:sldChg>
      <pc:sldChg chg="addSp delSp modSp add modNotesTx">
        <pc:chgData name="Patrick El-Azem" userId="e9a1393194618efd" providerId="LiveId" clId="{0E83E319-DD06-42C9-950A-41FC9BC8C8A8}" dt="2018-05-15T14:16:11.196" v="5470" actId="1076"/>
        <pc:sldMkLst>
          <pc:docMk/>
          <pc:sldMk cId="3863140892" sldId="1601"/>
        </pc:sldMkLst>
        <pc:spChg chg="mod">
          <ac:chgData name="Patrick El-Azem" userId="e9a1393194618efd" providerId="LiveId" clId="{0E83E319-DD06-42C9-950A-41FC9BC8C8A8}" dt="2018-05-15T12:50:08.877" v="1107" actId="20577"/>
          <ac:spMkLst>
            <pc:docMk/>
            <pc:sldMk cId="3863140892" sldId="1601"/>
            <ac:spMk id="2" creationId="{00000000-0000-0000-0000-000000000000}"/>
          </ac:spMkLst>
        </pc:spChg>
        <pc:spChg chg="mod">
          <ac:chgData name="Patrick El-Azem" userId="e9a1393194618efd" providerId="LiveId" clId="{0E83E319-DD06-42C9-950A-41FC9BC8C8A8}" dt="2018-05-15T12:53:56.976" v="1116" actId="1076"/>
          <ac:spMkLst>
            <pc:docMk/>
            <pc:sldMk cId="3863140892" sldId="1601"/>
            <ac:spMk id="4" creationId="{A9D3DFEF-0530-44BB-B6A8-1534CEB455A7}"/>
          </ac:spMkLst>
        </pc:spChg>
        <pc:spChg chg="mod">
          <ac:chgData name="Patrick El-Azem" userId="e9a1393194618efd" providerId="LiveId" clId="{0E83E319-DD06-42C9-950A-41FC9BC8C8A8}" dt="2018-05-15T12:54:48.937" v="1160" actId="20577"/>
          <ac:spMkLst>
            <pc:docMk/>
            <pc:sldMk cId="3863140892" sldId="1601"/>
            <ac:spMk id="7" creationId="{00000000-0000-0000-0000-000000000000}"/>
          </ac:spMkLst>
        </pc:spChg>
        <pc:picChg chg="add del mod">
          <ac:chgData name="Patrick El-Azem" userId="e9a1393194618efd" providerId="LiveId" clId="{0E83E319-DD06-42C9-950A-41FC9BC8C8A8}" dt="2018-05-15T14:16:06.730" v="5468" actId="478"/>
          <ac:picMkLst>
            <pc:docMk/>
            <pc:sldMk cId="3863140892" sldId="1601"/>
            <ac:picMk id="3" creationId="{2FE16AF4-4F16-427E-9344-4D753F78D234}"/>
          </ac:picMkLst>
        </pc:picChg>
        <pc:picChg chg="del">
          <ac:chgData name="Patrick El-Azem" userId="e9a1393194618efd" providerId="LiveId" clId="{0E83E319-DD06-42C9-950A-41FC9BC8C8A8}" dt="2018-05-15T12:50:13.845" v="1108" actId="478"/>
          <ac:picMkLst>
            <pc:docMk/>
            <pc:sldMk cId="3863140892" sldId="1601"/>
            <ac:picMk id="5" creationId="{21D55421-B6B6-4E24-B093-6212727923B8}"/>
          </ac:picMkLst>
        </pc:picChg>
        <pc:picChg chg="add mod">
          <ac:chgData name="Patrick El-Azem" userId="e9a1393194618efd" providerId="LiveId" clId="{0E83E319-DD06-42C9-950A-41FC9BC8C8A8}" dt="2018-05-15T14:16:11.196" v="5470" actId="1076"/>
          <ac:picMkLst>
            <pc:docMk/>
            <pc:sldMk cId="3863140892" sldId="1601"/>
            <ac:picMk id="6" creationId="{412179A5-738B-4079-A681-C2E7E39FE69F}"/>
          </ac:picMkLst>
        </pc:picChg>
      </pc:sldChg>
      <pc:sldChg chg="delSp modSp add">
        <pc:chgData name="Patrick El-Azem" userId="e9a1393194618efd" providerId="LiveId" clId="{0E83E319-DD06-42C9-950A-41FC9BC8C8A8}" dt="2018-05-15T14:17:23.293" v="5483" actId="403"/>
        <pc:sldMkLst>
          <pc:docMk/>
          <pc:sldMk cId="199285573" sldId="1602"/>
        </pc:sldMkLst>
        <pc:spChg chg="mod">
          <ac:chgData name="Patrick El-Azem" userId="e9a1393194618efd" providerId="LiveId" clId="{0E83E319-DD06-42C9-950A-41FC9BC8C8A8}" dt="2018-05-15T12:57:27.297" v="1186" actId="20577"/>
          <ac:spMkLst>
            <pc:docMk/>
            <pc:sldMk cId="199285573" sldId="1602"/>
            <ac:spMk id="2" creationId="{00000000-0000-0000-0000-000000000000}"/>
          </ac:spMkLst>
        </pc:spChg>
        <pc:spChg chg="mod">
          <ac:chgData name="Patrick El-Azem" userId="e9a1393194618efd" providerId="LiveId" clId="{0E83E319-DD06-42C9-950A-41FC9BC8C8A8}" dt="2018-05-15T13:04:41.736" v="2037" actId="1076"/>
          <ac:spMkLst>
            <pc:docMk/>
            <pc:sldMk cId="199285573" sldId="1602"/>
            <ac:spMk id="4" creationId="{A9D3DFEF-0530-44BB-B6A8-1534CEB455A7}"/>
          </ac:spMkLst>
        </pc:spChg>
        <pc:spChg chg="mod">
          <ac:chgData name="Patrick El-Azem" userId="e9a1393194618efd" providerId="LiveId" clId="{0E83E319-DD06-42C9-950A-41FC9BC8C8A8}" dt="2018-05-15T14:17:23.293" v="5483" actId="403"/>
          <ac:spMkLst>
            <pc:docMk/>
            <pc:sldMk cId="199285573" sldId="1602"/>
            <ac:spMk id="7" creationId="{00000000-0000-0000-0000-000000000000}"/>
          </ac:spMkLst>
        </pc:spChg>
        <pc:picChg chg="del">
          <ac:chgData name="Patrick El-Azem" userId="e9a1393194618efd" providerId="LiveId" clId="{0E83E319-DD06-42C9-950A-41FC9BC8C8A8}" dt="2018-05-15T12:57:29.662" v="1187" actId="478"/>
          <ac:picMkLst>
            <pc:docMk/>
            <pc:sldMk cId="199285573" sldId="1602"/>
            <ac:picMk id="5" creationId="{21D55421-B6B6-4E24-B093-6212727923B8}"/>
          </ac:picMkLst>
        </pc:picChg>
      </pc:sldChg>
      <pc:sldChg chg="add del">
        <pc:chgData name="Patrick El-Azem" userId="e9a1393194618efd" providerId="LiveId" clId="{0E83E319-DD06-42C9-950A-41FC9BC8C8A8}" dt="2018-05-15T13:51:54.184" v="4813" actId="2696"/>
        <pc:sldMkLst>
          <pc:docMk/>
          <pc:sldMk cId="557517174" sldId="1603"/>
        </pc:sldMkLst>
      </pc:sldChg>
      <pc:sldChg chg="addSp modSp add modTransition">
        <pc:chgData name="Patrick El-Azem" userId="e9a1393194618efd" providerId="LiveId" clId="{0E83E319-DD06-42C9-950A-41FC9BC8C8A8}" dt="2018-05-15T14:01:18.510" v="5324" actId="14100"/>
        <pc:sldMkLst>
          <pc:docMk/>
          <pc:sldMk cId="3025099373" sldId="1604"/>
        </pc:sldMkLst>
        <pc:spChg chg="add mod">
          <ac:chgData name="Patrick El-Azem" userId="e9a1393194618efd" providerId="LiveId" clId="{0E83E319-DD06-42C9-950A-41FC9BC8C8A8}" dt="2018-05-15T13:07:26.529" v="2067" actId="1076"/>
          <ac:spMkLst>
            <pc:docMk/>
            <pc:sldMk cId="3025099373" sldId="1604"/>
            <ac:spMk id="2" creationId="{FAFD12F8-4180-43B8-81AB-9137FFAED5EF}"/>
          </ac:spMkLst>
        </pc:spChg>
      </pc:sldChg>
      <pc:sldChg chg="addSp delSp modSp add">
        <pc:chgData name="Patrick El-Azem" userId="e9a1393194618efd" providerId="LiveId" clId="{0E83E319-DD06-42C9-950A-41FC9BC8C8A8}" dt="2018-05-15T13:20:26.183" v="3025" actId="404"/>
        <pc:sldMkLst>
          <pc:docMk/>
          <pc:sldMk cId="2451336481" sldId="1605"/>
        </pc:sldMkLst>
        <pc:spChg chg="add mod">
          <ac:chgData name="Patrick El-Azem" userId="e9a1393194618efd" providerId="LiveId" clId="{0E83E319-DD06-42C9-950A-41FC9BC8C8A8}" dt="2018-05-15T13:20:26.183" v="3025" actId="404"/>
          <ac:spMkLst>
            <pc:docMk/>
            <pc:sldMk cId="2451336481" sldId="1605"/>
            <ac:spMk id="4" creationId="{A615B125-05E9-4EE9-A385-186D677E550E}"/>
          </ac:spMkLst>
        </pc:spChg>
        <pc:spChg chg="del mod">
          <ac:chgData name="Patrick El-Azem" userId="e9a1393194618efd" providerId="LiveId" clId="{0E83E319-DD06-42C9-950A-41FC9BC8C8A8}" dt="2018-05-15T13:15:52.002" v="2261" actId="404"/>
          <ac:spMkLst>
            <pc:docMk/>
            <pc:sldMk cId="2451336481" sldId="1605"/>
            <ac:spMk id="10" creationId="{EAD891C8-BDE0-4D44-8637-6B3A9FEE74F7}"/>
          </ac:spMkLst>
        </pc:spChg>
        <pc:spChg chg="mod">
          <ac:chgData name="Patrick El-Azem" userId="e9a1393194618efd" providerId="LiveId" clId="{0E83E319-DD06-42C9-950A-41FC9BC8C8A8}" dt="2018-05-15T13:14:30.627" v="2163" actId="20577"/>
          <ac:spMkLst>
            <pc:docMk/>
            <pc:sldMk cId="2451336481" sldId="1605"/>
            <ac:spMk id="14" creationId="{1E527BC4-263E-4C13-82C2-0388C847AE9D}"/>
          </ac:spMkLst>
        </pc:spChg>
      </pc:sldChg>
      <pc:sldChg chg="addSp delSp modSp add">
        <pc:chgData name="Patrick El-Azem" userId="e9a1393194618efd" providerId="LiveId" clId="{0E83E319-DD06-42C9-950A-41FC9BC8C8A8}" dt="2018-05-15T13:23:52.706" v="3194" actId="478"/>
        <pc:sldMkLst>
          <pc:docMk/>
          <pc:sldMk cId="3403124909" sldId="1606"/>
        </pc:sldMkLst>
        <pc:spChg chg="add del mod">
          <ac:chgData name="Patrick El-Azem" userId="e9a1393194618efd" providerId="LiveId" clId="{0E83E319-DD06-42C9-950A-41FC9BC8C8A8}" dt="2018-05-15T13:23:52.706" v="3194" actId="478"/>
          <ac:spMkLst>
            <pc:docMk/>
            <pc:sldMk cId="3403124909" sldId="1606"/>
            <ac:spMk id="2" creationId="{7F80FEE4-BCCE-4763-8F09-3E73AEB4FA7F}"/>
          </ac:spMkLst>
        </pc:spChg>
        <pc:spChg chg="mod">
          <ac:chgData name="Patrick El-Azem" userId="e9a1393194618efd" providerId="LiveId" clId="{0E83E319-DD06-42C9-950A-41FC9BC8C8A8}" dt="2018-05-15T13:21:56.414" v="3160" actId="14"/>
          <ac:spMkLst>
            <pc:docMk/>
            <pc:sldMk cId="3403124909" sldId="1606"/>
            <ac:spMk id="4" creationId="{A615B125-05E9-4EE9-A385-186D677E550E}"/>
          </ac:spMkLst>
        </pc:spChg>
        <pc:spChg chg="add del">
          <ac:chgData name="Patrick El-Azem" userId="e9a1393194618efd" providerId="LiveId" clId="{0E83E319-DD06-42C9-950A-41FC9BC8C8A8}" dt="2018-05-15T13:23:32.042" v="3189" actId="478"/>
          <ac:spMkLst>
            <pc:docMk/>
            <pc:sldMk cId="3403124909" sldId="1606"/>
            <ac:spMk id="5" creationId="{FB8D23D8-5FE2-4BB8-B39B-592AD330BDEE}"/>
          </ac:spMkLst>
        </pc:spChg>
        <pc:spChg chg="add del mod">
          <ac:chgData name="Patrick El-Azem" userId="e9a1393194618efd" providerId="LiveId" clId="{0E83E319-DD06-42C9-950A-41FC9BC8C8A8}" dt="2018-05-15T13:23:52.414" v="3193" actId="478"/>
          <ac:spMkLst>
            <pc:docMk/>
            <pc:sldMk cId="3403124909" sldId="1606"/>
            <ac:spMk id="6" creationId="{A315ADD3-ED68-4E3A-BDBD-EF58BD82339D}"/>
          </ac:spMkLst>
        </pc:spChg>
        <pc:spChg chg="mod">
          <ac:chgData name="Patrick El-Azem" userId="e9a1393194618efd" providerId="LiveId" clId="{0E83E319-DD06-42C9-950A-41FC9BC8C8A8}" dt="2018-05-15T13:21:50.465" v="3158" actId="20577"/>
          <ac:spMkLst>
            <pc:docMk/>
            <pc:sldMk cId="3403124909" sldId="1606"/>
            <ac:spMk id="14" creationId="{1E527BC4-263E-4C13-82C2-0388C847AE9D}"/>
          </ac:spMkLst>
        </pc:spChg>
      </pc:sldChg>
      <pc:sldChg chg="delSp modSp add delAnim">
        <pc:chgData name="Patrick El-Azem" userId="e9a1393194618efd" providerId="LiveId" clId="{0E83E319-DD06-42C9-950A-41FC9BC8C8A8}" dt="2018-05-15T13:37:24.407" v="4111" actId="20577"/>
        <pc:sldMkLst>
          <pc:docMk/>
          <pc:sldMk cId="797179491" sldId="1607"/>
        </pc:sldMkLst>
        <pc:spChg chg="mod">
          <ac:chgData name="Patrick El-Azem" userId="e9a1393194618efd" providerId="LiveId" clId="{0E83E319-DD06-42C9-950A-41FC9BC8C8A8}" dt="2018-05-15T13:37:24.407" v="4111" actId="20577"/>
          <ac:spMkLst>
            <pc:docMk/>
            <pc:sldMk cId="797179491" sldId="1607"/>
            <ac:spMk id="6" creationId="{00000000-0000-0000-0000-000000000000}"/>
          </ac:spMkLst>
        </pc:spChg>
        <pc:spChg chg="mod">
          <ac:chgData name="Patrick El-Azem" userId="e9a1393194618efd" providerId="LiveId" clId="{0E83E319-DD06-42C9-950A-41FC9BC8C8A8}" dt="2018-05-15T13:33:00.423" v="4046" actId="20577"/>
          <ac:spMkLst>
            <pc:docMk/>
            <pc:sldMk cId="797179491" sldId="1607"/>
            <ac:spMk id="10" creationId="{68810728-1CC7-47AF-9142-19F123DBAEE5}"/>
          </ac:spMkLst>
        </pc:spChg>
        <pc:picChg chg="del">
          <ac:chgData name="Patrick El-Azem" userId="e9a1393194618efd" providerId="LiveId" clId="{0E83E319-DD06-42C9-950A-41FC9BC8C8A8}" dt="2018-05-15T13:33:10.300" v="4048" actId="478"/>
          <ac:picMkLst>
            <pc:docMk/>
            <pc:sldMk cId="797179491" sldId="1607"/>
            <ac:picMk id="4" creationId="{00000000-0000-0000-0000-000000000000}"/>
          </ac:picMkLst>
        </pc:picChg>
        <pc:picChg chg="mod">
          <ac:chgData name="Patrick El-Azem" userId="e9a1393194618efd" providerId="LiveId" clId="{0E83E319-DD06-42C9-950A-41FC9BC8C8A8}" dt="2018-05-15T13:33:13.223" v="4049" actId="14100"/>
          <ac:picMkLst>
            <pc:docMk/>
            <pc:sldMk cId="797179491" sldId="1607"/>
            <ac:picMk id="7" creationId="{00000000-0000-0000-0000-000000000000}"/>
          </ac:picMkLst>
        </pc:picChg>
        <pc:picChg chg="del">
          <ac:chgData name="Patrick El-Azem" userId="e9a1393194618efd" providerId="LiveId" clId="{0E83E319-DD06-42C9-950A-41FC9BC8C8A8}" dt="2018-05-15T13:33:10.300" v="4048" actId="478"/>
          <ac:picMkLst>
            <pc:docMk/>
            <pc:sldMk cId="797179491" sldId="1607"/>
            <ac:picMk id="1026" creationId="{00000000-0000-0000-0000-000000000000}"/>
          </ac:picMkLst>
        </pc:picChg>
      </pc:sldChg>
      <pc:sldChg chg="addSp delSp modSp add delAnim modAnim">
        <pc:chgData name="Patrick El-Azem" userId="e9a1393194618efd" providerId="LiveId" clId="{0E83E319-DD06-42C9-950A-41FC9BC8C8A8}" dt="2018-05-15T13:37:53.238" v="4126" actId="20577"/>
        <pc:sldMkLst>
          <pc:docMk/>
          <pc:sldMk cId="1523004161" sldId="1608"/>
        </pc:sldMkLst>
        <pc:spChg chg="mod">
          <ac:chgData name="Patrick El-Azem" userId="e9a1393194618efd" providerId="LiveId" clId="{0E83E319-DD06-42C9-950A-41FC9BC8C8A8}" dt="2018-05-15T13:37:53.238" v="4126" actId="20577"/>
          <ac:spMkLst>
            <pc:docMk/>
            <pc:sldMk cId="1523004161" sldId="1608"/>
            <ac:spMk id="6" creationId="{00000000-0000-0000-0000-000000000000}"/>
          </ac:spMkLst>
        </pc:spChg>
        <pc:spChg chg="mod">
          <ac:chgData name="Patrick El-Azem" userId="e9a1393194618efd" providerId="LiveId" clId="{0E83E319-DD06-42C9-950A-41FC9BC8C8A8}" dt="2018-05-15T13:34:56.709" v="4082" actId="20577"/>
          <ac:spMkLst>
            <pc:docMk/>
            <pc:sldMk cId="1523004161" sldId="1608"/>
            <ac:spMk id="10" creationId="{68810728-1CC7-47AF-9142-19F123DBAEE5}"/>
          </ac:spMkLst>
        </pc:spChg>
        <pc:picChg chg="add mod">
          <ac:chgData name="Patrick El-Azem" userId="e9a1393194618efd" providerId="LiveId" clId="{0E83E319-DD06-42C9-950A-41FC9BC8C8A8}" dt="2018-05-15T13:34:43.982" v="4076" actId="1076"/>
          <ac:picMkLst>
            <pc:docMk/>
            <pc:sldMk cId="1523004161" sldId="1608"/>
            <ac:picMk id="5" creationId="{2172DF29-9923-4397-A756-8C7BA17CD7A8}"/>
          </ac:picMkLst>
        </pc:picChg>
        <pc:picChg chg="del">
          <ac:chgData name="Patrick El-Azem" userId="e9a1393194618efd" providerId="LiveId" clId="{0E83E319-DD06-42C9-950A-41FC9BC8C8A8}" dt="2018-05-15T13:34:38.578" v="4073" actId="478"/>
          <ac:picMkLst>
            <pc:docMk/>
            <pc:sldMk cId="1523004161" sldId="1608"/>
            <ac:picMk id="7" creationId="{00000000-0000-0000-0000-000000000000}"/>
          </ac:picMkLst>
        </pc:picChg>
      </pc:sldChg>
      <pc:sldChg chg="delSp modSp add delAnim">
        <pc:chgData name="Patrick El-Azem" userId="e9a1393194618efd" providerId="LiveId" clId="{0E83E319-DD06-42C9-950A-41FC9BC8C8A8}" dt="2018-05-15T14:23:39.387" v="5536" actId="14100"/>
        <pc:sldMkLst>
          <pc:docMk/>
          <pc:sldMk cId="2638768700" sldId="1609"/>
        </pc:sldMkLst>
        <pc:spChg chg="mod">
          <ac:chgData name="Patrick El-Azem" userId="e9a1393194618efd" providerId="LiveId" clId="{0E83E319-DD06-42C9-950A-41FC9BC8C8A8}" dt="2018-05-15T14:23:39.387" v="5536" actId="14100"/>
          <ac:spMkLst>
            <pc:docMk/>
            <pc:sldMk cId="2638768700" sldId="1609"/>
            <ac:spMk id="6" creationId="{00000000-0000-0000-0000-000000000000}"/>
          </ac:spMkLst>
        </pc:spChg>
        <pc:spChg chg="mod">
          <ac:chgData name="Patrick El-Azem" userId="e9a1393194618efd" providerId="LiveId" clId="{0E83E319-DD06-42C9-950A-41FC9BC8C8A8}" dt="2018-05-15T13:38:42.785" v="4166" actId="20577"/>
          <ac:spMkLst>
            <pc:docMk/>
            <pc:sldMk cId="2638768700" sldId="1609"/>
            <ac:spMk id="10" creationId="{68810728-1CC7-47AF-9142-19F123DBAEE5}"/>
          </ac:spMkLst>
        </pc:spChg>
        <pc:picChg chg="del">
          <ac:chgData name="Patrick El-Azem" userId="e9a1393194618efd" providerId="LiveId" clId="{0E83E319-DD06-42C9-950A-41FC9BC8C8A8}" dt="2018-05-15T13:38:58.626" v="4168" actId="478"/>
          <ac:picMkLst>
            <pc:docMk/>
            <pc:sldMk cId="2638768700" sldId="1609"/>
            <ac:picMk id="5" creationId="{2172DF29-9923-4397-A756-8C7BA17CD7A8}"/>
          </ac:picMkLst>
        </pc:picChg>
      </pc:sldChg>
      <pc:sldChg chg="add del">
        <pc:chgData name="Patrick El-Azem" userId="e9a1393194618efd" providerId="LiveId" clId="{0E83E319-DD06-42C9-950A-41FC9BC8C8A8}" dt="2018-05-15T14:01:12.714" v="5323" actId="2696"/>
        <pc:sldMkLst>
          <pc:docMk/>
          <pc:sldMk cId="721476158" sldId="1610"/>
        </pc:sldMkLst>
      </pc:sldChg>
      <pc:sldChg chg="modSp add">
        <pc:chgData name="Patrick El-Azem" userId="e9a1393194618efd" providerId="LiveId" clId="{0E83E319-DD06-42C9-950A-41FC9BC8C8A8}" dt="2018-05-15T13:50:21.979" v="4802" actId="403"/>
        <pc:sldMkLst>
          <pc:docMk/>
          <pc:sldMk cId="2514619873" sldId="1611"/>
        </pc:sldMkLst>
        <pc:spChg chg="mod">
          <ac:chgData name="Patrick El-Azem" userId="e9a1393194618efd" providerId="LiveId" clId="{0E83E319-DD06-42C9-950A-41FC9BC8C8A8}" dt="2018-05-15T13:50:21.979" v="4802" actId="403"/>
          <ac:spMkLst>
            <pc:docMk/>
            <pc:sldMk cId="2514619873" sldId="1611"/>
            <ac:spMk id="10" creationId="{EAD891C8-BDE0-4D44-8637-6B3A9FEE74F7}"/>
          </ac:spMkLst>
        </pc:spChg>
        <pc:spChg chg="mod">
          <ac:chgData name="Patrick El-Azem" userId="e9a1393194618efd" providerId="LiveId" clId="{0E83E319-DD06-42C9-950A-41FC9BC8C8A8}" dt="2018-05-15T13:49:24.429" v="4795" actId="20577"/>
          <ac:spMkLst>
            <pc:docMk/>
            <pc:sldMk cId="2514619873" sldId="1611"/>
            <ac:spMk id="14" creationId="{1E527BC4-263E-4C13-82C2-0388C847AE9D}"/>
          </ac:spMkLst>
        </pc:spChg>
      </pc:sldChg>
      <pc:sldChg chg="modSp add">
        <pc:chgData name="Patrick El-Azem" userId="e9a1393194618efd" providerId="LiveId" clId="{0E83E319-DD06-42C9-950A-41FC9BC8C8A8}" dt="2018-05-15T13:58:07.884" v="5319" actId="6549"/>
        <pc:sldMkLst>
          <pc:docMk/>
          <pc:sldMk cId="3713587806" sldId="1612"/>
        </pc:sldMkLst>
        <pc:spChg chg="mod">
          <ac:chgData name="Patrick El-Azem" userId="e9a1393194618efd" providerId="LiveId" clId="{0E83E319-DD06-42C9-950A-41FC9BC8C8A8}" dt="2018-05-15T13:58:07.884" v="5319" actId="6549"/>
          <ac:spMkLst>
            <pc:docMk/>
            <pc:sldMk cId="3713587806" sldId="1612"/>
            <ac:spMk id="4" creationId="{A615B125-05E9-4EE9-A385-186D677E550E}"/>
          </ac:spMkLst>
        </pc:spChg>
        <pc:spChg chg="mod">
          <ac:chgData name="Patrick El-Azem" userId="e9a1393194618efd" providerId="LiveId" clId="{0E83E319-DD06-42C9-950A-41FC9BC8C8A8}" dt="2018-05-15T13:54:45.886" v="4835" actId="20577"/>
          <ac:spMkLst>
            <pc:docMk/>
            <pc:sldMk cId="3713587806" sldId="1612"/>
            <ac:spMk id="14" creationId="{1E527BC4-263E-4C13-82C2-0388C847AE9D}"/>
          </ac:spMkLst>
        </pc:spChg>
      </pc:sldChg>
      <pc:sldChg chg="modSp add ord modTransition">
        <pc:chgData name="Patrick El-Azem" userId="e9a1393194618efd" providerId="LiveId" clId="{0E83E319-DD06-42C9-950A-41FC9BC8C8A8}" dt="2018-05-15T16:26:57.797" v="5717" actId="20577"/>
        <pc:sldMkLst>
          <pc:docMk/>
          <pc:sldMk cId="135626114" sldId="1613"/>
        </pc:sldMkLst>
        <pc:spChg chg="mod">
          <ac:chgData name="Patrick El-Azem" userId="e9a1393194618efd" providerId="LiveId" clId="{0E83E319-DD06-42C9-950A-41FC9BC8C8A8}" dt="2018-05-15T16:26:57.797" v="5717" actId="20577"/>
          <ac:spMkLst>
            <pc:docMk/>
            <pc:sldMk cId="135626114" sldId="1613"/>
            <ac:spMk id="2" creationId="{FAFD12F8-4180-43B8-81AB-9137FFAED5EF}"/>
          </ac:spMkLst>
        </pc:spChg>
      </pc:sldChg>
      <pc:sldChg chg="add del">
        <pc:chgData name="Patrick El-Azem" userId="e9a1393194618efd" providerId="LiveId" clId="{0E83E319-DD06-42C9-950A-41FC9BC8C8A8}" dt="2018-05-15T16:19:28.998" v="5540"/>
        <pc:sldMkLst>
          <pc:docMk/>
          <pc:sldMk cId="2317035001" sldId="1613"/>
        </pc:sldMkLst>
      </pc:sldChg>
      <pc:sldMasterChg chg="del delSldLayout">
        <pc:chgData name="Patrick El-Azem" userId="e9a1393194618efd" providerId="LiveId" clId="{0E83E319-DD06-42C9-950A-41FC9BC8C8A8}" dt="2018-05-15T16:30:07.012" v="5740" actId="2696"/>
        <pc:sldMasterMkLst>
          <pc:docMk/>
          <pc:sldMasterMk cId="3588427678" sldId="2147484229"/>
        </pc:sldMasterMkLst>
        <pc:sldLayoutChg chg="del">
          <pc:chgData name="Patrick El-Azem" userId="e9a1393194618efd" providerId="LiveId" clId="{0E83E319-DD06-42C9-950A-41FC9BC8C8A8}" dt="2018-05-15T16:30:06.262" v="5719" actId="2696"/>
          <pc:sldLayoutMkLst>
            <pc:docMk/>
            <pc:sldMasterMk cId="3588427678" sldId="2147484229"/>
            <pc:sldLayoutMk cId="2588231870" sldId="2147484236"/>
          </pc:sldLayoutMkLst>
        </pc:sldLayoutChg>
        <pc:sldLayoutChg chg="del">
          <pc:chgData name="Patrick El-Azem" userId="e9a1393194618efd" providerId="LiveId" clId="{0E83E319-DD06-42C9-950A-41FC9BC8C8A8}" dt="2018-05-15T16:30:06.293" v="5720" actId="2696"/>
          <pc:sldLayoutMkLst>
            <pc:docMk/>
            <pc:sldMasterMk cId="3588427678" sldId="2147484229"/>
            <pc:sldLayoutMk cId="1531337368" sldId="2147484240"/>
          </pc:sldLayoutMkLst>
        </pc:sldLayoutChg>
        <pc:sldLayoutChg chg="del">
          <pc:chgData name="Patrick El-Azem" userId="e9a1393194618efd" providerId="LiveId" clId="{0E83E319-DD06-42C9-950A-41FC9BC8C8A8}" dt="2018-05-15T16:30:06.325" v="5721" actId="2696"/>
          <pc:sldLayoutMkLst>
            <pc:docMk/>
            <pc:sldMasterMk cId="3588427678" sldId="2147484229"/>
            <pc:sldLayoutMk cId="1703268474" sldId="2147484241"/>
          </pc:sldLayoutMkLst>
        </pc:sldLayoutChg>
        <pc:sldLayoutChg chg="del">
          <pc:chgData name="Patrick El-Azem" userId="e9a1393194618efd" providerId="LiveId" clId="{0E83E319-DD06-42C9-950A-41FC9BC8C8A8}" dt="2018-05-15T16:30:06.356" v="5722" actId="2696"/>
          <pc:sldLayoutMkLst>
            <pc:docMk/>
            <pc:sldMasterMk cId="3588427678" sldId="2147484229"/>
            <pc:sldLayoutMk cId="347959926" sldId="2147484244"/>
          </pc:sldLayoutMkLst>
        </pc:sldLayoutChg>
        <pc:sldLayoutChg chg="del">
          <pc:chgData name="Patrick El-Azem" userId="e9a1393194618efd" providerId="LiveId" clId="{0E83E319-DD06-42C9-950A-41FC9BC8C8A8}" dt="2018-05-15T16:30:06.387" v="5723" actId="2696"/>
          <pc:sldLayoutMkLst>
            <pc:docMk/>
            <pc:sldMasterMk cId="3588427678" sldId="2147484229"/>
            <pc:sldLayoutMk cId="4179946700" sldId="2147484245"/>
          </pc:sldLayoutMkLst>
        </pc:sldLayoutChg>
        <pc:sldLayoutChg chg="del">
          <pc:chgData name="Patrick El-Azem" userId="e9a1393194618efd" providerId="LiveId" clId="{0E83E319-DD06-42C9-950A-41FC9BC8C8A8}" dt="2018-05-15T16:30:06.418" v="5724" actId="2696"/>
          <pc:sldLayoutMkLst>
            <pc:docMk/>
            <pc:sldMasterMk cId="3588427678" sldId="2147484229"/>
            <pc:sldLayoutMk cId="2189335521" sldId="2147484247"/>
          </pc:sldLayoutMkLst>
        </pc:sldLayoutChg>
        <pc:sldLayoutChg chg="del">
          <pc:chgData name="Patrick El-Azem" userId="e9a1393194618efd" providerId="LiveId" clId="{0E83E319-DD06-42C9-950A-41FC9BC8C8A8}" dt="2018-05-15T16:30:06.465" v="5725" actId="2696"/>
          <pc:sldLayoutMkLst>
            <pc:docMk/>
            <pc:sldMasterMk cId="3588427678" sldId="2147484229"/>
            <pc:sldLayoutMk cId="3897602530" sldId="2147484249"/>
          </pc:sldLayoutMkLst>
        </pc:sldLayoutChg>
        <pc:sldLayoutChg chg="del">
          <pc:chgData name="Patrick El-Azem" userId="e9a1393194618efd" providerId="LiveId" clId="{0E83E319-DD06-42C9-950A-41FC9BC8C8A8}" dt="2018-05-15T16:30:06.497" v="5726" actId="2696"/>
          <pc:sldLayoutMkLst>
            <pc:docMk/>
            <pc:sldMasterMk cId="3588427678" sldId="2147484229"/>
            <pc:sldLayoutMk cId="2025825992" sldId="2147484250"/>
          </pc:sldLayoutMkLst>
        </pc:sldLayoutChg>
        <pc:sldLayoutChg chg="del">
          <pc:chgData name="Patrick El-Azem" userId="e9a1393194618efd" providerId="LiveId" clId="{0E83E319-DD06-42C9-950A-41FC9BC8C8A8}" dt="2018-05-15T16:30:06.575" v="5728" actId="2696"/>
          <pc:sldLayoutMkLst>
            <pc:docMk/>
            <pc:sldMasterMk cId="3588427678" sldId="2147484229"/>
            <pc:sldLayoutMk cId="168934554" sldId="2147484251"/>
          </pc:sldLayoutMkLst>
        </pc:sldLayoutChg>
        <pc:sldLayoutChg chg="del">
          <pc:chgData name="Patrick El-Azem" userId="e9a1393194618efd" providerId="LiveId" clId="{0E83E319-DD06-42C9-950A-41FC9BC8C8A8}" dt="2018-05-15T16:30:06.622" v="5729" actId="2696"/>
          <pc:sldLayoutMkLst>
            <pc:docMk/>
            <pc:sldMasterMk cId="3588427678" sldId="2147484229"/>
            <pc:sldLayoutMk cId="2908698505" sldId="2147484252"/>
          </pc:sldLayoutMkLst>
        </pc:sldLayoutChg>
        <pc:sldLayoutChg chg="del">
          <pc:chgData name="Patrick El-Azem" userId="e9a1393194618efd" providerId="LiveId" clId="{0E83E319-DD06-42C9-950A-41FC9BC8C8A8}" dt="2018-05-15T16:30:06.653" v="5730" actId="2696"/>
          <pc:sldLayoutMkLst>
            <pc:docMk/>
            <pc:sldMasterMk cId="3588427678" sldId="2147484229"/>
            <pc:sldLayoutMk cId="3266291156" sldId="2147484253"/>
          </pc:sldLayoutMkLst>
        </pc:sldLayoutChg>
        <pc:sldLayoutChg chg="del">
          <pc:chgData name="Patrick El-Azem" userId="e9a1393194618efd" providerId="LiveId" clId="{0E83E319-DD06-42C9-950A-41FC9BC8C8A8}" dt="2018-05-15T16:30:06.684" v="5731" actId="2696"/>
          <pc:sldLayoutMkLst>
            <pc:docMk/>
            <pc:sldMasterMk cId="3588427678" sldId="2147484229"/>
            <pc:sldLayoutMk cId="2366974557" sldId="2147484254"/>
          </pc:sldLayoutMkLst>
        </pc:sldLayoutChg>
        <pc:sldLayoutChg chg="del">
          <pc:chgData name="Patrick El-Azem" userId="e9a1393194618efd" providerId="LiveId" clId="{0E83E319-DD06-42C9-950A-41FC9BC8C8A8}" dt="2018-05-15T16:30:06.731" v="5732" actId="2696"/>
          <pc:sldLayoutMkLst>
            <pc:docMk/>
            <pc:sldMasterMk cId="3588427678" sldId="2147484229"/>
            <pc:sldLayoutMk cId="3311556723" sldId="2147484256"/>
          </pc:sldLayoutMkLst>
        </pc:sldLayoutChg>
        <pc:sldLayoutChg chg="del">
          <pc:chgData name="Patrick El-Azem" userId="e9a1393194618efd" providerId="LiveId" clId="{0E83E319-DD06-42C9-950A-41FC9BC8C8A8}" dt="2018-05-15T16:30:06.762" v="5733" actId="2696"/>
          <pc:sldLayoutMkLst>
            <pc:docMk/>
            <pc:sldMasterMk cId="3588427678" sldId="2147484229"/>
            <pc:sldLayoutMk cId="2425675349" sldId="2147484257"/>
          </pc:sldLayoutMkLst>
        </pc:sldLayoutChg>
        <pc:sldLayoutChg chg="del">
          <pc:chgData name="Patrick El-Azem" userId="e9a1393194618efd" providerId="LiveId" clId="{0E83E319-DD06-42C9-950A-41FC9BC8C8A8}" dt="2018-05-15T16:30:06.793" v="5734" actId="2696"/>
          <pc:sldLayoutMkLst>
            <pc:docMk/>
            <pc:sldMasterMk cId="3588427678" sldId="2147484229"/>
            <pc:sldLayoutMk cId="1250159915" sldId="2147484258"/>
          </pc:sldLayoutMkLst>
        </pc:sldLayoutChg>
        <pc:sldLayoutChg chg="del">
          <pc:chgData name="Patrick El-Azem" userId="e9a1393194618efd" providerId="LiveId" clId="{0E83E319-DD06-42C9-950A-41FC9BC8C8A8}" dt="2018-05-15T16:30:06.825" v="5735" actId="2696"/>
          <pc:sldLayoutMkLst>
            <pc:docMk/>
            <pc:sldMasterMk cId="3588427678" sldId="2147484229"/>
            <pc:sldLayoutMk cId="1932390786" sldId="2147484259"/>
          </pc:sldLayoutMkLst>
        </pc:sldLayoutChg>
        <pc:sldLayoutChg chg="del">
          <pc:chgData name="Patrick El-Azem" userId="e9a1393194618efd" providerId="LiveId" clId="{0E83E319-DD06-42C9-950A-41FC9BC8C8A8}" dt="2018-05-15T16:30:06.856" v="5736" actId="2696"/>
          <pc:sldLayoutMkLst>
            <pc:docMk/>
            <pc:sldMasterMk cId="3588427678" sldId="2147484229"/>
            <pc:sldLayoutMk cId="1129962453" sldId="2147484260"/>
          </pc:sldLayoutMkLst>
        </pc:sldLayoutChg>
        <pc:sldLayoutChg chg="del">
          <pc:chgData name="Patrick El-Azem" userId="e9a1393194618efd" providerId="LiveId" clId="{0E83E319-DD06-42C9-950A-41FC9BC8C8A8}" dt="2018-05-15T16:30:06.903" v="5737" actId="2696"/>
          <pc:sldLayoutMkLst>
            <pc:docMk/>
            <pc:sldMasterMk cId="3588427678" sldId="2147484229"/>
            <pc:sldLayoutMk cId="17293980" sldId="2147484261"/>
          </pc:sldLayoutMkLst>
        </pc:sldLayoutChg>
        <pc:sldLayoutChg chg="del">
          <pc:chgData name="Patrick El-Azem" userId="e9a1393194618efd" providerId="LiveId" clId="{0E83E319-DD06-42C9-950A-41FC9BC8C8A8}" dt="2018-05-15T16:30:06.934" v="5738" actId="2696"/>
          <pc:sldLayoutMkLst>
            <pc:docMk/>
            <pc:sldMasterMk cId="3588427678" sldId="2147484229"/>
            <pc:sldLayoutMk cId="3482969643" sldId="2147484263"/>
          </pc:sldLayoutMkLst>
        </pc:sldLayoutChg>
        <pc:sldLayoutChg chg="del">
          <pc:chgData name="Patrick El-Azem" userId="e9a1393194618efd" providerId="LiveId" clId="{0E83E319-DD06-42C9-950A-41FC9BC8C8A8}" dt="2018-05-15T16:30:06.543" v="5727" actId="2696"/>
          <pc:sldLayoutMkLst>
            <pc:docMk/>
            <pc:sldMasterMk cId="3588427678" sldId="2147484229"/>
            <pc:sldLayoutMk cId="2728849011" sldId="2147484264"/>
          </pc:sldLayoutMkLst>
        </pc:sldLayoutChg>
        <pc:sldLayoutChg chg="del">
          <pc:chgData name="Patrick El-Azem" userId="e9a1393194618efd" providerId="LiveId" clId="{0E83E319-DD06-42C9-950A-41FC9BC8C8A8}" dt="2018-05-15T16:30:06.231" v="5718" actId="2696"/>
          <pc:sldLayoutMkLst>
            <pc:docMk/>
            <pc:sldMasterMk cId="3588427678" sldId="2147484229"/>
            <pc:sldLayoutMk cId="463697596" sldId="2147484265"/>
          </pc:sldLayoutMkLst>
        </pc:sldLayoutChg>
        <pc:sldLayoutChg chg="del">
          <pc:chgData name="Patrick El-Azem" userId="e9a1393194618efd" providerId="LiveId" clId="{0E83E319-DD06-42C9-950A-41FC9BC8C8A8}" dt="2018-05-15T16:30:06.981" v="5739" actId="2696"/>
          <pc:sldLayoutMkLst>
            <pc:docMk/>
            <pc:sldMasterMk cId="3588427678" sldId="2147484229"/>
            <pc:sldLayoutMk cId="2443309794" sldId="2147484266"/>
          </pc:sldLayoutMkLst>
        </pc:sldLayoutChg>
      </pc:sldMasterChg>
      <pc:sldMasterChg chg="del delSldLayout">
        <pc:chgData name="Patrick El-Azem" userId="e9a1393194618efd" providerId="LiveId" clId="{0E83E319-DD06-42C9-950A-41FC9BC8C8A8}" dt="2018-05-15T16:30:13.149" v="5770" actId="2696"/>
        <pc:sldMasterMkLst>
          <pc:docMk/>
          <pc:sldMasterMk cId="1533487484" sldId="2147484279"/>
        </pc:sldMasterMkLst>
        <pc:sldLayoutChg chg="del">
          <pc:chgData name="Patrick El-Azem" userId="e9a1393194618efd" providerId="LiveId" clId="{0E83E319-DD06-42C9-950A-41FC9BC8C8A8}" dt="2018-05-15T16:30:12.196" v="5741" actId="2696"/>
          <pc:sldLayoutMkLst>
            <pc:docMk/>
            <pc:sldMasterMk cId="1533487484" sldId="2147484279"/>
            <pc:sldLayoutMk cId="722596809" sldId="2147484280"/>
          </pc:sldLayoutMkLst>
        </pc:sldLayoutChg>
        <pc:sldLayoutChg chg="del">
          <pc:chgData name="Patrick El-Azem" userId="e9a1393194618efd" providerId="LiveId" clId="{0E83E319-DD06-42C9-950A-41FC9BC8C8A8}" dt="2018-05-15T16:30:12.228" v="5742" actId="2696"/>
          <pc:sldLayoutMkLst>
            <pc:docMk/>
            <pc:sldMasterMk cId="1533487484" sldId="2147484279"/>
            <pc:sldLayoutMk cId="2023811998" sldId="2147484281"/>
          </pc:sldLayoutMkLst>
        </pc:sldLayoutChg>
        <pc:sldLayoutChg chg="del">
          <pc:chgData name="Patrick El-Azem" userId="e9a1393194618efd" providerId="LiveId" clId="{0E83E319-DD06-42C9-950A-41FC9BC8C8A8}" dt="2018-05-15T16:30:12.259" v="5743" actId="2696"/>
          <pc:sldLayoutMkLst>
            <pc:docMk/>
            <pc:sldMasterMk cId="1533487484" sldId="2147484279"/>
            <pc:sldLayoutMk cId="2077911183" sldId="2147484282"/>
          </pc:sldLayoutMkLst>
        </pc:sldLayoutChg>
        <pc:sldLayoutChg chg="del">
          <pc:chgData name="Patrick El-Azem" userId="e9a1393194618efd" providerId="LiveId" clId="{0E83E319-DD06-42C9-950A-41FC9BC8C8A8}" dt="2018-05-15T16:30:12.290" v="5744" actId="2696"/>
          <pc:sldLayoutMkLst>
            <pc:docMk/>
            <pc:sldMasterMk cId="1533487484" sldId="2147484279"/>
            <pc:sldLayoutMk cId="1633764004" sldId="2147484283"/>
          </pc:sldLayoutMkLst>
        </pc:sldLayoutChg>
        <pc:sldLayoutChg chg="del">
          <pc:chgData name="Patrick El-Azem" userId="e9a1393194618efd" providerId="LiveId" clId="{0E83E319-DD06-42C9-950A-41FC9BC8C8A8}" dt="2018-05-15T16:30:12.321" v="5745" actId="2696"/>
          <pc:sldLayoutMkLst>
            <pc:docMk/>
            <pc:sldMasterMk cId="1533487484" sldId="2147484279"/>
            <pc:sldLayoutMk cId="3039880552" sldId="2147484284"/>
          </pc:sldLayoutMkLst>
        </pc:sldLayoutChg>
        <pc:sldLayoutChg chg="del">
          <pc:chgData name="Patrick El-Azem" userId="e9a1393194618efd" providerId="LiveId" clId="{0E83E319-DD06-42C9-950A-41FC9BC8C8A8}" dt="2018-05-15T16:30:12.368" v="5746" actId="2696"/>
          <pc:sldLayoutMkLst>
            <pc:docMk/>
            <pc:sldMasterMk cId="1533487484" sldId="2147484279"/>
            <pc:sldLayoutMk cId="760460192" sldId="2147484285"/>
          </pc:sldLayoutMkLst>
        </pc:sldLayoutChg>
        <pc:sldLayoutChg chg="del">
          <pc:chgData name="Patrick El-Azem" userId="e9a1393194618efd" providerId="LiveId" clId="{0E83E319-DD06-42C9-950A-41FC9BC8C8A8}" dt="2018-05-15T16:30:12.399" v="5747" actId="2696"/>
          <pc:sldLayoutMkLst>
            <pc:docMk/>
            <pc:sldMasterMk cId="1533487484" sldId="2147484279"/>
            <pc:sldLayoutMk cId="135156991" sldId="2147484286"/>
          </pc:sldLayoutMkLst>
        </pc:sldLayoutChg>
        <pc:sldLayoutChg chg="del">
          <pc:chgData name="Patrick El-Azem" userId="e9a1393194618efd" providerId="LiveId" clId="{0E83E319-DD06-42C9-950A-41FC9BC8C8A8}" dt="2018-05-15T16:30:12.431" v="5748" actId="2696"/>
          <pc:sldLayoutMkLst>
            <pc:docMk/>
            <pc:sldMasterMk cId="1533487484" sldId="2147484279"/>
            <pc:sldLayoutMk cId="3796050842" sldId="2147484287"/>
          </pc:sldLayoutMkLst>
        </pc:sldLayoutChg>
        <pc:sldLayoutChg chg="del">
          <pc:chgData name="Patrick El-Azem" userId="e9a1393194618efd" providerId="LiveId" clId="{0E83E319-DD06-42C9-950A-41FC9BC8C8A8}" dt="2018-05-15T16:30:12.462" v="5749" actId="2696"/>
          <pc:sldLayoutMkLst>
            <pc:docMk/>
            <pc:sldMasterMk cId="1533487484" sldId="2147484279"/>
            <pc:sldLayoutMk cId="4121157813" sldId="2147484288"/>
          </pc:sldLayoutMkLst>
        </pc:sldLayoutChg>
        <pc:sldLayoutChg chg="del">
          <pc:chgData name="Patrick El-Azem" userId="e9a1393194618efd" providerId="LiveId" clId="{0E83E319-DD06-42C9-950A-41FC9BC8C8A8}" dt="2018-05-15T16:30:12.493" v="5750" actId="2696"/>
          <pc:sldLayoutMkLst>
            <pc:docMk/>
            <pc:sldMasterMk cId="1533487484" sldId="2147484279"/>
            <pc:sldLayoutMk cId="1210203790" sldId="2147484289"/>
          </pc:sldLayoutMkLst>
        </pc:sldLayoutChg>
        <pc:sldLayoutChg chg="del">
          <pc:chgData name="Patrick El-Azem" userId="e9a1393194618efd" providerId="LiveId" clId="{0E83E319-DD06-42C9-950A-41FC9BC8C8A8}" dt="2018-05-15T16:30:12.524" v="5751" actId="2696"/>
          <pc:sldLayoutMkLst>
            <pc:docMk/>
            <pc:sldMasterMk cId="1533487484" sldId="2147484279"/>
            <pc:sldLayoutMk cId="4254747603" sldId="2147484290"/>
          </pc:sldLayoutMkLst>
        </pc:sldLayoutChg>
        <pc:sldLayoutChg chg="del">
          <pc:chgData name="Patrick El-Azem" userId="e9a1393194618efd" providerId="LiveId" clId="{0E83E319-DD06-42C9-950A-41FC9BC8C8A8}" dt="2018-05-15T16:30:12.556" v="5752" actId="2696"/>
          <pc:sldLayoutMkLst>
            <pc:docMk/>
            <pc:sldMasterMk cId="1533487484" sldId="2147484279"/>
            <pc:sldLayoutMk cId="2149054918" sldId="2147484291"/>
          </pc:sldLayoutMkLst>
        </pc:sldLayoutChg>
        <pc:sldLayoutChg chg="del">
          <pc:chgData name="Patrick El-Azem" userId="e9a1393194618efd" providerId="LiveId" clId="{0E83E319-DD06-42C9-950A-41FC9BC8C8A8}" dt="2018-05-15T16:30:12.587" v="5753" actId="2696"/>
          <pc:sldLayoutMkLst>
            <pc:docMk/>
            <pc:sldMasterMk cId="1533487484" sldId="2147484279"/>
            <pc:sldLayoutMk cId="3599392437" sldId="2147484292"/>
          </pc:sldLayoutMkLst>
        </pc:sldLayoutChg>
        <pc:sldLayoutChg chg="del">
          <pc:chgData name="Patrick El-Azem" userId="e9a1393194618efd" providerId="LiveId" clId="{0E83E319-DD06-42C9-950A-41FC9BC8C8A8}" dt="2018-05-15T16:30:12.603" v="5754" actId="2696"/>
          <pc:sldLayoutMkLst>
            <pc:docMk/>
            <pc:sldMasterMk cId="1533487484" sldId="2147484279"/>
            <pc:sldLayoutMk cId="3298545422" sldId="2147484293"/>
          </pc:sldLayoutMkLst>
        </pc:sldLayoutChg>
        <pc:sldLayoutChg chg="del">
          <pc:chgData name="Patrick El-Azem" userId="e9a1393194618efd" providerId="LiveId" clId="{0E83E319-DD06-42C9-950A-41FC9BC8C8A8}" dt="2018-05-15T16:30:12.649" v="5755" actId="2696"/>
          <pc:sldLayoutMkLst>
            <pc:docMk/>
            <pc:sldMasterMk cId="1533487484" sldId="2147484279"/>
            <pc:sldLayoutMk cId="3965330057" sldId="2147484294"/>
          </pc:sldLayoutMkLst>
        </pc:sldLayoutChg>
        <pc:sldLayoutChg chg="del">
          <pc:chgData name="Patrick El-Azem" userId="e9a1393194618efd" providerId="LiveId" clId="{0E83E319-DD06-42C9-950A-41FC9BC8C8A8}" dt="2018-05-15T16:30:12.665" v="5756" actId="2696"/>
          <pc:sldLayoutMkLst>
            <pc:docMk/>
            <pc:sldMasterMk cId="1533487484" sldId="2147484279"/>
            <pc:sldLayoutMk cId="441935851" sldId="2147484295"/>
          </pc:sldLayoutMkLst>
        </pc:sldLayoutChg>
        <pc:sldLayoutChg chg="del">
          <pc:chgData name="Patrick El-Azem" userId="e9a1393194618efd" providerId="LiveId" clId="{0E83E319-DD06-42C9-950A-41FC9BC8C8A8}" dt="2018-05-15T16:30:12.696" v="5757" actId="2696"/>
          <pc:sldLayoutMkLst>
            <pc:docMk/>
            <pc:sldMasterMk cId="1533487484" sldId="2147484279"/>
            <pc:sldLayoutMk cId="4018019168" sldId="2147484296"/>
          </pc:sldLayoutMkLst>
        </pc:sldLayoutChg>
        <pc:sldLayoutChg chg="del">
          <pc:chgData name="Patrick El-Azem" userId="e9a1393194618efd" providerId="LiveId" clId="{0E83E319-DD06-42C9-950A-41FC9BC8C8A8}" dt="2018-05-15T16:30:12.728" v="5758" actId="2696"/>
          <pc:sldLayoutMkLst>
            <pc:docMk/>
            <pc:sldMasterMk cId="1533487484" sldId="2147484279"/>
            <pc:sldLayoutMk cId="3993696839" sldId="2147484297"/>
          </pc:sldLayoutMkLst>
        </pc:sldLayoutChg>
        <pc:sldLayoutChg chg="del">
          <pc:chgData name="Patrick El-Azem" userId="e9a1393194618efd" providerId="LiveId" clId="{0E83E319-DD06-42C9-950A-41FC9BC8C8A8}" dt="2018-05-15T16:30:12.759" v="5759" actId="2696"/>
          <pc:sldLayoutMkLst>
            <pc:docMk/>
            <pc:sldMasterMk cId="1533487484" sldId="2147484279"/>
            <pc:sldLayoutMk cId="2841697305" sldId="2147484298"/>
          </pc:sldLayoutMkLst>
        </pc:sldLayoutChg>
        <pc:sldLayoutChg chg="del">
          <pc:chgData name="Patrick El-Azem" userId="e9a1393194618efd" providerId="LiveId" clId="{0E83E319-DD06-42C9-950A-41FC9BC8C8A8}" dt="2018-05-15T16:30:12.790" v="5760" actId="2696"/>
          <pc:sldLayoutMkLst>
            <pc:docMk/>
            <pc:sldMasterMk cId="1533487484" sldId="2147484279"/>
            <pc:sldLayoutMk cId="2177675512" sldId="2147484299"/>
          </pc:sldLayoutMkLst>
        </pc:sldLayoutChg>
        <pc:sldLayoutChg chg="del">
          <pc:chgData name="Patrick El-Azem" userId="e9a1393194618efd" providerId="LiveId" clId="{0E83E319-DD06-42C9-950A-41FC9BC8C8A8}" dt="2018-05-15T16:30:12.821" v="5761" actId="2696"/>
          <pc:sldLayoutMkLst>
            <pc:docMk/>
            <pc:sldMasterMk cId="1533487484" sldId="2147484279"/>
            <pc:sldLayoutMk cId="3602828709" sldId="2147484300"/>
          </pc:sldLayoutMkLst>
        </pc:sldLayoutChg>
        <pc:sldLayoutChg chg="del">
          <pc:chgData name="Patrick El-Azem" userId="e9a1393194618efd" providerId="LiveId" clId="{0E83E319-DD06-42C9-950A-41FC9BC8C8A8}" dt="2018-05-15T16:30:12.852" v="5762" actId="2696"/>
          <pc:sldLayoutMkLst>
            <pc:docMk/>
            <pc:sldMasterMk cId="1533487484" sldId="2147484279"/>
            <pc:sldLayoutMk cId="1030332042" sldId="2147484301"/>
          </pc:sldLayoutMkLst>
        </pc:sldLayoutChg>
        <pc:sldLayoutChg chg="del">
          <pc:chgData name="Patrick El-Azem" userId="e9a1393194618efd" providerId="LiveId" clId="{0E83E319-DD06-42C9-950A-41FC9BC8C8A8}" dt="2018-05-15T16:30:12.899" v="5763" actId="2696"/>
          <pc:sldLayoutMkLst>
            <pc:docMk/>
            <pc:sldMasterMk cId="1533487484" sldId="2147484279"/>
            <pc:sldLayoutMk cId="3753608813" sldId="2147484302"/>
          </pc:sldLayoutMkLst>
        </pc:sldLayoutChg>
        <pc:sldLayoutChg chg="del">
          <pc:chgData name="Patrick El-Azem" userId="e9a1393194618efd" providerId="LiveId" clId="{0E83E319-DD06-42C9-950A-41FC9BC8C8A8}" dt="2018-05-15T16:30:12.931" v="5764" actId="2696"/>
          <pc:sldLayoutMkLst>
            <pc:docMk/>
            <pc:sldMasterMk cId="1533487484" sldId="2147484279"/>
            <pc:sldLayoutMk cId="2857905339" sldId="2147484303"/>
          </pc:sldLayoutMkLst>
        </pc:sldLayoutChg>
        <pc:sldLayoutChg chg="del">
          <pc:chgData name="Patrick El-Azem" userId="e9a1393194618efd" providerId="LiveId" clId="{0E83E319-DD06-42C9-950A-41FC9BC8C8A8}" dt="2018-05-15T16:30:12.962" v="5765" actId="2696"/>
          <pc:sldLayoutMkLst>
            <pc:docMk/>
            <pc:sldMasterMk cId="1533487484" sldId="2147484279"/>
            <pc:sldLayoutMk cId="3972310707" sldId="2147484304"/>
          </pc:sldLayoutMkLst>
        </pc:sldLayoutChg>
        <pc:sldLayoutChg chg="del">
          <pc:chgData name="Patrick El-Azem" userId="e9a1393194618efd" providerId="LiveId" clId="{0E83E319-DD06-42C9-950A-41FC9BC8C8A8}" dt="2018-05-15T16:30:12.993" v="5766" actId="2696"/>
          <pc:sldLayoutMkLst>
            <pc:docMk/>
            <pc:sldMasterMk cId="1533487484" sldId="2147484279"/>
            <pc:sldLayoutMk cId="3762544523" sldId="2147484305"/>
          </pc:sldLayoutMkLst>
        </pc:sldLayoutChg>
        <pc:sldLayoutChg chg="del">
          <pc:chgData name="Patrick El-Azem" userId="e9a1393194618efd" providerId="LiveId" clId="{0E83E319-DD06-42C9-950A-41FC9BC8C8A8}" dt="2018-05-15T16:30:13.040" v="5767" actId="2696"/>
          <pc:sldLayoutMkLst>
            <pc:docMk/>
            <pc:sldMasterMk cId="1533487484" sldId="2147484279"/>
            <pc:sldLayoutMk cId="639975521" sldId="2147484306"/>
          </pc:sldLayoutMkLst>
        </pc:sldLayoutChg>
        <pc:sldLayoutChg chg="del">
          <pc:chgData name="Patrick El-Azem" userId="e9a1393194618efd" providerId="LiveId" clId="{0E83E319-DD06-42C9-950A-41FC9BC8C8A8}" dt="2018-05-15T16:30:13.071" v="5768" actId="2696"/>
          <pc:sldLayoutMkLst>
            <pc:docMk/>
            <pc:sldMasterMk cId="1533487484" sldId="2147484279"/>
            <pc:sldLayoutMk cId="281354367" sldId="2147484307"/>
          </pc:sldLayoutMkLst>
        </pc:sldLayoutChg>
        <pc:sldLayoutChg chg="del">
          <pc:chgData name="Patrick El-Azem" userId="e9a1393194618efd" providerId="LiveId" clId="{0E83E319-DD06-42C9-950A-41FC9BC8C8A8}" dt="2018-05-15T16:30:13.102" v="5769" actId="2696"/>
          <pc:sldLayoutMkLst>
            <pc:docMk/>
            <pc:sldMasterMk cId="1533487484" sldId="2147484279"/>
            <pc:sldLayoutMk cId="4256138113" sldId="2147484308"/>
          </pc:sldLayoutMkLst>
        </pc:sldLayoutChg>
      </pc:sldMasterChg>
      <pc:sldMasterChg chg="del delSldLayout">
        <pc:chgData name="Patrick El-Azem" userId="e9a1393194618efd" providerId="LiveId" clId="{0E83E319-DD06-42C9-950A-41FC9BC8C8A8}" dt="2018-05-15T16:30:20.043" v="5794" actId="2696"/>
        <pc:sldMasterMkLst>
          <pc:docMk/>
          <pc:sldMasterMk cId="3275851032" sldId="2147484311"/>
        </pc:sldMasterMkLst>
        <pc:sldLayoutChg chg="del">
          <pc:chgData name="Patrick El-Azem" userId="e9a1393194618efd" providerId="LiveId" clId="{0E83E319-DD06-42C9-950A-41FC9BC8C8A8}" dt="2018-05-15T16:30:19.418" v="5771" actId="2696"/>
          <pc:sldLayoutMkLst>
            <pc:docMk/>
            <pc:sldMasterMk cId="3275851032" sldId="2147484311"/>
            <pc:sldLayoutMk cId="252602432" sldId="2147484312"/>
          </pc:sldLayoutMkLst>
        </pc:sldLayoutChg>
        <pc:sldLayoutChg chg="del">
          <pc:chgData name="Patrick El-Azem" userId="e9a1393194618efd" providerId="LiveId" clId="{0E83E319-DD06-42C9-950A-41FC9BC8C8A8}" dt="2018-05-15T16:30:19.434" v="5772" actId="2696"/>
          <pc:sldLayoutMkLst>
            <pc:docMk/>
            <pc:sldMasterMk cId="3275851032" sldId="2147484311"/>
            <pc:sldLayoutMk cId="4120376793" sldId="2147484313"/>
          </pc:sldLayoutMkLst>
        </pc:sldLayoutChg>
        <pc:sldLayoutChg chg="del">
          <pc:chgData name="Patrick El-Azem" userId="e9a1393194618efd" providerId="LiveId" clId="{0E83E319-DD06-42C9-950A-41FC9BC8C8A8}" dt="2018-05-15T16:30:19.465" v="5773" actId="2696"/>
          <pc:sldLayoutMkLst>
            <pc:docMk/>
            <pc:sldMasterMk cId="3275851032" sldId="2147484311"/>
            <pc:sldLayoutMk cId="2957566634" sldId="2147484314"/>
          </pc:sldLayoutMkLst>
        </pc:sldLayoutChg>
        <pc:sldLayoutChg chg="del">
          <pc:chgData name="Patrick El-Azem" userId="e9a1393194618efd" providerId="LiveId" clId="{0E83E319-DD06-42C9-950A-41FC9BC8C8A8}" dt="2018-05-15T16:30:19.496" v="5774" actId="2696"/>
          <pc:sldLayoutMkLst>
            <pc:docMk/>
            <pc:sldMasterMk cId="3275851032" sldId="2147484311"/>
            <pc:sldLayoutMk cId="2821886485" sldId="2147484315"/>
          </pc:sldLayoutMkLst>
        </pc:sldLayoutChg>
        <pc:sldLayoutChg chg="del">
          <pc:chgData name="Patrick El-Azem" userId="e9a1393194618efd" providerId="LiveId" clId="{0E83E319-DD06-42C9-950A-41FC9BC8C8A8}" dt="2018-05-15T16:30:19.528" v="5775" actId="2696"/>
          <pc:sldLayoutMkLst>
            <pc:docMk/>
            <pc:sldMasterMk cId="3275851032" sldId="2147484311"/>
            <pc:sldLayoutMk cId="7537321" sldId="2147484316"/>
          </pc:sldLayoutMkLst>
        </pc:sldLayoutChg>
        <pc:sldLayoutChg chg="del">
          <pc:chgData name="Patrick El-Azem" userId="e9a1393194618efd" providerId="LiveId" clId="{0E83E319-DD06-42C9-950A-41FC9BC8C8A8}" dt="2018-05-15T16:30:19.559" v="5776" actId="2696"/>
          <pc:sldLayoutMkLst>
            <pc:docMk/>
            <pc:sldMasterMk cId="3275851032" sldId="2147484311"/>
            <pc:sldLayoutMk cId="1786910752" sldId="2147484317"/>
          </pc:sldLayoutMkLst>
        </pc:sldLayoutChg>
        <pc:sldLayoutChg chg="del">
          <pc:chgData name="Patrick El-Azem" userId="e9a1393194618efd" providerId="LiveId" clId="{0E83E319-DD06-42C9-950A-41FC9BC8C8A8}" dt="2018-05-15T16:30:19.575" v="5777" actId="2696"/>
          <pc:sldLayoutMkLst>
            <pc:docMk/>
            <pc:sldMasterMk cId="3275851032" sldId="2147484311"/>
            <pc:sldLayoutMk cId="896208133" sldId="2147484318"/>
          </pc:sldLayoutMkLst>
        </pc:sldLayoutChg>
        <pc:sldLayoutChg chg="del">
          <pc:chgData name="Patrick El-Azem" userId="e9a1393194618efd" providerId="LiveId" clId="{0E83E319-DD06-42C9-950A-41FC9BC8C8A8}" dt="2018-05-15T16:30:19.606" v="5778" actId="2696"/>
          <pc:sldLayoutMkLst>
            <pc:docMk/>
            <pc:sldMasterMk cId="3275851032" sldId="2147484311"/>
            <pc:sldLayoutMk cId="1378110726" sldId="2147484319"/>
          </pc:sldLayoutMkLst>
        </pc:sldLayoutChg>
        <pc:sldLayoutChg chg="del">
          <pc:chgData name="Patrick El-Azem" userId="e9a1393194618efd" providerId="LiveId" clId="{0E83E319-DD06-42C9-950A-41FC9BC8C8A8}" dt="2018-05-15T16:30:19.637" v="5779" actId="2696"/>
          <pc:sldLayoutMkLst>
            <pc:docMk/>
            <pc:sldMasterMk cId="3275851032" sldId="2147484311"/>
            <pc:sldLayoutMk cId="1247032093" sldId="2147484320"/>
          </pc:sldLayoutMkLst>
        </pc:sldLayoutChg>
        <pc:sldLayoutChg chg="del">
          <pc:chgData name="Patrick El-Azem" userId="e9a1393194618efd" providerId="LiveId" clId="{0E83E319-DD06-42C9-950A-41FC9BC8C8A8}" dt="2018-05-15T16:30:19.668" v="5780" actId="2696"/>
          <pc:sldLayoutMkLst>
            <pc:docMk/>
            <pc:sldMasterMk cId="3275851032" sldId="2147484311"/>
            <pc:sldLayoutMk cId="2618044325" sldId="2147484321"/>
          </pc:sldLayoutMkLst>
        </pc:sldLayoutChg>
        <pc:sldLayoutChg chg="del">
          <pc:chgData name="Patrick El-Azem" userId="e9a1393194618efd" providerId="LiveId" clId="{0E83E319-DD06-42C9-950A-41FC9BC8C8A8}" dt="2018-05-15T16:30:19.700" v="5781" actId="2696"/>
          <pc:sldLayoutMkLst>
            <pc:docMk/>
            <pc:sldMasterMk cId="3275851032" sldId="2147484311"/>
            <pc:sldLayoutMk cId="127124682" sldId="2147484322"/>
          </pc:sldLayoutMkLst>
        </pc:sldLayoutChg>
        <pc:sldLayoutChg chg="del">
          <pc:chgData name="Patrick El-Azem" userId="e9a1393194618efd" providerId="LiveId" clId="{0E83E319-DD06-42C9-950A-41FC9BC8C8A8}" dt="2018-05-15T16:30:19.731" v="5782" actId="2696"/>
          <pc:sldLayoutMkLst>
            <pc:docMk/>
            <pc:sldMasterMk cId="3275851032" sldId="2147484311"/>
            <pc:sldLayoutMk cId="3494964431" sldId="2147484323"/>
          </pc:sldLayoutMkLst>
        </pc:sldLayoutChg>
        <pc:sldLayoutChg chg="del">
          <pc:chgData name="Patrick El-Azem" userId="e9a1393194618efd" providerId="LiveId" clId="{0E83E319-DD06-42C9-950A-41FC9BC8C8A8}" dt="2018-05-15T16:30:19.746" v="5783" actId="2696"/>
          <pc:sldLayoutMkLst>
            <pc:docMk/>
            <pc:sldMasterMk cId="3275851032" sldId="2147484311"/>
            <pc:sldLayoutMk cId="107434703" sldId="2147484324"/>
          </pc:sldLayoutMkLst>
        </pc:sldLayoutChg>
        <pc:sldLayoutChg chg="del">
          <pc:chgData name="Patrick El-Azem" userId="e9a1393194618efd" providerId="LiveId" clId="{0E83E319-DD06-42C9-950A-41FC9BC8C8A8}" dt="2018-05-15T16:30:19.778" v="5784" actId="2696"/>
          <pc:sldLayoutMkLst>
            <pc:docMk/>
            <pc:sldMasterMk cId="3275851032" sldId="2147484311"/>
            <pc:sldLayoutMk cId="1896128263" sldId="2147484325"/>
          </pc:sldLayoutMkLst>
        </pc:sldLayoutChg>
        <pc:sldLayoutChg chg="del">
          <pc:chgData name="Patrick El-Azem" userId="e9a1393194618efd" providerId="LiveId" clId="{0E83E319-DD06-42C9-950A-41FC9BC8C8A8}" dt="2018-05-15T16:30:19.809" v="5785" actId="2696"/>
          <pc:sldLayoutMkLst>
            <pc:docMk/>
            <pc:sldMasterMk cId="3275851032" sldId="2147484311"/>
            <pc:sldLayoutMk cId="3323873390" sldId="2147484326"/>
          </pc:sldLayoutMkLst>
        </pc:sldLayoutChg>
        <pc:sldLayoutChg chg="del">
          <pc:chgData name="Patrick El-Azem" userId="e9a1393194618efd" providerId="LiveId" clId="{0E83E319-DD06-42C9-950A-41FC9BC8C8A8}" dt="2018-05-15T16:30:19.840" v="5786" actId="2696"/>
          <pc:sldLayoutMkLst>
            <pc:docMk/>
            <pc:sldMasterMk cId="3275851032" sldId="2147484311"/>
            <pc:sldLayoutMk cId="1468031580" sldId="2147484327"/>
          </pc:sldLayoutMkLst>
        </pc:sldLayoutChg>
        <pc:sldLayoutChg chg="del">
          <pc:chgData name="Patrick El-Azem" userId="e9a1393194618efd" providerId="LiveId" clId="{0E83E319-DD06-42C9-950A-41FC9BC8C8A8}" dt="2018-05-15T16:30:19.856" v="5787" actId="2696"/>
          <pc:sldLayoutMkLst>
            <pc:docMk/>
            <pc:sldMasterMk cId="3275851032" sldId="2147484311"/>
            <pc:sldLayoutMk cId="2521288441" sldId="2147484328"/>
          </pc:sldLayoutMkLst>
        </pc:sldLayoutChg>
        <pc:sldLayoutChg chg="del">
          <pc:chgData name="Patrick El-Azem" userId="e9a1393194618efd" providerId="LiveId" clId="{0E83E319-DD06-42C9-950A-41FC9BC8C8A8}" dt="2018-05-15T16:30:19.887" v="5788" actId="2696"/>
          <pc:sldLayoutMkLst>
            <pc:docMk/>
            <pc:sldMasterMk cId="3275851032" sldId="2147484311"/>
            <pc:sldLayoutMk cId="2075345210" sldId="2147484329"/>
          </pc:sldLayoutMkLst>
        </pc:sldLayoutChg>
        <pc:sldLayoutChg chg="del">
          <pc:chgData name="Patrick El-Azem" userId="e9a1393194618efd" providerId="LiveId" clId="{0E83E319-DD06-42C9-950A-41FC9BC8C8A8}" dt="2018-05-15T16:30:19.903" v="5789" actId="2696"/>
          <pc:sldLayoutMkLst>
            <pc:docMk/>
            <pc:sldMasterMk cId="3275851032" sldId="2147484311"/>
            <pc:sldLayoutMk cId="3551802068" sldId="2147484330"/>
          </pc:sldLayoutMkLst>
        </pc:sldLayoutChg>
        <pc:sldLayoutChg chg="del">
          <pc:chgData name="Patrick El-Azem" userId="e9a1393194618efd" providerId="LiveId" clId="{0E83E319-DD06-42C9-950A-41FC9BC8C8A8}" dt="2018-05-15T16:30:19.934" v="5790" actId="2696"/>
          <pc:sldLayoutMkLst>
            <pc:docMk/>
            <pc:sldMasterMk cId="3275851032" sldId="2147484311"/>
            <pc:sldLayoutMk cId="2066177354" sldId="2147484331"/>
          </pc:sldLayoutMkLst>
        </pc:sldLayoutChg>
        <pc:sldLayoutChg chg="del">
          <pc:chgData name="Patrick El-Azem" userId="e9a1393194618efd" providerId="LiveId" clId="{0E83E319-DD06-42C9-950A-41FC9BC8C8A8}" dt="2018-05-15T16:30:19.965" v="5791" actId="2696"/>
          <pc:sldLayoutMkLst>
            <pc:docMk/>
            <pc:sldMasterMk cId="3275851032" sldId="2147484311"/>
            <pc:sldLayoutMk cId="3642655564" sldId="2147484332"/>
          </pc:sldLayoutMkLst>
        </pc:sldLayoutChg>
        <pc:sldLayoutChg chg="del">
          <pc:chgData name="Patrick El-Azem" userId="e9a1393194618efd" providerId="LiveId" clId="{0E83E319-DD06-42C9-950A-41FC9BC8C8A8}" dt="2018-05-15T16:30:19.996" v="5792" actId="2696"/>
          <pc:sldLayoutMkLst>
            <pc:docMk/>
            <pc:sldMasterMk cId="3275851032" sldId="2147484311"/>
            <pc:sldLayoutMk cId="1055176944" sldId="2147484333"/>
          </pc:sldLayoutMkLst>
        </pc:sldLayoutChg>
        <pc:sldLayoutChg chg="del">
          <pc:chgData name="Patrick El-Azem" userId="e9a1393194618efd" providerId="LiveId" clId="{0E83E319-DD06-42C9-950A-41FC9BC8C8A8}" dt="2018-05-15T16:30:20.012" v="5793" actId="2696"/>
          <pc:sldLayoutMkLst>
            <pc:docMk/>
            <pc:sldMasterMk cId="3275851032" sldId="2147484311"/>
            <pc:sldLayoutMk cId="1676054871" sldId="2147484334"/>
          </pc:sldLayoutMkLst>
        </pc:sldLayoutChg>
      </pc:sldMasterChg>
      <pc:sldMasterChg chg="del delSldLayout">
        <pc:chgData name="Patrick El-Azem" userId="e9a1393194618efd" providerId="LiveId" clId="{0E83E319-DD06-42C9-950A-41FC9BC8C8A8}" dt="2018-05-15T16:30:25.134" v="5820" actId="2696"/>
        <pc:sldMasterMkLst>
          <pc:docMk/>
          <pc:sldMasterMk cId="3100523357" sldId="2147484335"/>
        </pc:sldMasterMkLst>
        <pc:sldLayoutChg chg="del">
          <pc:chgData name="Patrick El-Azem" userId="e9a1393194618efd" providerId="LiveId" clId="{0E83E319-DD06-42C9-950A-41FC9BC8C8A8}" dt="2018-05-15T16:30:24.228" v="5795" actId="2696"/>
          <pc:sldLayoutMkLst>
            <pc:docMk/>
            <pc:sldMasterMk cId="3100523357" sldId="2147484335"/>
            <pc:sldLayoutMk cId="3200394471" sldId="2147484336"/>
          </pc:sldLayoutMkLst>
        </pc:sldLayoutChg>
        <pc:sldLayoutChg chg="del">
          <pc:chgData name="Patrick El-Azem" userId="e9a1393194618efd" providerId="LiveId" clId="{0E83E319-DD06-42C9-950A-41FC9BC8C8A8}" dt="2018-05-15T16:30:24.259" v="5796" actId="2696"/>
          <pc:sldLayoutMkLst>
            <pc:docMk/>
            <pc:sldMasterMk cId="3100523357" sldId="2147484335"/>
            <pc:sldLayoutMk cId="1858152161" sldId="2147484337"/>
          </pc:sldLayoutMkLst>
        </pc:sldLayoutChg>
        <pc:sldLayoutChg chg="del">
          <pc:chgData name="Patrick El-Azem" userId="e9a1393194618efd" providerId="LiveId" clId="{0E83E319-DD06-42C9-950A-41FC9BC8C8A8}" dt="2018-05-15T16:30:24.290" v="5797" actId="2696"/>
          <pc:sldLayoutMkLst>
            <pc:docMk/>
            <pc:sldMasterMk cId="3100523357" sldId="2147484335"/>
            <pc:sldLayoutMk cId="676931575" sldId="2147484338"/>
          </pc:sldLayoutMkLst>
        </pc:sldLayoutChg>
        <pc:sldLayoutChg chg="del">
          <pc:chgData name="Patrick El-Azem" userId="e9a1393194618efd" providerId="LiveId" clId="{0E83E319-DD06-42C9-950A-41FC9BC8C8A8}" dt="2018-05-15T16:30:24.322" v="5798" actId="2696"/>
          <pc:sldLayoutMkLst>
            <pc:docMk/>
            <pc:sldMasterMk cId="3100523357" sldId="2147484335"/>
            <pc:sldLayoutMk cId="1123305286" sldId="2147484339"/>
          </pc:sldLayoutMkLst>
        </pc:sldLayoutChg>
        <pc:sldLayoutChg chg="del">
          <pc:chgData name="Patrick El-Azem" userId="e9a1393194618efd" providerId="LiveId" clId="{0E83E319-DD06-42C9-950A-41FC9BC8C8A8}" dt="2018-05-15T16:30:24.368" v="5799" actId="2696"/>
          <pc:sldLayoutMkLst>
            <pc:docMk/>
            <pc:sldMasterMk cId="3100523357" sldId="2147484335"/>
            <pc:sldLayoutMk cId="169622958" sldId="2147484340"/>
          </pc:sldLayoutMkLst>
        </pc:sldLayoutChg>
        <pc:sldLayoutChg chg="del">
          <pc:chgData name="Patrick El-Azem" userId="e9a1393194618efd" providerId="LiveId" clId="{0E83E319-DD06-42C9-950A-41FC9BC8C8A8}" dt="2018-05-15T16:30:24.400" v="5800" actId="2696"/>
          <pc:sldLayoutMkLst>
            <pc:docMk/>
            <pc:sldMasterMk cId="3100523357" sldId="2147484335"/>
            <pc:sldLayoutMk cId="3229770909" sldId="2147484341"/>
          </pc:sldLayoutMkLst>
        </pc:sldLayoutChg>
        <pc:sldLayoutChg chg="del">
          <pc:chgData name="Patrick El-Azem" userId="e9a1393194618efd" providerId="LiveId" clId="{0E83E319-DD06-42C9-950A-41FC9BC8C8A8}" dt="2018-05-15T16:30:24.431" v="5801" actId="2696"/>
          <pc:sldLayoutMkLst>
            <pc:docMk/>
            <pc:sldMasterMk cId="3100523357" sldId="2147484335"/>
            <pc:sldLayoutMk cId="2002787567" sldId="2147484342"/>
          </pc:sldLayoutMkLst>
        </pc:sldLayoutChg>
        <pc:sldLayoutChg chg="del">
          <pc:chgData name="Patrick El-Azem" userId="e9a1393194618efd" providerId="LiveId" clId="{0E83E319-DD06-42C9-950A-41FC9BC8C8A8}" dt="2018-05-15T16:30:24.478" v="5802" actId="2696"/>
          <pc:sldLayoutMkLst>
            <pc:docMk/>
            <pc:sldMasterMk cId="3100523357" sldId="2147484335"/>
            <pc:sldLayoutMk cId="2110364792" sldId="2147484343"/>
          </pc:sldLayoutMkLst>
        </pc:sldLayoutChg>
        <pc:sldLayoutChg chg="del">
          <pc:chgData name="Patrick El-Azem" userId="e9a1393194618efd" providerId="LiveId" clId="{0E83E319-DD06-42C9-950A-41FC9BC8C8A8}" dt="2018-05-15T16:30:24.525" v="5803" actId="2696"/>
          <pc:sldLayoutMkLst>
            <pc:docMk/>
            <pc:sldMasterMk cId="3100523357" sldId="2147484335"/>
            <pc:sldLayoutMk cId="3543750022" sldId="2147484344"/>
          </pc:sldLayoutMkLst>
        </pc:sldLayoutChg>
        <pc:sldLayoutChg chg="del">
          <pc:chgData name="Patrick El-Azem" userId="e9a1393194618efd" providerId="LiveId" clId="{0E83E319-DD06-42C9-950A-41FC9BC8C8A8}" dt="2018-05-15T16:30:24.556" v="5804" actId="2696"/>
          <pc:sldLayoutMkLst>
            <pc:docMk/>
            <pc:sldMasterMk cId="3100523357" sldId="2147484335"/>
            <pc:sldLayoutMk cId="3566261576" sldId="2147484345"/>
          </pc:sldLayoutMkLst>
        </pc:sldLayoutChg>
        <pc:sldLayoutChg chg="del">
          <pc:chgData name="Patrick El-Azem" userId="e9a1393194618efd" providerId="LiveId" clId="{0E83E319-DD06-42C9-950A-41FC9BC8C8A8}" dt="2018-05-15T16:30:24.587" v="5805" actId="2696"/>
          <pc:sldLayoutMkLst>
            <pc:docMk/>
            <pc:sldMasterMk cId="3100523357" sldId="2147484335"/>
            <pc:sldLayoutMk cId="1277443973" sldId="2147484346"/>
          </pc:sldLayoutMkLst>
        </pc:sldLayoutChg>
        <pc:sldLayoutChg chg="del">
          <pc:chgData name="Patrick El-Azem" userId="e9a1393194618efd" providerId="LiveId" clId="{0E83E319-DD06-42C9-950A-41FC9BC8C8A8}" dt="2018-05-15T16:30:24.634" v="5806" actId="2696"/>
          <pc:sldLayoutMkLst>
            <pc:docMk/>
            <pc:sldMasterMk cId="3100523357" sldId="2147484335"/>
            <pc:sldLayoutMk cId="1871028386" sldId="2147484347"/>
          </pc:sldLayoutMkLst>
        </pc:sldLayoutChg>
        <pc:sldLayoutChg chg="del">
          <pc:chgData name="Patrick El-Azem" userId="e9a1393194618efd" providerId="LiveId" clId="{0E83E319-DD06-42C9-950A-41FC9BC8C8A8}" dt="2018-05-15T16:30:24.665" v="5807" actId="2696"/>
          <pc:sldLayoutMkLst>
            <pc:docMk/>
            <pc:sldMasterMk cId="3100523357" sldId="2147484335"/>
            <pc:sldLayoutMk cId="2922587565" sldId="2147484348"/>
          </pc:sldLayoutMkLst>
        </pc:sldLayoutChg>
        <pc:sldLayoutChg chg="del">
          <pc:chgData name="Patrick El-Azem" userId="e9a1393194618efd" providerId="LiveId" clId="{0E83E319-DD06-42C9-950A-41FC9BC8C8A8}" dt="2018-05-15T16:30:24.712" v="5808" actId="2696"/>
          <pc:sldLayoutMkLst>
            <pc:docMk/>
            <pc:sldMasterMk cId="3100523357" sldId="2147484335"/>
            <pc:sldLayoutMk cId="13638463" sldId="2147484349"/>
          </pc:sldLayoutMkLst>
        </pc:sldLayoutChg>
        <pc:sldLayoutChg chg="del">
          <pc:chgData name="Patrick El-Azem" userId="e9a1393194618efd" providerId="LiveId" clId="{0E83E319-DD06-42C9-950A-41FC9BC8C8A8}" dt="2018-05-15T16:30:24.743" v="5809" actId="2696"/>
          <pc:sldLayoutMkLst>
            <pc:docMk/>
            <pc:sldMasterMk cId="3100523357" sldId="2147484335"/>
            <pc:sldLayoutMk cId="96392100" sldId="2147484350"/>
          </pc:sldLayoutMkLst>
        </pc:sldLayoutChg>
        <pc:sldLayoutChg chg="del">
          <pc:chgData name="Patrick El-Azem" userId="e9a1393194618efd" providerId="LiveId" clId="{0E83E319-DD06-42C9-950A-41FC9BC8C8A8}" dt="2018-05-15T16:30:24.790" v="5810" actId="2696"/>
          <pc:sldLayoutMkLst>
            <pc:docMk/>
            <pc:sldMasterMk cId="3100523357" sldId="2147484335"/>
            <pc:sldLayoutMk cId="2451745297" sldId="2147484351"/>
          </pc:sldLayoutMkLst>
        </pc:sldLayoutChg>
        <pc:sldLayoutChg chg="del">
          <pc:chgData name="Patrick El-Azem" userId="e9a1393194618efd" providerId="LiveId" clId="{0E83E319-DD06-42C9-950A-41FC9BC8C8A8}" dt="2018-05-15T16:30:24.821" v="5811" actId="2696"/>
          <pc:sldLayoutMkLst>
            <pc:docMk/>
            <pc:sldMasterMk cId="3100523357" sldId="2147484335"/>
            <pc:sldLayoutMk cId="2061901074" sldId="2147484352"/>
          </pc:sldLayoutMkLst>
        </pc:sldLayoutChg>
        <pc:sldLayoutChg chg="del">
          <pc:chgData name="Patrick El-Azem" userId="e9a1393194618efd" providerId="LiveId" clId="{0E83E319-DD06-42C9-950A-41FC9BC8C8A8}" dt="2018-05-15T16:30:24.868" v="5812" actId="2696"/>
          <pc:sldLayoutMkLst>
            <pc:docMk/>
            <pc:sldMasterMk cId="3100523357" sldId="2147484335"/>
            <pc:sldLayoutMk cId="1880808594" sldId="2147484353"/>
          </pc:sldLayoutMkLst>
        </pc:sldLayoutChg>
        <pc:sldLayoutChg chg="del">
          <pc:chgData name="Patrick El-Azem" userId="e9a1393194618efd" providerId="LiveId" clId="{0E83E319-DD06-42C9-950A-41FC9BC8C8A8}" dt="2018-05-15T16:30:24.900" v="5813" actId="2696"/>
          <pc:sldLayoutMkLst>
            <pc:docMk/>
            <pc:sldMasterMk cId="3100523357" sldId="2147484335"/>
            <pc:sldLayoutMk cId="3094952757" sldId="2147484354"/>
          </pc:sldLayoutMkLst>
        </pc:sldLayoutChg>
        <pc:sldLayoutChg chg="del">
          <pc:chgData name="Patrick El-Azem" userId="e9a1393194618efd" providerId="LiveId" clId="{0E83E319-DD06-42C9-950A-41FC9BC8C8A8}" dt="2018-05-15T16:30:24.931" v="5814" actId="2696"/>
          <pc:sldLayoutMkLst>
            <pc:docMk/>
            <pc:sldMasterMk cId="3100523357" sldId="2147484335"/>
            <pc:sldLayoutMk cId="2056048769" sldId="2147484355"/>
          </pc:sldLayoutMkLst>
        </pc:sldLayoutChg>
        <pc:sldLayoutChg chg="del">
          <pc:chgData name="Patrick El-Azem" userId="e9a1393194618efd" providerId="LiveId" clId="{0E83E319-DD06-42C9-950A-41FC9BC8C8A8}" dt="2018-05-15T16:30:24.978" v="5815" actId="2696"/>
          <pc:sldLayoutMkLst>
            <pc:docMk/>
            <pc:sldMasterMk cId="3100523357" sldId="2147484335"/>
            <pc:sldLayoutMk cId="395786358" sldId="2147484356"/>
          </pc:sldLayoutMkLst>
        </pc:sldLayoutChg>
        <pc:sldLayoutChg chg="del">
          <pc:chgData name="Patrick El-Azem" userId="e9a1393194618efd" providerId="LiveId" clId="{0E83E319-DD06-42C9-950A-41FC9BC8C8A8}" dt="2018-05-15T16:30:25.009" v="5816" actId="2696"/>
          <pc:sldLayoutMkLst>
            <pc:docMk/>
            <pc:sldMasterMk cId="3100523357" sldId="2147484335"/>
            <pc:sldLayoutMk cId="3673477417" sldId="2147484357"/>
          </pc:sldLayoutMkLst>
        </pc:sldLayoutChg>
        <pc:sldLayoutChg chg="del">
          <pc:chgData name="Patrick El-Azem" userId="e9a1393194618efd" providerId="LiveId" clId="{0E83E319-DD06-42C9-950A-41FC9BC8C8A8}" dt="2018-05-15T16:30:25.040" v="5817" actId="2696"/>
          <pc:sldLayoutMkLst>
            <pc:docMk/>
            <pc:sldMasterMk cId="3100523357" sldId="2147484335"/>
            <pc:sldLayoutMk cId="3649077562" sldId="2147484358"/>
          </pc:sldLayoutMkLst>
        </pc:sldLayoutChg>
        <pc:sldLayoutChg chg="del">
          <pc:chgData name="Patrick El-Azem" userId="e9a1393194618efd" providerId="LiveId" clId="{0E83E319-DD06-42C9-950A-41FC9BC8C8A8}" dt="2018-05-15T16:30:25.071" v="5818" actId="2696"/>
          <pc:sldLayoutMkLst>
            <pc:docMk/>
            <pc:sldMasterMk cId="3100523357" sldId="2147484335"/>
            <pc:sldLayoutMk cId="3459895281" sldId="2147484359"/>
          </pc:sldLayoutMkLst>
        </pc:sldLayoutChg>
        <pc:sldLayoutChg chg="del">
          <pc:chgData name="Patrick El-Azem" userId="e9a1393194618efd" providerId="LiveId" clId="{0E83E319-DD06-42C9-950A-41FC9BC8C8A8}" dt="2018-05-15T16:30:25.103" v="5819" actId="2696"/>
          <pc:sldLayoutMkLst>
            <pc:docMk/>
            <pc:sldMasterMk cId="3100523357" sldId="2147484335"/>
            <pc:sldLayoutMk cId="1643701853" sldId="2147484360"/>
          </pc:sldLayoutMkLst>
        </pc:sldLayoutChg>
      </pc:sldMasterChg>
      <pc:sldMasterChg chg="del delSldLayout">
        <pc:chgData name="Patrick El-Azem" userId="e9a1393194618efd" providerId="LiveId" clId="{0E83E319-DD06-42C9-950A-41FC9BC8C8A8}" dt="2018-05-15T16:30:29.840" v="5842" actId="2696"/>
        <pc:sldMasterMkLst>
          <pc:docMk/>
          <pc:sldMasterMk cId="628891405" sldId="2147484389"/>
        </pc:sldMasterMkLst>
        <pc:sldLayoutChg chg="del">
          <pc:chgData name="Patrick El-Azem" userId="e9a1393194618efd" providerId="LiveId" clId="{0E83E319-DD06-42C9-950A-41FC9BC8C8A8}" dt="2018-05-15T16:30:29.137" v="5821" actId="2696"/>
          <pc:sldLayoutMkLst>
            <pc:docMk/>
            <pc:sldMasterMk cId="628891405" sldId="2147484389"/>
            <pc:sldLayoutMk cId="4211070739" sldId="2147484390"/>
          </pc:sldLayoutMkLst>
        </pc:sldLayoutChg>
        <pc:sldLayoutChg chg="del">
          <pc:chgData name="Patrick El-Azem" userId="e9a1393194618efd" providerId="LiveId" clId="{0E83E319-DD06-42C9-950A-41FC9BC8C8A8}" dt="2018-05-15T16:30:29.169" v="5822" actId="2696"/>
          <pc:sldLayoutMkLst>
            <pc:docMk/>
            <pc:sldMasterMk cId="628891405" sldId="2147484389"/>
            <pc:sldLayoutMk cId="490488013" sldId="2147484391"/>
          </pc:sldLayoutMkLst>
        </pc:sldLayoutChg>
        <pc:sldLayoutChg chg="del">
          <pc:chgData name="Patrick El-Azem" userId="e9a1393194618efd" providerId="LiveId" clId="{0E83E319-DD06-42C9-950A-41FC9BC8C8A8}" dt="2018-05-15T16:30:29.200" v="5823" actId="2696"/>
          <pc:sldLayoutMkLst>
            <pc:docMk/>
            <pc:sldMasterMk cId="628891405" sldId="2147484389"/>
            <pc:sldLayoutMk cId="4041174033" sldId="2147484392"/>
          </pc:sldLayoutMkLst>
        </pc:sldLayoutChg>
        <pc:sldLayoutChg chg="del">
          <pc:chgData name="Patrick El-Azem" userId="e9a1393194618efd" providerId="LiveId" clId="{0E83E319-DD06-42C9-950A-41FC9BC8C8A8}" dt="2018-05-15T16:30:29.231" v="5824" actId="2696"/>
          <pc:sldLayoutMkLst>
            <pc:docMk/>
            <pc:sldMasterMk cId="628891405" sldId="2147484389"/>
            <pc:sldLayoutMk cId="1779325685" sldId="2147484393"/>
          </pc:sldLayoutMkLst>
        </pc:sldLayoutChg>
        <pc:sldLayoutChg chg="del">
          <pc:chgData name="Patrick El-Azem" userId="e9a1393194618efd" providerId="LiveId" clId="{0E83E319-DD06-42C9-950A-41FC9BC8C8A8}" dt="2018-05-15T16:30:29.247" v="5825" actId="2696"/>
          <pc:sldLayoutMkLst>
            <pc:docMk/>
            <pc:sldMasterMk cId="628891405" sldId="2147484389"/>
            <pc:sldLayoutMk cId="509278269" sldId="2147484394"/>
          </pc:sldLayoutMkLst>
        </pc:sldLayoutChg>
        <pc:sldLayoutChg chg="del">
          <pc:chgData name="Patrick El-Azem" userId="e9a1393194618efd" providerId="LiveId" clId="{0E83E319-DD06-42C9-950A-41FC9BC8C8A8}" dt="2018-05-15T16:30:29.278" v="5826" actId="2696"/>
          <pc:sldLayoutMkLst>
            <pc:docMk/>
            <pc:sldMasterMk cId="628891405" sldId="2147484389"/>
            <pc:sldLayoutMk cId="2750405825" sldId="2147484395"/>
          </pc:sldLayoutMkLst>
        </pc:sldLayoutChg>
        <pc:sldLayoutChg chg="del">
          <pc:chgData name="Patrick El-Azem" userId="e9a1393194618efd" providerId="LiveId" clId="{0E83E319-DD06-42C9-950A-41FC9BC8C8A8}" dt="2018-05-15T16:30:29.309" v="5827" actId="2696"/>
          <pc:sldLayoutMkLst>
            <pc:docMk/>
            <pc:sldMasterMk cId="628891405" sldId="2147484389"/>
            <pc:sldLayoutMk cId="2266502668" sldId="2147484396"/>
          </pc:sldLayoutMkLst>
        </pc:sldLayoutChg>
        <pc:sldLayoutChg chg="del">
          <pc:chgData name="Patrick El-Azem" userId="e9a1393194618efd" providerId="LiveId" clId="{0E83E319-DD06-42C9-950A-41FC9BC8C8A8}" dt="2018-05-15T16:30:29.340" v="5828" actId="2696"/>
          <pc:sldLayoutMkLst>
            <pc:docMk/>
            <pc:sldMasterMk cId="628891405" sldId="2147484389"/>
            <pc:sldLayoutMk cId="886545488" sldId="2147484397"/>
          </pc:sldLayoutMkLst>
        </pc:sldLayoutChg>
        <pc:sldLayoutChg chg="del">
          <pc:chgData name="Patrick El-Azem" userId="e9a1393194618efd" providerId="LiveId" clId="{0E83E319-DD06-42C9-950A-41FC9BC8C8A8}" dt="2018-05-15T16:30:29.372" v="5829" actId="2696"/>
          <pc:sldLayoutMkLst>
            <pc:docMk/>
            <pc:sldMasterMk cId="628891405" sldId="2147484389"/>
            <pc:sldLayoutMk cId="4185514054" sldId="2147484398"/>
          </pc:sldLayoutMkLst>
        </pc:sldLayoutChg>
        <pc:sldLayoutChg chg="del">
          <pc:chgData name="Patrick El-Azem" userId="e9a1393194618efd" providerId="LiveId" clId="{0E83E319-DD06-42C9-950A-41FC9BC8C8A8}" dt="2018-05-15T16:30:29.403" v="5830" actId="2696"/>
          <pc:sldLayoutMkLst>
            <pc:docMk/>
            <pc:sldMasterMk cId="628891405" sldId="2147484389"/>
            <pc:sldLayoutMk cId="3573630714" sldId="2147484399"/>
          </pc:sldLayoutMkLst>
        </pc:sldLayoutChg>
        <pc:sldLayoutChg chg="del">
          <pc:chgData name="Patrick El-Azem" userId="e9a1393194618efd" providerId="LiveId" clId="{0E83E319-DD06-42C9-950A-41FC9BC8C8A8}" dt="2018-05-15T16:30:29.434" v="5831" actId="2696"/>
          <pc:sldLayoutMkLst>
            <pc:docMk/>
            <pc:sldMasterMk cId="628891405" sldId="2147484389"/>
            <pc:sldLayoutMk cId="56164204" sldId="2147484400"/>
          </pc:sldLayoutMkLst>
        </pc:sldLayoutChg>
        <pc:sldLayoutChg chg="del">
          <pc:chgData name="Patrick El-Azem" userId="e9a1393194618efd" providerId="LiveId" clId="{0E83E319-DD06-42C9-950A-41FC9BC8C8A8}" dt="2018-05-15T16:30:29.465" v="5832" actId="2696"/>
          <pc:sldLayoutMkLst>
            <pc:docMk/>
            <pc:sldMasterMk cId="628891405" sldId="2147484389"/>
            <pc:sldLayoutMk cId="615910041" sldId="2147484401"/>
          </pc:sldLayoutMkLst>
        </pc:sldLayoutChg>
        <pc:sldLayoutChg chg="del">
          <pc:chgData name="Patrick El-Azem" userId="e9a1393194618efd" providerId="LiveId" clId="{0E83E319-DD06-42C9-950A-41FC9BC8C8A8}" dt="2018-05-15T16:30:29.497" v="5833" actId="2696"/>
          <pc:sldLayoutMkLst>
            <pc:docMk/>
            <pc:sldMasterMk cId="628891405" sldId="2147484389"/>
            <pc:sldLayoutMk cId="295589815" sldId="2147484402"/>
          </pc:sldLayoutMkLst>
        </pc:sldLayoutChg>
        <pc:sldLayoutChg chg="del">
          <pc:chgData name="Patrick El-Azem" userId="e9a1393194618efd" providerId="LiveId" clId="{0E83E319-DD06-42C9-950A-41FC9BC8C8A8}" dt="2018-05-15T16:30:29.528" v="5834" actId="2696"/>
          <pc:sldLayoutMkLst>
            <pc:docMk/>
            <pc:sldMasterMk cId="628891405" sldId="2147484389"/>
            <pc:sldLayoutMk cId="4090690392" sldId="2147484403"/>
          </pc:sldLayoutMkLst>
        </pc:sldLayoutChg>
        <pc:sldLayoutChg chg="del">
          <pc:chgData name="Patrick El-Azem" userId="e9a1393194618efd" providerId="LiveId" clId="{0E83E319-DD06-42C9-950A-41FC9BC8C8A8}" dt="2018-05-15T16:30:29.575" v="5835" actId="2696"/>
          <pc:sldLayoutMkLst>
            <pc:docMk/>
            <pc:sldMasterMk cId="628891405" sldId="2147484389"/>
            <pc:sldLayoutMk cId="564762458" sldId="2147484404"/>
          </pc:sldLayoutMkLst>
        </pc:sldLayoutChg>
        <pc:sldLayoutChg chg="del">
          <pc:chgData name="Patrick El-Azem" userId="e9a1393194618efd" providerId="LiveId" clId="{0E83E319-DD06-42C9-950A-41FC9BC8C8A8}" dt="2018-05-15T16:30:29.606" v="5836" actId="2696"/>
          <pc:sldLayoutMkLst>
            <pc:docMk/>
            <pc:sldMasterMk cId="628891405" sldId="2147484389"/>
            <pc:sldLayoutMk cId="3956899246" sldId="2147484405"/>
          </pc:sldLayoutMkLst>
        </pc:sldLayoutChg>
        <pc:sldLayoutChg chg="del">
          <pc:chgData name="Patrick El-Azem" userId="e9a1393194618efd" providerId="LiveId" clId="{0E83E319-DD06-42C9-950A-41FC9BC8C8A8}" dt="2018-05-15T16:30:29.637" v="5837" actId="2696"/>
          <pc:sldLayoutMkLst>
            <pc:docMk/>
            <pc:sldMasterMk cId="628891405" sldId="2147484389"/>
            <pc:sldLayoutMk cId="720955113" sldId="2147484406"/>
          </pc:sldLayoutMkLst>
        </pc:sldLayoutChg>
        <pc:sldLayoutChg chg="del">
          <pc:chgData name="Patrick El-Azem" userId="e9a1393194618efd" providerId="LiveId" clId="{0E83E319-DD06-42C9-950A-41FC9BC8C8A8}" dt="2018-05-15T16:30:29.684" v="5838" actId="2696"/>
          <pc:sldLayoutMkLst>
            <pc:docMk/>
            <pc:sldMasterMk cId="628891405" sldId="2147484389"/>
            <pc:sldLayoutMk cId="123838819" sldId="2147484407"/>
          </pc:sldLayoutMkLst>
        </pc:sldLayoutChg>
        <pc:sldLayoutChg chg="del">
          <pc:chgData name="Patrick El-Azem" userId="e9a1393194618efd" providerId="LiveId" clId="{0E83E319-DD06-42C9-950A-41FC9BC8C8A8}" dt="2018-05-15T16:30:29.715" v="5839" actId="2696"/>
          <pc:sldLayoutMkLst>
            <pc:docMk/>
            <pc:sldMasterMk cId="628891405" sldId="2147484389"/>
            <pc:sldLayoutMk cId="2598937904" sldId="2147484408"/>
          </pc:sldLayoutMkLst>
        </pc:sldLayoutChg>
        <pc:sldLayoutChg chg="del">
          <pc:chgData name="Patrick El-Azem" userId="e9a1393194618efd" providerId="LiveId" clId="{0E83E319-DD06-42C9-950A-41FC9BC8C8A8}" dt="2018-05-15T16:30:29.747" v="5840" actId="2696"/>
          <pc:sldLayoutMkLst>
            <pc:docMk/>
            <pc:sldMasterMk cId="628891405" sldId="2147484389"/>
            <pc:sldLayoutMk cId="1787496692" sldId="2147484409"/>
          </pc:sldLayoutMkLst>
        </pc:sldLayoutChg>
        <pc:sldLayoutChg chg="del">
          <pc:chgData name="Patrick El-Azem" userId="e9a1393194618efd" providerId="LiveId" clId="{0E83E319-DD06-42C9-950A-41FC9BC8C8A8}" dt="2018-05-15T16:30:29.809" v="5841" actId="2696"/>
          <pc:sldLayoutMkLst>
            <pc:docMk/>
            <pc:sldMasterMk cId="628891405" sldId="2147484389"/>
            <pc:sldLayoutMk cId="3502175244" sldId="2147484410"/>
          </pc:sldLayoutMkLst>
        </pc:sldLayoutChg>
      </pc:sldMasterChg>
      <pc:sldMasterChg chg="del delSldLayout">
        <pc:chgData name="Patrick El-Azem" userId="e9a1393194618efd" providerId="LiveId" clId="{0E83E319-DD06-42C9-950A-41FC9BC8C8A8}" dt="2018-05-15T16:30:35.934" v="5869" actId="2696"/>
        <pc:sldMasterMkLst>
          <pc:docMk/>
          <pc:sldMasterMk cId="433065203" sldId="2147484411"/>
        </pc:sldMasterMkLst>
        <pc:sldLayoutChg chg="del">
          <pc:chgData name="Patrick El-Azem" userId="e9a1393194618efd" providerId="LiveId" clId="{0E83E319-DD06-42C9-950A-41FC9BC8C8A8}" dt="2018-05-15T16:30:35.138" v="5843" actId="2696"/>
          <pc:sldLayoutMkLst>
            <pc:docMk/>
            <pc:sldMasterMk cId="433065203" sldId="2147484411"/>
            <pc:sldLayoutMk cId="398992104" sldId="2147484412"/>
          </pc:sldLayoutMkLst>
        </pc:sldLayoutChg>
        <pc:sldLayoutChg chg="del">
          <pc:chgData name="Patrick El-Azem" userId="e9a1393194618efd" providerId="LiveId" clId="{0E83E319-DD06-42C9-950A-41FC9BC8C8A8}" dt="2018-05-15T16:30:35.169" v="5844" actId="2696"/>
          <pc:sldLayoutMkLst>
            <pc:docMk/>
            <pc:sldMasterMk cId="433065203" sldId="2147484411"/>
            <pc:sldLayoutMk cId="3836803691" sldId="2147484413"/>
          </pc:sldLayoutMkLst>
        </pc:sldLayoutChg>
        <pc:sldLayoutChg chg="del">
          <pc:chgData name="Patrick El-Azem" userId="e9a1393194618efd" providerId="LiveId" clId="{0E83E319-DD06-42C9-950A-41FC9BC8C8A8}" dt="2018-05-15T16:30:35.200" v="5845" actId="2696"/>
          <pc:sldLayoutMkLst>
            <pc:docMk/>
            <pc:sldMasterMk cId="433065203" sldId="2147484411"/>
            <pc:sldLayoutMk cId="2622055644" sldId="2147484414"/>
          </pc:sldLayoutMkLst>
        </pc:sldLayoutChg>
        <pc:sldLayoutChg chg="del">
          <pc:chgData name="Patrick El-Azem" userId="e9a1393194618efd" providerId="LiveId" clId="{0E83E319-DD06-42C9-950A-41FC9BC8C8A8}" dt="2018-05-15T16:30:35.231" v="5846" actId="2696"/>
          <pc:sldLayoutMkLst>
            <pc:docMk/>
            <pc:sldMasterMk cId="433065203" sldId="2147484411"/>
            <pc:sldLayoutMk cId="69877519" sldId="2147484415"/>
          </pc:sldLayoutMkLst>
        </pc:sldLayoutChg>
        <pc:sldLayoutChg chg="del">
          <pc:chgData name="Patrick El-Azem" userId="e9a1393194618efd" providerId="LiveId" clId="{0E83E319-DD06-42C9-950A-41FC9BC8C8A8}" dt="2018-05-15T16:30:35.263" v="5847" actId="2696"/>
          <pc:sldLayoutMkLst>
            <pc:docMk/>
            <pc:sldMasterMk cId="433065203" sldId="2147484411"/>
            <pc:sldLayoutMk cId="3140971164" sldId="2147484416"/>
          </pc:sldLayoutMkLst>
        </pc:sldLayoutChg>
        <pc:sldLayoutChg chg="del">
          <pc:chgData name="Patrick El-Azem" userId="e9a1393194618efd" providerId="LiveId" clId="{0E83E319-DD06-42C9-950A-41FC9BC8C8A8}" dt="2018-05-15T16:30:35.294" v="5848" actId="2696"/>
          <pc:sldLayoutMkLst>
            <pc:docMk/>
            <pc:sldMasterMk cId="433065203" sldId="2147484411"/>
            <pc:sldLayoutMk cId="842502717" sldId="2147484417"/>
          </pc:sldLayoutMkLst>
        </pc:sldLayoutChg>
        <pc:sldLayoutChg chg="del">
          <pc:chgData name="Patrick El-Azem" userId="e9a1393194618efd" providerId="LiveId" clId="{0E83E319-DD06-42C9-950A-41FC9BC8C8A8}" dt="2018-05-15T16:30:35.325" v="5849" actId="2696"/>
          <pc:sldLayoutMkLst>
            <pc:docMk/>
            <pc:sldMasterMk cId="433065203" sldId="2147484411"/>
            <pc:sldLayoutMk cId="2985171930" sldId="2147484418"/>
          </pc:sldLayoutMkLst>
        </pc:sldLayoutChg>
        <pc:sldLayoutChg chg="del">
          <pc:chgData name="Patrick El-Azem" userId="e9a1393194618efd" providerId="LiveId" clId="{0E83E319-DD06-42C9-950A-41FC9BC8C8A8}" dt="2018-05-15T16:30:35.341" v="5850" actId="2696"/>
          <pc:sldLayoutMkLst>
            <pc:docMk/>
            <pc:sldMasterMk cId="433065203" sldId="2147484411"/>
            <pc:sldLayoutMk cId="1490822766" sldId="2147484419"/>
          </pc:sldLayoutMkLst>
        </pc:sldLayoutChg>
        <pc:sldLayoutChg chg="del">
          <pc:chgData name="Patrick El-Azem" userId="e9a1393194618efd" providerId="LiveId" clId="{0E83E319-DD06-42C9-950A-41FC9BC8C8A8}" dt="2018-05-15T16:30:35.372" v="5851" actId="2696"/>
          <pc:sldLayoutMkLst>
            <pc:docMk/>
            <pc:sldMasterMk cId="433065203" sldId="2147484411"/>
            <pc:sldLayoutMk cId="2379568864" sldId="2147484420"/>
          </pc:sldLayoutMkLst>
        </pc:sldLayoutChg>
        <pc:sldLayoutChg chg="del">
          <pc:chgData name="Patrick El-Azem" userId="e9a1393194618efd" providerId="LiveId" clId="{0E83E319-DD06-42C9-950A-41FC9BC8C8A8}" dt="2018-05-15T16:30:35.403" v="5852" actId="2696"/>
          <pc:sldLayoutMkLst>
            <pc:docMk/>
            <pc:sldMasterMk cId="433065203" sldId="2147484411"/>
            <pc:sldLayoutMk cId="1945086717" sldId="2147484421"/>
          </pc:sldLayoutMkLst>
        </pc:sldLayoutChg>
        <pc:sldLayoutChg chg="del">
          <pc:chgData name="Patrick El-Azem" userId="e9a1393194618efd" providerId="LiveId" clId="{0E83E319-DD06-42C9-950A-41FC9BC8C8A8}" dt="2018-05-15T16:30:35.435" v="5853" actId="2696"/>
          <pc:sldLayoutMkLst>
            <pc:docMk/>
            <pc:sldMasterMk cId="433065203" sldId="2147484411"/>
            <pc:sldLayoutMk cId="2750970073" sldId="2147484422"/>
          </pc:sldLayoutMkLst>
        </pc:sldLayoutChg>
        <pc:sldLayoutChg chg="del">
          <pc:chgData name="Patrick El-Azem" userId="e9a1393194618efd" providerId="LiveId" clId="{0E83E319-DD06-42C9-950A-41FC9BC8C8A8}" dt="2018-05-15T16:30:35.466" v="5854" actId="2696"/>
          <pc:sldLayoutMkLst>
            <pc:docMk/>
            <pc:sldMasterMk cId="433065203" sldId="2147484411"/>
            <pc:sldLayoutMk cId="3005976271" sldId="2147484423"/>
          </pc:sldLayoutMkLst>
        </pc:sldLayoutChg>
        <pc:sldLayoutChg chg="del">
          <pc:chgData name="Patrick El-Azem" userId="e9a1393194618efd" providerId="LiveId" clId="{0E83E319-DD06-42C9-950A-41FC9BC8C8A8}" dt="2018-05-15T16:30:35.497" v="5855" actId="2696"/>
          <pc:sldLayoutMkLst>
            <pc:docMk/>
            <pc:sldMasterMk cId="433065203" sldId="2147484411"/>
            <pc:sldLayoutMk cId="1038932943" sldId="2147484424"/>
          </pc:sldLayoutMkLst>
        </pc:sldLayoutChg>
        <pc:sldLayoutChg chg="del">
          <pc:chgData name="Patrick El-Azem" userId="e9a1393194618efd" providerId="LiveId" clId="{0E83E319-DD06-42C9-950A-41FC9BC8C8A8}" dt="2018-05-15T16:30:35.528" v="5856" actId="2696"/>
          <pc:sldLayoutMkLst>
            <pc:docMk/>
            <pc:sldMasterMk cId="433065203" sldId="2147484411"/>
            <pc:sldLayoutMk cId="2793370965" sldId="2147484425"/>
          </pc:sldLayoutMkLst>
        </pc:sldLayoutChg>
        <pc:sldLayoutChg chg="del">
          <pc:chgData name="Patrick El-Azem" userId="e9a1393194618efd" providerId="LiveId" clId="{0E83E319-DD06-42C9-950A-41FC9BC8C8A8}" dt="2018-05-15T16:30:35.559" v="5857" actId="2696"/>
          <pc:sldLayoutMkLst>
            <pc:docMk/>
            <pc:sldMasterMk cId="433065203" sldId="2147484411"/>
            <pc:sldLayoutMk cId="1588361217" sldId="2147484426"/>
          </pc:sldLayoutMkLst>
        </pc:sldLayoutChg>
        <pc:sldLayoutChg chg="del">
          <pc:chgData name="Patrick El-Azem" userId="e9a1393194618efd" providerId="LiveId" clId="{0E83E319-DD06-42C9-950A-41FC9BC8C8A8}" dt="2018-05-15T16:30:35.606" v="5858" actId="2696"/>
          <pc:sldLayoutMkLst>
            <pc:docMk/>
            <pc:sldMasterMk cId="433065203" sldId="2147484411"/>
            <pc:sldLayoutMk cId="3779887849" sldId="2147484427"/>
          </pc:sldLayoutMkLst>
        </pc:sldLayoutChg>
        <pc:sldLayoutChg chg="del">
          <pc:chgData name="Patrick El-Azem" userId="e9a1393194618efd" providerId="LiveId" clId="{0E83E319-DD06-42C9-950A-41FC9BC8C8A8}" dt="2018-05-15T16:30:35.638" v="5859" actId="2696"/>
          <pc:sldLayoutMkLst>
            <pc:docMk/>
            <pc:sldMasterMk cId="433065203" sldId="2147484411"/>
            <pc:sldLayoutMk cId="1806975590" sldId="2147484428"/>
          </pc:sldLayoutMkLst>
        </pc:sldLayoutChg>
        <pc:sldLayoutChg chg="del">
          <pc:chgData name="Patrick El-Azem" userId="e9a1393194618efd" providerId="LiveId" clId="{0E83E319-DD06-42C9-950A-41FC9BC8C8A8}" dt="2018-05-15T16:30:35.669" v="5860" actId="2696"/>
          <pc:sldLayoutMkLst>
            <pc:docMk/>
            <pc:sldMasterMk cId="433065203" sldId="2147484411"/>
            <pc:sldLayoutMk cId="1124150442" sldId="2147484429"/>
          </pc:sldLayoutMkLst>
        </pc:sldLayoutChg>
        <pc:sldLayoutChg chg="del">
          <pc:chgData name="Patrick El-Azem" userId="e9a1393194618efd" providerId="LiveId" clId="{0E83E319-DD06-42C9-950A-41FC9BC8C8A8}" dt="2018-05-15T16:30:35.700" v="5861" actId="2696"/>
          <pc:sldLayoutMkLst>
            <pc:docMk/>
            <pc:sldMasterMk cId="433065203" sldId="2147484411"/>
            <pc:sldLayoutMk cId="371243877" sldId="2147484430"/>
          </pc:sldLayoutMkLst>
        </pc:sldLayoutChg>
        <pc:sldLayoutChg chg="del">
          <pc:chgData name="Patrick El-Azem" userId="e9a1393194618efd" providerId="LiveId" clId="{0E83E319-DD06-42C9-950A-41FC9BC8C8A8}" dt="2018-05-15T16:30:35.731" v="5862" actId="2696"/>
          <pc:sldLayoutMkLst>
            <pc:docMk/>
            <pc:sldMasterMk cId="433065203" sldId="2147484411"/>
            <pc:sldLayoutMk cId="2890800337" sldId="2147484431"/>
          </pc:sldLayoutMkLst>
        </pc:sldLayoutChg>
        <pc:sldLayoutChg chg="del">
          <pc:chgData name="Patrick El-Azem" userId="e9a1393194618efd" providerId="LiveId" clId="{0E83E319-DD06-42C9-950A-41FC9BC8C8A8}" dt="2018-05-15T16:30:35.763" v="5863" actId="2696"/>
          <pc:sldLayoutMkLst>
            <pc:docMk/>
            <pc:sldMasterMk cId="433065203" sldId="2147484411"/>
            <pc:sldLayoutMk cId="3238840882" sldId="2147484432"/>
          </pc:sldLayoutMkLst>
        </pc:sldLayoutChg>
        <pc:sldLayoutChg chg="del">
          <pc:chgData name="Patrick El-Azem" userId="e9a1393194618efd" providerId="LiveId" clId="{0E83E319-DD06-42C9-950A-41FC9BC8C8A8}" dt="2018-05-15T16:30:35.809" v="5864" actId="2696"/>
          <pc:sldLayoutMkLst>
            <pc:docMk/>
            <pc:sldMasterMk cId="433065203" sldId="2147484411"/>
            <pc:sldLayoutMk cId="34246718" sldId="2147484433"/>
          </pc:sldLayoutMkLst>
        </pc:sldLayoutChg>
        <pc:sldLayoutChg chg="del">
          <pc:chgData name="Patrick El-Azem" userId="e9a1393194618efd" providerId="LiveId" clId="{0E83E319-DD06-42C9-950A-41FC9BC8C8A8}" dt="2018-05-15T16:30:35.825" v="5865" actId="2696"/>
          <pc:sldLayoutMkLst>
            <pc:docMk/>
            <pc:sldMasterMk cId="433065203" sldId="2147484411"/>
            <pc:sldLayoutMk cId="2198147746" sldId="2147484434"/>
          </pc:sldLayoutMkLst>
        </pc:sldLayoutChg>
        <pc:sldLayoutChg chg="del">
          <pc:chgData name="Patrick El-Azem" userId="e9a1393194618efd" providerId="LiveId" clId="{0E83E319-DD06-42C9-950A-41FC9BC8C8A8}" dt="2018-05-15T16:30:35.856" v="5866" actId="2696"/>
          <pc:sldLayoutMkLst>
            <pc:docMk/>
            <pc:sldMasterMk cId="433065203" sldId="2147484411"/>
            <pc:sldLayoutMk cId="1546121136" sldId="2147484435"/>
          </pc:sldLayoutMkLst>
        </pc:sldLayoutChg>
        <pc:sldLayoutChg chg="del">
          <pc:chgData name="Patrick El-Azem" userId="e9a1393194618efd" providerId="LiveId" clId="{0E83E319-DD06-42C9-950A-41FC9BC8C8A8}" dt="2018-05-15T16:30:35.888" v="5867" actId="2696"/>
          <pc:sldLayoutMkLst>
            <pc:docMk/>
            <pc:sldMasterMk cId="433065203" sldId="2147484411"/>
            <pc:sldLayoutMk cId="1233851188" sldId="2147484436"/>
          </pc:sldLayoutMkLst>
        </pc:sldLayoutChg>
        <pc:sldLayoutChg chg="del">
          <pc:chgData name="Patrick El-Azem" userId="e9a1393194618efd" providerId="LiveId" clId="{0E83E319-DD06-42C9-950A-41FC9BC8C8A8}" dt="2018-05-15T16:30:35.903" v="5868" actId="2696"/>
          <pc:sldLayoutMkLst>
            <pc:docMk/>
            <pc:sldMasterMk cId="433065203" sldId="2147484411"/>
            <pc:sldLayoutMk cId="3870638461" sldId="2147484437"/>
          </pc:sldLayoutMkLst>
        </pc:sldLayoutChg>
      </pc:sldMasterChg>
      <pc:sldMasterChg chg="del delSldLayout">
        <pc:chgData name="Patrick El-Azem" userId="e9a1393194618efd" providerId="LiveId" clId="{0E83E319-DD06-42C9-950A-41FC9BC8C8A8}" dt="2018-05-15T16:30:40.871" v="5894" actId="2696"/>
        <pc:sldMasterMkLst>
          <pc:docMk/>
          <pc:sldMasterMk cId="436104445" sldId="2147484438"/>
        </pc:sldMasterMkLst>
        <pc:sldLayoutChg chg="del">
          <pc:chgData name="Patrick El-Azem" userId="e9a1393194618efd" providerId="LiveId" clId="{0E83E319-DD06-42C9-950A-41FC9BC8C8A8}" dt="2018-05-15T16:30:40.324" v="5870" actId="2696"/>
          <pc:sldLayoutMkLst>
            <pc:docMk/>
            <pc:sldMasterMk cId="436104445" sldId="2147484438"/>
            <pc:sldLayoutMk cId="3865999867" sldId="2147484439"/>
          </pc:sldLayoutMkLst>
        </pc:sldLayoutChg>
        <pc:sldLayoutChg chg="del">
          <pc:chgData name="Patrick El-Azem" userId="e9a1393194618efd" providerId="LiveId" clId="{0E83E319-DD06-42C9-950A-41FC9BC8C8A8}" dt="2018-05-15T16:30:40.355" v="5871" actId="2696"/>
          <pc:sldLayoutMkLst>
            <pc:docMk/>
            <pc:sldMasterMk cId="436104445" sldId="2147484438"/>
            <pc:sldLayoutMk cId="2867024324" sldId="2147484440"/>
          </pc:sldLayoutMkLst>
        </pc:sldLayoutChg>
        <pc:sldLayoutChg chg="del">
          <pc:chgData name="Patrick El-Azem" userId="e9a1393194618efd" providerId="LiveId" clId="{0E83E319-DD06-42C9-950A-41FC9BC8C8A8}" dt="2018-05-15T16:30:40.371" v="5872" actId="2696"/>
          <pc:sldLayoutMkLst>
            <pc:docMk/>
            <pc:sldMasterMk cId="436104445" sldId="2147484438"/>
            <pc:sldLayoutMk cId="2621437173" sldId="2147484441"/>
          </pc:sldLayoutMkLst>
        </pc:sldLayoutChg>
        <pc:sldLayoutChg chg="del">
          <pc:chgData name="Patrick El-Azem" userId="e9a1393194618efd" providerId="LiveId" clId="{0E83E319-DD06-42C9-950A-41FC9BC8C8A8}" dt="2018-05-15T16:30:40.386" v="5873" actId="2696"/>
          <pc:sldLayoutMkLst>
            <pc:docMk/>
            <pc:sldMasterMk cId="436104445" sldId="2147484438"/>
            <pc:sldLayoutMk cId="2364449181" sldId="2147484442"/>
          </pc:sldLayoutMkLst>
        </pc:sldLayoutChg>
        <pc:sldLayoutChg chg="del">
          <pc:chgData name="Patrick El-Azem" userId="e9a1393194618efd" providerId="LiveId" clId="{0E83E319-DD06-42C9-950A-41FC9BC8C8A8}" dt="2018-05-15T16:30:40.402" v="5874" actId="2696"/>
          <pc:sldLayoutMkLst>
            <pc:docMk/>
            <pc:sldMasterMk cId="436104445" sldId="2147484438"/>
            <pc:sldLayoutMk cId="4148155205" sldId="2147484443"/>
          </pc:sldLayoutMkLst>
        </pc:sldLayoutChg>
        <pc:sldLayoutChg chg="del">
          <pc:chgData name="Patrick El-Azem" userId="e9a1393194618efd" providerId="LiveId" clId="{0E83E319-DD06-42C9-950A-41FC9BC8C8A8}" dt="2018-05-15T16:30:40.433" v="5875" actId="2696"/>
          <pc:sldLayoutMkLst>
            <pc:docMk/>
            <pc:sldMasterMk cId="436104445" sldId="2147484438"/>
            <pc:sldLayoutMk cId="3503770699" sldId="2147484444"/>
          </pc:sldLayoutMkLst>
        </pc:sldLayoutChg>
        <pc:sldLayoutChg chg="del">
          <pc:chgData name="Patrick El-Azem" userId="e9a1393194618efd" providerId="LiveId" clId="{0E83E319-DD06-42C9-950A-41FC9BC8C8A8}" dt="2018-05-15T16:30:40.449" v="5876" actId="2696"/>
          <pc:sldLayoutMkLst>
            <pc:docMk/>
            <pc:sldMasterMk cId="436104445" sldId="2147484438"/>
            <pc:sldLayoutMk cId="2232014352" sldId="2147484445"/>
          </pc:sldLayoutMkLst>
        </pc:sldLayoutChg>
        <pc:sldLayoutChg chg="del">
          <pc:chgData name="Patrick El-Azem" userId="e9a1393194618efd" providerId="LiveId" clId="{0E83E319-DD06-42C9-950A-41FC9BC8C8A8}" dt="2018-05-15T16:30:40.480" v="5877" actId="2696"/>
          <pc:sldLayoutMkLst>
            <pc:docMk/>
            <pc:sldMasterMk cId="436104445" sldId="2147484438"/>
            <pc:sldLayoutMk cId="2232823315" sldId="2147484446"/>
          </pc:sldLayoutMkLst>
        </pc:sldLayoutChg>
        <pc:sldLayoutChg chg="del">
          <pc:chgData name="Patrick El-Azem" userId="e9a1393194618efd" providerId="LiveId" clId="{0E83E319-DD06-42C9-950A-41FC9BC8C8A8}" dt="2018-05-15T16:30:40.496" v="5878" actId="2696"/>
          <pc:sldLayoutMkLst>
            <pc:docMk/>
            <pc:sldMasterMk cId="436104445" sldId="2147484438"/>
            <pc:sldLayoutMk cId="561592164" sldId="2147484447"/>
          </pc:sldLayoutMkLst>
        </pc:sldLayoutChg>
        <pc:sldLayoutChg chg="del">
          <pc:chgData name="Patrick El-Azem" userId="e9a1393194618efd" providerId="LiveId" clId="{0E83E319-DD06-42C9-950A-41FC9BC8C8A8}" dt="2018-05-15T16:30:40.527" v="5879" actId="2696"/>
          <pc:sldLayoutMkLst>
            <pc:docMk/>
            <pc:sldMasterMk cId="436104445" sldId="2147484438"/>
            <pc:sldLayoutMk cId="4193155982" sldId="2147484448"/>
          </pc:sldLayoutMkLst>
        </pc:sldLayoutChg>
        <pc:sldLayoutChg chg="del">
          <pc:chgData name="Patrick El-Azem" userId="e9a1393194618efd" providerId="LiveId" clId="{0E83E319-DD06-42C9-950A-41FC9BC8C8A8}" dt="2018-05-15T16:30:40.543" v="5880" actId="2696"/>
          <pc:sldLayoutMkLst>
            <pc:docMk/>
            <pc:sldMasterMk cId="436104445" sldId="2147484438"/>
            <pc:sldLayoutMk cId="2560562012" sldId="2147484449"/>
          </pc:sldLayoutMkLst>
        </pc:sldLayoutChg>
        <pc:sldLayoutChg chg="del">
          <pc:chgData name="Patrick El-Azem" userId="e9a1393194618efd" providerId="LiveId" clId="{0E83E319-DD06-42C9-950A-41FC9BC8C8A8}" dt="2018-05-15T16:30:40.558" v="5881" actId="2696"/>
          <pc:sldLayoutMkLst>
            <pc:docMk/>
            <pc:sldMasterMk cId="436104445" sldId="2147484438"/>
            <pc:sldLayoutMk cId="842113088" sldId="2147484450"/>
          </pc:sldLayoutMkLst>
        </pc:sldLayoutChg>
        <pc:sldLayoutChg chg="del">
          <pc:chgData name="Patrick El-Azem" userId="e9a1393194618efd" providerId="LiveId" clId="{0E83E319-DD06-42C9-950A-41FC9BC8C8A8}" dt="2018-05-15T16:30:40.590" v="5882" actId="2696"/>
          <pc:sldLayoutMkLst>
            <pc:docMk/>
            <pc:sldMasterMk cId="436104445" sldId="2147484438"/>
            <pc:sldLayoutMk cId="470624687" sldId="2147484451"/>
          </pc:sldLayoutMkLst>
        </pc:sldLayoutChg>
        <pc:sldLayoutChg chg="del">
          <pc:chgData name="Patrick El-Azem" userId="e9a1393194618efd" providerId="LiveId" clId="{0E83E319-DD06-42C9-950A-41FC9BC8C8A8}" dt="2018-05-15T16:30:40.605" v="5883" actId="2696"/>
          <pc:sldLayoutMkLst>
            <pc:docMk/>
            <pc:sldMasterMk cId="436104445" sldId="2147484438"/>
            <pc:sldLayoutMk cId="2319655727" sldId="2147484452"/>
          </pc:sldLayoutMkLst>
        </pc:sldLayoutChg>
        <pc:sldLayoutChg chg="del">
          <pc:chgData name="Patrick El-Azem" userId="e9a1393194618efd" providerId="LiveId" clId="{0E83E319-DD06-42C9-950A-41FC9BC8C8A8}" dt="2018-05-15T16:30:40.636" v="5884" actId="2696"/>
          <pc:sldLayoutMkLst>
            <pc:docMk/>
            <pc:sldMasterMk cId="436104445" sldId="2147484438"/>
            <pc:sldLayoutMk cId="4038980127" sldId="2147484453"/>
          </pc:sldLayoutMkLst>
        </pc:sldLayoutChg>
        <pc:sldLayoutChg chg="del">
          <pc:chgData name="Patrick El-Azem" userId="e9a1393194618efd" providerId="LiveId" clId="{0E83E319-DD06-42C9-950A-41FC9BC8C8A8}" dt="2018-05-15T16:30:40.668" v="5885" actId="2696"/>
          <pc:sldLayoutMkLst>
            <pc:docMk/>
            <pc:sldMasterMk cId="436104445" sldId="2147484438"/>
            <pc:sldLayoutMk cId="1835318077" sldId="2147484454"/>
          </pc:sldLayoutMkLst>
        </pc:sldLayoutChg>
        <pc:sldLayoutChg chg="del">
          <pc:chgData name="Patrick El-Azem" userId="e9a1393194618efd" providerId="LiveId" clId="{0E83E319-DD06-42C9-950A-41FC9BC8C8A8}" dt="2018-05-15T16:30:40.683" v="5886" actId="2696"/>
          <pc:sldLayoutMkLst>
            <pc:docMk/>
            <pc:sldMasterMk cId="436104445" sldId="2147484438"/>
            <pc:sldLayoutMk cId="2847346577" sldId="2147484455"/>
          </pc:sldLayoutMkLst>
        </pc:sldLayoutChg>
        <pc:sldLayoutChg chg="del">
          <pc:chgData name="Patrick El-Azem" userId="e9a1393194618efd" providerId="LiveId" clId="{0E83E319-DD06-42C9-950A-41FC9BC8C8A8}" dt="2018-05-15T16:30:40.715" v="5887" actId="2696"/>
          <pc:sldLayoutMkLst>
            <pc:docMk/>
            <pc:sldMasterMk cId="436104445" sldId="2147484438"/>
            <pc:sldLayoutMk cId="2112785591" sldId="2147484456"/>
          </pc:sldLayoutMkLst>
        </pc:sldLayoutChg>
        <pc:sldLayoutChg chg="del">
          <pc:chgData name="Patrick El-Azem" userId="e9a1393194618efd" providerId="LiveId" clId="{0E83E319-DD06-42C9-950A-41FC9BC8C8A8}" dt="2018-05-15T16:30:40.730" v="5888" actId="2696"/>
          <pc:sldLayoutMkLst>
            <pc:docMk/>
            <pc:sldMasterMk cId="436104445" sldId="2147484438"/>
            <pc:sldLayoutMk cId="70126731" sldId="2147484457"/>
          </pc:sldLayoutMkLst>
        </pc:sldLayoutChg>
        <pc:sldLayoutChg chg="del">
          <pc:chgData name="Patrick El-Azem" userId="e9a1393194618efd" providerId="LiveId" clId="{0E83E319-DD06-42C9-950A-41FC9BC8C8A8}" dt="2018-05-15T16:30:40.746" v="5889" actId="2696"/>
          <pc:sldLayoutMkLst>
            <pc:docMk/>
            <pc:sldMasterMk cId="436104445" sldId="2147484438"/>
            <pc:sldLayoutMk cId="3652348406" sldId="2147484458"/>
          </pc:sldLayoutMkLst>
        </pc:sldLayoutChg>
        <pc:sldLayoutChg chg="del">
          <pc:chgData name="Patrick El-Azem" userId="e9a1393194618efd" providerId="LiveId" clId="{0E83E319-DD06-42C9-950A-41FC9BC8C8A8}" dt="2018-05-15T16:30:40.777" v="5890" actId="2696"/>
          <pc:sldLayoutMkLst>
            <pc:docMk/>
            <pc:sldMasterMk cId="436104445" sldId="2147484438"/>
            <pc:sldLayoutMk cId="2491177903" sldId="2147484459"/>
          </pc:sldLayoutMkLst>
        </pc:sldLayoutChg>
        <pc:sldLayoutChg chg="del">
          <pc:chgData name="Patrick El-Azem" userId="e9a1393194618efd" providerId="LiveId" clId="{0E83E319-DD06-42C9-950A-41FC9BC8C8A8}" dt="2018-05-15T16:30:40.793" v="5891" actId="2696"/>
          <pc:sldLayoutMkLst>
            <pc:docMk/>
            <pc:sldMasterMk cId="436104445" sldId="2147484438"/>
            <pc:sldLayoutMk cId="3462755444" sldId="2147484461"/>
          </pc:sldLayoutMkLst>
        </pc:sldLayoutChg>
        <pc:sldLayoutChg chg="del">
          <pc:chgData name="Patrick El-Azem" userId="e9a1393194618efd" providerId="LiveId" clId="{0E83E319-DD06-42C9-950A-41FC9BC8C8A8}" dt="2018-05-15T16:30:40.808" v="5892" actId="2696"/>
          <pc:sldLayoutMkLst>
            <pc:docMk/>
            <pc:sldMasterMk cId="436104445" sldId="2147484438"/>
            <pc:sldLayoutMk cId="3077244488" sldId="2147484462"/>
          </pc:sldLayoutMkLst>
        </pc:sldLayoutChg>
        <pc:sldLayoutChg chg="del">
          <pc:chgData name="Patrick El-Azem" userId="e9a1393194618efd" providerId="LiveId" clId="{0E83E319-DD06-42C9-950A-41FC9BC8C8A8}" dt="2018-05-15T16:30:40.839" v="5893" actId="2696"/>
          <pc:sldLayoutMkLst>
            <pc:docMk/>
            <pc:sldMasterMk cId="436104445" sldId="2147484438"/>
            <pc:sldLayoutMk cId="1699621823" sldId="2147484463"/>
          </pc:sldLayoutMkLst>
        </pc:sldLayoutChg>
      </pc:sldMasterChg>
      <pc:sldMasterChg chg="del delSldLayout">
        <pc:chgData name="Patrick El-Azem" userId="e9a1393194618efd" providerId="LiveId" clId="{0E83E319-DD06-42C9-950A-41FC9BC8C8A8}" dt="2018-05-15T16:30:45.870" v="5922" actId="2696"/>
        <pc:sldMasterMkLst>
          <pc:docMk/>
          <pc:sldMasterMk cId="3215296225" sldId="2147484476"/>
        </pc:sldMasterMkLst>
        <pc:sldLayoutChg chg="del">
          <pc:chgData name="Patrick El-Azem" userId="e9a1393194618efd" providerId="LiveId" clId="{0E83E319-DD06-42C9-950A-41FC9BC8C8A8}" dt="2018-05-15T16:30:45.167" v="5895" actId="2696"/>
          <pc:sldLayoutMkLst>
            <pc:docMk/>
            <pc:sldMasterMk cId="3215296225" sldId="2147484476"/>
            <pc:sldLayoutMk cId="433647812" sldId="2147484477"/>
          </pc:sldLayoutMkLst>
        </pc:sldLayoutChg>
        <pc:sldLayoutChg chg="del">
          <pc:chgData name="Patrick El-Azem" userId="e9a1393194618efd" providerId="LiveId" clId="{0E83E319-DD06-42C9-950A-41FC9BC8C8A8}" dt="2018-05-15T16:30:45.198" v="5896" actId="2696"/>
          <pc:sldLayoutMkLst>
            <pc:docMk/>
            <pc:sldMasterMk cId="3215296225" sldId="2147484476"/>
            <pc:sldLayoutMk cId="2457654828" sldId="2147484478"/>
          </pc:sldLayoutMkLst>
        </pc:sldLayoutChg>
        <pc:sldLayoutChg chg="del">
          <pc:chgData name="Patrick El-Azem" userId="e9a1393194618efd" providerId="LiveId" clId="{0E83E319-DD06-42C9-950A-41FC9BC8C8A8}" dt="2018-05-15T16:30:45.229" v="5897" actId="2696"/>
          <pc:sldLayoutMkLst>
            <pc:docMk/>
            <pc:sldMasterMk cId="3215296225" sldId="2147484476"/>
            <pc:sldLayoutMk cId="2550551530" sldId="2147484479"/>
          </pc:sldLayoutMkLst>
        </pc:sldLayoutChg>
        <pc:sldLayoutChg chg="del">
          <pc:chgData name="Patrick El-Azem" userId="e9a1393194618efd" providerId="LiveId" clId="{0E83E319-DD06-42C9-950A-41FC9BC8C8A8}" dt="2018-05-15T16:30:45.245" v="5898" actId="2696"/>
          <pc:sldLayoutMkLst>
            <pc:docMk/>
            <pc:sldMasterMk cId="3215296225" sldId="2147484476"/>
            <pc:sldLayoutMk cId="2812383165" sldId="2147484480"/>
          </pc:sldLayoutMkLst>
        </pc:sldLayoutChg>
        <pc:sldLayoutChg chg="del">
          <pc:chgData name="Patrick El-Azem" userId="e9a1393194618efd" providerId="LiveId" clId="{0E83E319-DD06-42C9-950A-41FC9BC8C8A8}" dt="2018-05-15T16:30:45.276" v="5899" actId="2696"/>
          <pc:sldLayoutMkLst>
            <pc:docMk/>
            <pc:sldMasterMk cId="3215296225" sldId="2147484476"/>
            <pc:sldLayoutMk cId="1128482498" sldId="2147484481"/>
          </pc:sldLayoutMkLst>
        </pc:sldLayoutChg>
        <pc:sldLayoutChg chg="del">
          <pc:chgData name="Patrick El-Azem" userId="e9a1393194618efd" providerId="LiveId" clId="{0E83E319-DD06-42C9-950A-41FC9BC8C8A8}" dt="2018-05-15T16:30:45.307" v="5900" actId="2696"/>
          <pc:sldLayoutMkLst>
            <pc:docMk/>
            <pc:sldMasterMk cId="3215296225" sldId="2147484476"/>
            <pc:sldLayoutMk cId="4020596506" sldId="2147484482"/>
          </pc:sldLayoutMkLst>
        </pc:sldLayoutChg>
        <pc:sldLayoutChg chg="del">
          <pc:chgData name="Patrick El-Azem" userId="e9a1393194618efd" providerId="LiveId" clId="{0E83E319-DD06-42C9-950A-41FC9BC8C8A8}" dt="2018-05-15T16:30:45.323" v="5901" actId="2696"/>
          <pc:sldLayoutMkLst>
            <pc:docMk/>
            <pc:sldMasterMk cId="3215296225" sldId="2147484476"/>
            <pc:sldLayoutMk cId="2569799172" sldId="2147484483"/>
          </pc:sldLayoutMkLst>
        </pc:sldLayoutChg>
        <pc:sldLayoutChg chg="del">
          <pc:chgData name="Patrick El-Azem" userId="e9a1393194618efd" providerId="LiveId" clId="{0E83E319-DD06-42C9-950A-41FC9BC8C8A8}" dt="2018-05-15T16:30:45.354" v="5902" actId="2696"/>
          <pc:sldLayoutMkLst>
            <pc:docMk/>
            <pc:sldMasterMk cId="3215296225" sldId="2147484476"/>
            <pc:sldLayoutMk cId="1015679593" sldId="2147484484"/>
          </pc:sldLayoutMkLst>
        </pc:sldLayoutChg>
        <pc:sldLayoutChg chg="del">
          <pc:chgData name="Patrick El-Azem" userId="e9a1393194618efd" providerId="LiveId" clId="{0E83E319-DD06-42C9-950A-41FC9BC8C8A8}" dt="2018-05-15T16:30:45.385" v="5903" actId="2696"/>
          <pc:sldLayoutMkLst>
            <pc:docMk/>
            <pc:sldMasterMk cId="3215296225" sldId="2147484476"/>
            <pc:sldLayoutMk cId="2958194061" sldId="2147484485"/>
          </pc:sldLayoutMkLst>
        </pc:sldLayoutChg>
        <pc:sldLayoutChg chg="del">
          <pc:chgData name="Patrick El-Azem" userId="e9a1393194618efd" providerId="LiveId" clId="{0E83E319-DD06-42C9-950A-41FC9BC8C8A8}" dt="2018-05-15T16:30:45.417" v="5904" actId="2696"/>
          <pc:sldLayoutMkLst>
            <pc:docMk/>
            <pc:sldMasterMk cId="3215296225" sldId="2147484476"/>
            <pc:sldLayoutMk cId="3590039221" sldId="2147484486"/>
          </pc:sldLayoutMkLst>
        </pc:sldLayoutChg>
        <pc:sldLayoutChg chg="del">
          <pc:chgData name="Patrick El-Azem" userId="e9a1393194618efd" providerId="LiveId" clId="{0E83E319-DD06-42C9-950A-41FC9BC8C8A8}" dt="2018-05-15T16:30:45.448" v="5905" actId="2696"/>
          <pc:sldLayoutMkLst>
            <pc:docMk/>
            <pc:sldMasterMk cId="3215296225" sldId="2147484476"/>
            <pc:sldLayoutMk cId="3592308855" sldId="2147484487"/>
          </pc:sldLayoutMkLst>
        </pc:sldLayoutChg>
        <pc:sldLayoutChg chg="del">
          <pc:chgData name="Patrick El-Azem" userId="e9a1393194618efd" providerId="LiveId" clId="{0E83E319-DD06-42C9-950A-41FC9BC8C8A8}" dt="2018-05-15T16:30:45.463" v="5906" actId="2696"/>
          <pc:sldLayoutMkLst>
            <pc:docMk/>
            <pc:sldMasterMk cId="3215296225" sldId="2147484476"/>
            <pc:sldLayoutMk cId="3655753187" sldId="2147484488"/>
          </pc:sldLayoutMkLst>
        </pc:sldLayoutChg>
        <pc:sldLayoutChg chg="del">
          <pc:chgData name="Patrick El-Azem" userId="e9a1393194618efd" providerId="LiveId" clId="{0E83E319-DD06-42C9-950A-41FC9BC8C8A8}" dt="2018-05-15T16:30:45.495" v="5907" actId="2696"/>
          <pc:sldLayoutMkLst>
            <pc:docMk/>
            <pc:sldMasterMk cId="3215296225" sldId="2147484476"/>
            <pc:sldLayoutMk cId="547426742" sldId="2147484489"/>
          </pc:sldLayoutMkLst>
        </pc:sldLayoutChg>
        <pc:sldLayoutChg chg="del">
          <pc:chgData name="Patrick El-Azem" userId="e9a1393194618efd" providerId="LiveId" clId="{0E83E319-DD06-42C9-950A-41FC9BC8C8A8}" dt="2018-05-15T16:30:45.510" v="5908" actId="2696"/>
          <pc:sldLayoutMkLst>
            <pc:docMk/>
            <pc:sldMasterMk cId="3215296225" sldId="2147484476"/>
            <pc:sldLayoutMk cId="3367436621" sldId="2147484490"/>
          </pc:sldLayoutMkLst>
        </pc:sldLayoutChg>
        <pc:sldLayoutChg chg="del">
          <pc:chgData name="Patrick El-Azem" userId="e9a1393194618efd" providerId="LiveId" clId="{0E83E319-DD06-42C9-950A-41FC9BC8C8A8}" dt="2018-05-15T16:30:45.542" v="5909" actId="2696"/>
          <pc:sldLayoutMkLst>
            <pc:docMk/>
            <pc:sldMasterMk cId="3215296225" sldId="2147484476"/>
            <pc:sldLayoutMk cId="1273440390" sldId="2147484491"/>
          </pc:sldLayoutMkLst>
        </pc:sldLayoutChg>
        <pc:sldLayoutChg chg="del">
          <pc:chgData name="Patrick El-Azem" userId="e9a1393194618efd" providerId="LiveId" clId="{0E83E319-DD06-42C9-950A-41FC9BC8C8A8}" dt="2018-05-15T16:30:45.573" v="5910" actId="2696"/>
          <pc:sldLayoutMkLst>
            <pc:docMk/>
            <pc:sldMasterMk cId="3215296225" sldId="2147484476"/>
            <pc:sldLayoutMk cId="2406174075" sldId="2147484492"/>
          </pc:sldLayoutMkLst>
        </pc:sldLayoutChg>
        <pc:sldLayoutChg chg="del">
          <pc:chgData name="Patrick El-Azem" userId="e9a1393194618efd" providerId="LiveId" clId="{0E83E319-DD06-42C9-950A-41FC9BC8C8A8}" dt="2018-05-15T16:30:45.588" v="5911" actId="2696"/>
          <pc:sldLayoutMkLst>
            <pc:docMk/>
            <pc:sldMasterMk cId="3215296225" sldId="2147484476"/>
            <pc:sldLayoutMk cId="2328783537" sldId="2147484493"/>
          </pc:sldLayoutMkLst>
        </pc:sldLayoutChg>
        <pc:sldLayoutChg chg="del">
          <pc:chgData name="Patrick El-Azem" userId="e9a1393194618efd" providerId="LiveId" clId="{0E83E319-DD06-42C9-950A-41FC9BC8C8A8}" dt="2018-05-15T16:30:45.620" v="5912" actId="2696"/>
          <pc:sldLayoutMkLst>
            <pc:docMk/>
            <pc:sldMasterMk cId="3215296225" sldId="2147484476"/>
            <pc:sldLayoutMk cId="2527591505" sldId="2147484494"/>
          </pc:sldLayoutMkLst>
        </pc:sldLayoutChg>
        <pc:sldLayoutChg chg="del">
          <pc:chgData name="Patrick El-Azem" userId="e9a1393194618efd" providerId="LiveId" clId="{0E83E319-DD06-42C9-950A-41FC9BC8C8A8}" dt="2018-05-15T16:30:45.635" v="5913" actId="2696"/>
          <pc:sldLayoutMkLst>
            <pc:docMk/>
            <pc:sldMasterMk cId="3215296225" sldId="2147484476"/>
            <pc:sldLayoutMk cId="796225972" sldId="2147484495"/>
          </pc:sldLayoutMkLst>
        </pc:sldLayoutChg>
        <pc:sldLayoutChg chg="del">
          <pc:chgData name="Patrick El-Azem" userId="e9a1393194618efd" providerId="LiveId" clId="{0E83E319-DD06-42C9-950A-41FC9BC8C8A8}" dt="2018-05-15T16:30:45.666" v="5914" actId="2696"/>
          <pc:sldLayoutMkLst>
            <pc:docMk/>
            <pc:sldMasterMk cId="3215296225" sldId="2147484476"/>
            <pc:sldLayoutMk cId="2315583871" sldId="2147484496"/>
          </pc:sldLayoutMkLst>
        </pc:sldLayoutChg>
        <pc:sldLayoutChg chg="del">
          <pc:chgData name="Patrick El-Azem" userId="e9a1393194618efd" providerId="LiveId" clId="{0E83E319-DD06-42C9-950A-41FC9BC8C8A8}" dt="2018-05-15T16:30:45.698" v="5915" actId="2696"/>
          <pc:sldLayoutMkLst>
            <pc:docMk/>
            <pc:sldMasterMk cId="3215296225" sldId="2147484476"/>
            <pc:sldLayoutMk cId="822469630" sldId="2147484497"/>
          </pc:sldLayoutMkLst>
        </pc:sldLayoutChg>
        <pc:sldLayoutChg chg="del">
          <pc:chgData name="Patrick El-Azem" userId="e9a1393194618efd" providerId="LiveId" clId="{0E83E319-DD06-42C9-950A-41FC9BC8C8A8}" dt="2018-05-15T16:30:45.713" v="5916" actId="2696"/>
          <pc:sldLayoutMkLst>
            <pc:docMk/>
            <pc:sldMasterMk cId="3215296225" sldId="2147484476"/>
            <pc:sldLayoutMk cId="4050675292" sldId="2147484498"/>
          </pc:sldLayoutMkLst>
        </pc:sldLayoutChg>
        <pc:sldLayoutChg chg="del">
          <pc:chgData name="Patrick El-Azem" userId="e9a1393194618efd" providerId="LiveId" clId="{0E83E319-DD06-42C9-950A-41FC9BC8C8A8}" dt="2018-05-15T16:30:45.745" v="5917" actId="2696"/>
          <pc:sldLayoutMkLst>
            <pc:docMk/>
            <pc:sldMasterMk cId="3215296225" sldId="2147484476"/>
            <pc:sldLayoutMk cId="3392173477" sldId="2147484499"/>
          </pc:sldLayoutMkLst>
        </pc:sldLayoutChg>
        <pc:sldLayoutChg chg="del">
          <pc:chgData name="Patrick El-Azem" userId="e9a1393194618efd" providerId="LiveId" clId="{0E83E319-DD06-42C9-950A-41FC9BC8C8A8}" dt="2018-05-15T16:30:45.760" v="5918" actId="2696"/>
          <pc:sldLayoutMkLst>
            <pc:docMk/>
            <pc:sldMasterMk cId="3215296225" sldId="2147484476"/>
            <pc:sldLayoutMk cId="1568807076" sldId="2147484500"/>
          </pc:sldLayoutMkLst>
        </pc:sldLayoutChg>
        <pc:sldLayoutChg chg="del">
          <pc:chgData name="Patrick El-Azem" userId="e9a1393194618efd" providerId="LiveId" clId="{0E83E319-DD06-42C9-950A-41FC9BC8C8A8}" dt="2018-05-15T16:30:45.791" v="5919" actId="2696"/>
          <pc:sldLayoutMkLst>
            <pc:docMk/>
            <pc:sldMasterMk cId="3215296225" sldId="2147484476"/>
            <pc:sldLayoutMk cId="3970863983" sldId="2147484501"/>
          </pc:sldLayoutMkLst>
        </pc:sldLayoutChg>
        <pc:sldLayoutChg chg="del">
          <pc:chgData name="Patrick El-Azem" userId="e9a1393194618efd" providerId="LiveId" clId="{0E83E319-DD06-42C9-950A-41FC9BC8C8A8}" dt="2018-05-15T16:30:45.823" v="5920" actId="2696"/>
          <pc:sldLayoutMkLst>
            <pc:docMk/>
            <pc:sldMasterMk cId="3215296225" sldId="2147484476"/>
            <pc:sldLayoutMk cId="2091713193" sldId="2147484502"/>
          </pc:sldLayoutMkLst>
        </pc:sldLayoutChg>
        <pc:sldLayoutChg chg="del">
          <pc:chgData name="Patrick El-Azem" userId="e9a1393194618efd" providerId="LiveId" clId="{0E83E319-DD06-42C9-950A-41FC9BC8C8A8}" dt="2018-05-15T16:30:45.838" v="5921" actId="2696"/>
          <pc:sldLayoutMkLst>
            <pc:docMk/>
            <pc:sldMasterMk cId="3215296225" sldId="2147484476"/>
            <pc:sldLayoutMk cId="2292649896" sldId="2147484504"/>
          </pc:sldLayoutMkLst>
        </pc:sldLayoutChg>
      </pc:sldMasterChg>
      <pc:sldMasterChg chg="del delSldLayout">
        <pc:chgData name="Patrick El-Azem" userId="e9a1393194618efd" providerId="LiveId" clId="{0E83E319-DD06-42C9-950A-41FC9BC8C8A8}" dt="2018-05-15T16:31:41.105" v="5962" actId="2696"/>
        <pc:sldMasterMkLst>
          <pc:docMk/>
          <pc:sldMasterMk cId="1995101915" sldId="2147484505"/>
        </pc:sldMasterMkLst>
        <pc:sldLayoutChg chg="del">
          <pc:chgData name="Patrick El-Azem" userId="e9a1393194618efd" providerId="LiveId" clId="{0E83E319-DD06-42C9-950A-41FC9BC8C8A8}" dt="2018-05-15T16:31:40.183" v="5925" actId="2696"/>
          <pc:sldLayoutMkLst>
            <pc:docMk/>
            <pc:sldMasterMk cId="1995101915" sldId="2147484505"/>
            <pc:sldLayoutMk cId="2240712032" sldId="2147484506"/>
          </pc:sldLayoutMkLst>
        </pc:sldLayoutChg>
        <pc:sldLayoutChg chg="del">
          <pc:chgData name="Patrick El-Azem" userId="e9a1393194618efd" providerId="LiveId" clId="{0E83E319-DD06-42C9-950A-41FC9BC8C8A8}" dt="2018-05-15T16:31:40.214" v="5926" actId="2696"/>
          <pc:sldLayoutMkLst>
            <pc:docMk/>
            <pc:sldMasterMk cId="1995101915" sldId="2147484505"/>
            <pc:sldLayoutMk cId="2399637030" sldId="2147484507"/>
          </pc:sldLayoutMkLst>
        </pc:sldLayoutChg>
        <pc:sldLayoutChg chg="del">
          <pc:chgData name="Patrick El-Azem" userId="e9a1393194618efd" providerId="LiveId" clId="{0E83E319-DD06-42C9-950A-41FC9BC8C8A8}" dt="2018-05-15T16:31:40.230" v="5927" actId="2696"/>
          <pc:sldLayoutMkLst>
            <pc:docMk/>
            <pc:sldMasterMk cId="1995101915" sldId="2147484505"/>
            <pc:sldLayoutMk cId="763693575" sldId="2147484508"/>
          </pc:sldLayoutMkLst>
        </pc:sldLayoutChg>
        <pc:sldLayoutChg chg="del">
          <pc:chgData name="Patrick El-Azem" userId="e9a1393194618efd" providerId="LiveId" clId="{0E83E319-DD06-42C9-950A-41FC9BC8C8A8}" dt="2018-05-15T16:31:40.261" v="5928" actId="2696"/>
          <pc:sldLayoutMkLst>
            <pc:docMk/>
            <pc:sldMasterMk cId="1995101915" sldId="2147484505"/>
            <pc:sldLayoutMk cId="1720144207" sldId="2147484509"/>
          </pc:sldLayoutMkLst>
        </pc:sldLayoutChg>
        <pc:sldLayoutChg chg="del">
          <pc:chgData name="Patrick El-Azem" userId="e9a1393194618efd" providerId="LiveId" clId="{0E83E319-DD06-42C9-950A-41FC9BC8C8A8}" dt="2018-05-15T16:31:40.277" v="5929" actId="2696"/>
          <pc:sldLayoutMkLst>
            <pc:docMk/>
            <pc:sldMasterMk cId="1995101915" sldId="2147484505"/>
            <pc:sldLayoutMk cId="2719656312" sldId="2147484510"/>
          </pc:sldLayoutMkLst>
        </pc:sldLayoutChg>
        <pc:sldLayoutChg chg="del">
          <pc:chgData name="Patrick El-Azem" userId="e9a1393194618efd" providerId="LiveId" clId="{0E83E319-DD06-42C9-950A-41FC9BC8C8A8}" dt="2018-05-15T16:31:40.292" v="5930" actId="2696"/>
          <pc:sldLayoutMkLst>
            <pc:docMk/>
            <pc:sldMasterMk cId="1995101915" sldId="2147484505"/>
            <pc:sldLayoutMk cId="1161577916" sldId="2147484511"/>
          </pc:sldLayoutMkLst>
        </pc:sldLayoutChg>
        <pc:sldLayoutChg chg="del">
          <pc:chgData name="Patrick El-Azem" userId="e9a1393194618efd" providerId="LiveId" clId="{0E83E319-DD06-42C9-950A-41FC9BC8C8A8}" dt="2018-05-15T16:31:40.324" v="5931" actId="2696"/>
          <pc:sldLayoutMkLst>
            <pc:docMk/>
            <pc:sldMasterMk cId="1995101915" sldId="2147484505"/>
            <pc:sldLayoutMk cId="2089023896" sldId="2147484512"/>
          </pc:sldLayoutMkLst>
        </pc:sldLayoutChg>
        <pc:sldLayoutChg chg="del">
          <pc:chgData name="Patrick El-Azem" userId="e9a1393194618efd" providerId="LiveId" clId="{0E83E319-DD06-42C9-950A-41FC9BC8C8A8}" dt="2018-05-15T16:31:40.339" v="5932" actId="2696"/>
          <pc:sldLayoutMkLst>
            <pc:docMk/>
            <pc:sldMasterMk cId="1995101915" sldId="2147484505"/>
            <pc:sldLayoutMk cId="130887677" sldId="2147484513"/>
          </pc:sldLayoutMkLst>
        </pc:sldLayoutChg>
        <pc:sldLayoutChg chg="del">
          <pc:chgData name="Patrick El-Azem" userId="e9a1393194618efd" providerId="LiveId" clId="{0E83E319-DD06-42C9-950A-41FC9BC8C8A8}" dt="2018-05-15T16:31:40.370" v="5933" actId="2696"/>
          <pc:sldLayoutMkLst>
            <pc:docMk/>
            <pc:sldMasterMk cId="1995101915" sldId="2147484505"/>
            <pc:sldLayoutMk cId="2629494755" sldId="2147484514"/>
          </pc:sldLayoutMkLst>
        </pc:sldLayoutChg>
        <pc:sldLayoutChg chg="del">
          <pc:chgData name="Patrick El-Azem" userId="e9a1393194618efd" providerId="LiveId" clId="{0E83E319-DD06-42C9-950A-41FC9BC8C8A8}" dt="2018-05-15T16:31:40.402" v="5934" actId="2696"/>
          <pc:sldLayoutMkLst>
            <pc:docMk/>
            <pc:sldMasterMk cId="1995101915" sldId="2147484505"/>
            <pc:sldLayoutMk cId="3242110242" sldId="2147484515"/>
          </pc:sldLayoutMkLst>
        </pc:sldLayoutChg>
        <pc:sldLayoutChg chg="del">
          <pc:chgData name="Patrick El-Azem" userId="e9a1393194618efd" providerId="LiveId" clId="{0E83E319-DD06-42C9-950A-41FC9BC8C8A8}" dt="2018-05-15T16:31:40.417" v="5935" actId="2696"/>
          <pc:sldLayoutMkLst>
            <pc:docMk/>
            <pc:sldMasterMk cId="1995101915" sldId="2147484505"/>
            <pc:sldLayoutMk cId="721476255" sldId="2147484516"/>
          </pc:sldLayoutMkLst>
        </pc:sldLayoutChg>
        <pc:sldLayoutChg chg="del">
          <pc:chgData name="Patrick El-Azem" userId="e9a1393194618efd" providerId="LiveId" clId="{0E83E319-DD06-42C9-950A-41FC9BC8C8A8}" dt="2018-05-15T16:31:40.448" v="5936" actId="2696"/>
          <pc:sldLayoutMkLst>
            <pc:docMk/>
            <pc:sldMasterMk cId="1995101915" sldId="2147484505"/>
            <pc:sldLayoutMk cId="2469995911" sldId="2147484517"/>
          </pc:sldLayoutMkLst>
        </pc:sldLayoutChg>
        <pc:sldLayoutChg chg="del">
          <pc:chgData name="Patrick El-Azem" userId="e9a1393194618efd" providerId="LiveId" clId="{0E83E319-DD06-42C9-950A-41FC9BC8C8A8}" dt="2018-05-15T16:31:40.464" v="5937" actId="2696"/>
          <pc:sldLayoutMkLst>
            <pc:docMk/>
            <pc:sldMasterMk cId="1995101915" sldId="2147484505"/>
            <pc:sldLayoutMk cId="882721506" sldId="2147484518"/>
          </pc:sldLayoutMkLst>
        </pc:sldLayoutChg>
        <pc:sldLayoutChg chg="del">
          <pc:chgData name="Patrick El-Azem" userId="e9a1393194618efd" providerId="LiveId" clId="{0E83E319-DD06-42C9-950A-41FC9BC8C8A8}" dt="2018-05-15T16:31:40.495" v="5938" actId="2696"/>
          <pc:sldLayoutMkLst>
            <pc:docMk/>
            <pc:sldMasterMk cId="1995101915" sldId="2147484505"/>
            <pc:sldLayoutMk cId="345934005" sldId="2147484519"/>
          </pc:sldLayoutMkLst>
        </pc:sldLayoutChg>
        <pc:sldLayoutChg chg="del">
          <pc:chgData name="Patrick El-Azem" userId="e9a1393194618efd" providerId="LiveId" clId="{0E83E319-DD06-42C9-950A-41FC9BC8C8A8}" dt="2018-05-15T16:31:40.511" v="5939" actId="2696"/>
          <pc:sldLayoutMkLst>
            <pc:docMk/>
            <pc:sldMasterMk cId="1995101915" sldId="2147484505"/>
            <pc:sldLayoutMk cId="1343831242" sldId="2147484520"/>
          </pc:sldLayoutMkLst>
        </pc:sldLayoutChg>
        <pc:sldLayoutChg chg="del">
          <pc:chgData name="Patrick El-Azem" userId="e9a1393194618efd" providerId="LiveId" clId="{0E83E319-DD06-42C9-950A-41FC9BC8C8A8}" dt="2018-05-15T16:31:40.542" v="5940" actId="2696"/>
          <pc:sldLayoutMkLst>
            <pc:docMk/>
            <pc:sldMasterMk cId="1995101915" sldId="2147484505"/>
            <pc:sldLayoutMk cId="3366313572" sldId="2147484521"/>
          </pc:sldLayoutMkLst>
        </pc:sldLayoutChg>
        <pc:sldLayoutChg chg="del">
          <pc:chgData name="Patrick El-Azem" userId="e9a1393194618efd" providerId="LiveId" clId="{0E83E319-DD06-42C9-950A-41FC9BC8C8A8}" dt="2018-05-15T16:31:40.558" v="5941" actId="2696"/>
          <pc:sldLayoutMkLst>
            <pc:docMk/>
            <pc:sldMasterMk cId="1995101915" sldId="2147484505"/>
            <pc:sldLayoutMk cId="24820326" sldId="2147484522"/>
          </pc:sldLayoutMkLst>
        </pc:sldLayoutChg>
        <pc:sldLayoutChg chg="del">
          <pc:chgData name="Patrick El-Azem" userId="e9a1393194618efd" providerId="LiveId" clId="{0E83E319-DD06-42C9-950A-41FC9BC8C8A8}" dt="2018-05-15T16:31:40.605" v="5942" actId="2696"/>
          <pc:sldLayoutMkLst>
            <pc:docMk/>
            <pc:sldMasterMk cId="1995101915" sldId="2147484505"/>
            <pc:sldLayoutMk cId="554589756" sldId="2147484523"/>
          </pc:sldLayoutMkLst>
        </pc:sldLayoutChg>
        <pc:sldLayoutChg chg="del">
          <pc:chgData name="Patrick El-Azem" userId="e9a1393194618efd" providerId="LiveId" clId="{0E83E319-DD06-42C9-950A-41FC9BC8C8A8}" dt="2018-05-15T16:31:40.620" v="5943" actId="2696"/>
          <pc:sldLayoutMkLst>
            <pc:docMk/>
            <pc:sldMasterMk cId="1995101915" sldId="2147484505"/>
            <pc:sldLayoutMk cId="1712458685" sldId="2147484524"/>
          </pc:sldLayoutMkLst>
        </pc:sldLayoutChg>
        <pc:sldLayoutChg chg="del">
          <pc:chgData name="Patrick El-Azem" userId="e9a1393194618efd" providerId="LiveId" clId="{0E83E319-DD06-42C9-950A-41FC9BC8C8A8}" dt="2018-05-15T16:31:40.652" v="5944" actId="2696"/>
          <pc:sldLayoutMkLst>
            <pc:docMk/>
            <pc:sldMasterMk cId="1995101915" sldId="2147484505"/>
            <pc:sldLayoutMk cId="2087800618" sldId="2147484525"/>
          </pc:sldLayoutMkLst>
        </pc:sldLayoutChg>
        <pc:sldLayoutChg chg="del">
          <pc:chgData name="Patrick El-Azem" userId="e9a1393194618efd" providerId="LiveId" clId="{0E83E319-DD06-42C9-950A-41FC9BC8C8A8}" dt="2018-05-15T16:31:40.667" v="5945" actId="2696"/>
          <pc:sldLayoutMkLst>
            <pc:docMk/>
            <pc:sldMasterMk cId="1995101915" sldId="2147484505"/>
            <pc:sldLayoutMk cId="4034572880" sldId="2147484526"/>
          </pc:sldLayoutMkLst>
        </pc:sldLayoutChg>
        <pc:sldLayoutChg chg="del">
          <pc:chgData name="Patrick El-Azem" userId="e9a1393194618efd" providerId="LiveId" clId="{0E83E319-DD06-42C9-950A-41FC9BC8C8A8}" dt="2018-05-15T16:31:40.698" v="5946" actId="2696"/>
          <pc:sldLayoutMkLst>
            <pc:docMk/>
            <pc:sldMasterMk cId="1995101915" sldId="2147484505"/>
            <pc:sldLayoutMk cId="801937107" sldId="2147484527"/>
          </pc:sldLayoutMkLst>
        </pc:sldLayoutChg>
        <pc:sldLayoutChg chg="del">
          <pc:chgData name="Patrick El-Azem" userId="e9a1393194618efd" providerId="LiveId" clId="{0E83E319-DD06-42C9-950A-41FC9BC8C8A8}" dt="2018-05-15T16:31:40.730" v="5947" actId="2696"/>
          <pc:sldLayoutMkLst>
            <pc:docMk/>
            <pc:sldMasterMk cId="1995101915" sldId="2147484505"/>
            <pc:sldLayoutMk cId="1982526255" sldId="2147484528"/>
          </pc:sldLayoutMkLst>
        </pc:sldLayoutChg>
        <pc:sldLayoutChg chg="del">
          <pc:chgData name="Patrick El-Azem" userId="e9a1393194618efd" providerId="LiveId" clId="{0E83E319-DD06-42C9-950A-41FC9BC8C8A8}" dt="2018-05-15T16:31:40.745" v="5948" actId="2696"/>
          <pc:sldLayoutMkLst>
            <pc:docMk/>
            <pc:sldMasterMk cId="1995101915" sldId="2147484505"/>
            <pc:sldLayoutMk cId="2150180845" sldId="2147484529"/>
          </pc:sldLayoutMkLst>
        </pc:sldLayoutChg>
        <pc:sldLayoutChg chg="del">
          <pc:chgData name="Patrick El-Azem" userId="e9a1393194618efd" providerId="LiveId" clId="{0E83E319-DD06-42C9-950A-41FC9BC8C8A8}" dt="2018-05-15T16:31:40.777" v="5949" actId="2696"/>
          <pc:sldLayoutMkLst>
            <pc:docMk/>
            <pc:sldMasterMk cId="1995101915" sldId="2147484505"/>
            <pc:sldLayoutMk cId="3544984474" sldId="2147484530"/>
          </pc:sldLayoutMkLst>
        </pc:sldLayoutChg>
        <pc:sldLayoutChg chg="del">
          <pc:chgData name="Patrick El-Azem" userId="e9a1393194618efd" providerId="LiveId" clId="{0E83E319-DD06-42C9-950A-41FC9BC8C8A8}" dt="2018-05-15T16:31:40.808" v="5950" actId="2696"/>
          <pc:sldLayoutMkLst>
            <pc:docMk/>
            <pc:sldMasterMk cId="1995101915" sldId="2147484505"/>
            <pc:sldLayoutMk cId="3870942738" sldId="2147484531"/>
          </pc:sldLayoutMkLst>
        </pc:sldLayoutChg>
        <pc:sldLayoutChg chg="del">
          <pc:chgData name="Patrick El-Azem" userId="e9a1393194618efd" providerId="LiveId" clId="{0E83E319-DD06-42C9-950A-41FC9BC8C8A8}" dt="2018-05-15T16:31:40.823" v="5951" actId="2696"/>
          <pc:sldLayoutMkLst>
            <pc:docMk/>
            <pc:sldMasterMk cId="1995101915" sldId="2147484505"/>
            <pc:sldLayoutMk cId="179897173" sldId="2147484532"/>
          </pc:sldLayoutMkLst>
        </pc:sldLayoutChg>
        <pc:sldLayoutChg chg="del">
          <pc:chgData name="Patrick El-Azem" userId="e9a1393194618efd" providerId="LiveId" clId="{0E83E319-DD06-42C9-950A-41FC9BC8C8A8}" dt="2018-05-15T16:31:40.855" v="5952" actId="2696"/>
          <pc:sldLayoutMkLst>
            <pc:docMk/>
            <pc:sldMasterMk cId="1995101915" sldId="2147484505"/>
            <pc:sldLayoutMk cId="725009399" sldId="2147484533"/>
          </pc:sldLayoutMkLst>
        </pc:sldLayoutChg>
        <pc:sldLayoutChg chg="del">
          <pc:chgData name="Patrick El-Azem" userId="e9a1393194618efd" providerId="LiveId" clId="{0E83E319-DD06-42C9-950A-41FC9BC8C8A8}" dt="2018-05-15T16:31:40.886" v="5953" actId="2696"/>
          <pc:sldLayoutMkLst>
            <pc:docMk/>
            <pc:sldMasterMk cId="1995101915" sldId="2147484505"/>
            <pc:sldLayoutMk cId="2898216591" sldId="2147484534"/>
          </pc:sldLayoutMkLst>
        </pc:sldLayoutChg>
        <pc:sldLayoutChg chg="del">
          <pc:chgData name="Patrick El-Azem" userId="e9a1393194618efd" providerId="LiveId" clId="{0E83E319-DD06-42C9-950A-41FC9BC8C8A8}" dt="2018-05-15T16:31:40.917" v="5954" actId="2696"/>
          <pc:sldLayoutMkLst>
            <pc:docMk/>
            <pc:sldMasterMk cId="1995101915" sldId="2147484505"/>
            <pc:sldLayoutMk cId="67086907" sldId="2147484535"/>
          </pc:sldLayoutMkLst>
        </pc:sldLayoutChg>
        <pc:sldLayoutChg chg="del">
          <pc:chgData name="Patrick El-Azem" userId="e9a1393194618efd" providerId="LiveId" clId="{0E83E319-DD06-42C9-950A-41FC9BC8C8A8}" dt="2018-05-15T16:31:40.933" v="5955" actId="2696"/>
          <pc:sldLayoutMkLst>
            <pc:docMk/>
            <pc:sldMasterMk cId="1995101915" sldId="2147484505"/>
            <pc:sldLayoutMk cId="761861816" sldId="2147484536"/>
          </pc:sldLayoutMkLst>
        </pc:sldLayoutChg>
        <pc:sldLayoutChg chg="del">
          <pc:chgData name="Patrick El-Azem" userId="e9a1393194618efd" providerId="LiveId" clId="{0E83E319-DD06-42C9-950A-41FC9BC8C8A8}" dt="2018-05-15T16:31:40.964" v="5956" actId="2696"/>
          <pc:sldLayoutMkLst>
            <pc:docMk/>
            <pc:sldMasterMk cId="1995101915" sldId="2147484505"/>
            <pc:sldLayoutMk cId="2961265240" sldId="2147484537"/>
          </pc:sldLayoutMkLst>
        </pc:sldLayoutChg>
        <pc:sldLayoutChg chg="del">
          <pc:chgData name="Patrick El-Azem" userId="e9a1393194618efd" providerId="LiveId" clId="{0E83E319-DD06-42C9-950A-41FC9BC8C8A8}" dt="2018-05-15T16:31:40.980" v="5957" actId="2696"/>
          <pc:sldLayoutMkLst>
            <pc:docMk/>
            <pc:sldMasterMk cId="1995101915" sldId="2147484505"/>
            <pc:sldLayoutMk cId="3883176238" sldId="2147484538"/>
          </pc:sldLayoutMkLst>
        </pc:sldLayoutChg>
        <pc:sldLayoutChg chg="del">
          <pc:chgData name="Patrick El-Azem" userId="e9a1393194618efd" providerId="LiveId" clId="{0E83E319-DD06-42C9-950A-41FC9BC8C8A8}" dt="2018-05-15T16:31:41.011" v="5958" actId="2696"/>
          <pc:sldLayoutMkLst>
            <pc:docMk/>
            <pc:sldMasterMk cId="1995101915" sldId="2147484505"/>
            <pc:sldLayoutMk cId="2098684799" sldId="2147484539"/>
          </pc:sldLayoutMkLst>
        </pc:sldLayoutChg>
        <pc:sldLayoutChg chg="del">
          <pc:chgData name="Patrick El-Azem" userId="e9a1393194618efd" providerId="LiveId" clId="{0E83E319-DD06-42C9-950A-41FC9BC8C8A8}" dt="2018-05-15T16:31:41.042" v="5959" actId="2696"/>
          <pc:sldLayoutMkLst>
            <pc:docMk/>
            <pc:sldMasterMk cId="1995101915" sldId="2147484505"/>
            <pc:sldLayoutMk cId="4208342814" sldId="2147484540"/>
          </pc:sldLayoutMkLst>
        </pc:sldLayoutChg>
        <pc:sldLayoutChg chg="del">
          <pc:chgData name="Patrick El-Azem" userId="e9a1393194618efd" providerId="LiveId" clId="{0E83E319-DD06-42C9-950A-41FC9BC8C8A8}" dt="2018-05-15T16:31:41.058" v="5960" actId="2696"/>
          <pc:sldLayoutMkLst>
            <pc:docMk/>
            <pc:sldMasterMk cId="1995101915" sldId="2147484505"/>
            <pc:sldLayoutMk cId="3815527569" sldId="2147484541"/>
          </pc:sldLayoutMkLst>
        </pc:sldLayoutChg>
        <pc:sldLayoutChg chg="del">
          <pc:chgData name="Patrick El-Azem" userId="e9a1393194618efd" providerId="LiveId" clId="{0E83E319-DD06-42C9-950A-41FC9BC8C8A8}" dt="2018-05-15T16:31:41.073" v="5961" actId="2696"/>
          <pc:sldLayoutMkLst>
            <pc:docMk/>
            <pc:sldMasterMk cId="1995101915" sldId="2147484505"/>
            <pc:sldLayoutMk cId="2631115464" sldId="2147484542"/>
          </pc:sldLayoutMkLst>
        </pc:sldLayoutChg>
      </pc:sldMasterChg>
      <pc:sldMasterChg chg="del delSldLayout">
        <pc:chgData name="Patrick El-Azem" userId="e9a1393194618efd" providerId="LiveId" clId="{0E83E319-DD06-42C9-950A-41FC9BC8C8A8}" dt="2018-05-15T16:31:45.275" v="5971" actId="2696"/>
        <pc:sldMasterMkLst>
          <pc:docMk/>
          <pc:sldMasterMk cId="3213270787" sldId="2147484543"/>
        </pc:sldMasterMkLst>
        <pc:sldLayoutChg chg="del">
          <pc:chgData name="Patrick El-Azem" userId="e9a1393194618efd" providerId="LiveId" clId="{0E83E319-DD06-42C9-950A-41FC9BC8C8A8}" dt="2018-05-15T16:31:45.026" v="5963" actId="2696"/>
          <pc:sldLayoutMkLst>
            <pc:docMk/>
            <pc:sldMasterMk cId="3213270787" sldId="2147484543"/>
            <pc:sldLayoutMk cId="1831431960" sldId="2147484544"/>
          </pc:sldLayoutMkLst>
        </pc:sldLayoutChg>
        <pc:sldLayoutChg chg="del">
          <pc:chgData name="Patrick El-Azem" userId="e9a1393194618efd" providerId="LiveId" clId="{0E83E319-DD06-42C9-950A-41FC9BC8C8A8}" dt="2018-05-15T16:31:45.057" v="5964" actId="2696"/>
          <pc:sldLayoutMkLst>
            <pc:docMk/>
            <pc:sldMasterMk cId="3213270787" sldId="2147484543"/>
            <pc:sldLayoutMk cId="3803901969" sldId="2147484545"/>
          </pc:sldLayoutMkLst>
        </pc:sldLayoutChg>
        <pc:sldLayoutChg chg="del">
          <pc:chgData name="Patrick El-Azem" userId="e9a1393194618efd" providerId="LiveId" clId="{0E83E319-DD06-42C9-950A-41FC9BC8C8A8}" dt="2018-05-15T16:31:45.088" v="5965" actId="2696"/>
          <pc:sldLayoutMkLst>
            <pc:docMk/>
            <pc:sldMasterMk cId="3213270787" sldId="2147484543"/>
            <pc:sldLayoutMk cId="754017321" sldId="2147484546"/>
          </pc:sldLayoutMkLst>
        </pc:sldLayoutChg>
        <pc:sldLayoutChg chg="del">
          <pc:chgData name="Patrick El-Azem" userId="e9a1393194618efd" providerId="LiveId" clId="{0E83E319-DD06-42C9-950A-41FC9BC8C8A8}" dt="2018-05-15T16:31:45.119" v="5966" actId="2696"/>
          <pc:sldLayoutMkLst>
            <pc:docMk/>
            <pc:sldMasterMk cId="3213270787" sldId="2147484543"/>
            <pc:sldLayoutMk cId="1231703794" sldId="2147484547"/>
          </pc:sldLayoutMkLst>
        </pc:sldLayoutChg>
        <pc:sldLayoutChg chg="del">
          <pc:chgData name="Patrick El-Azem" userId="e9a1393194618efd" providerId="LiveId" clId="{0E83E319-DD06-42C9-950A-41FC9BC8C8A8}" dt="2018-05-15T16:31:45.135" v="5967" actId="2696"/>
          <pc:sldLayoutMkLst>
            <pc:docMk/>
            <pc:sldMasterMk cId="3213270787" sldId="2147484543"/>
            <pc:sldLayoutMk cId="113002166" sldId="2147484548"/>
          </pc:sldLayoutMkLst>
        </pc:sldLayoutChg>
        <pc:sldLayoutChg chg="del">
          <pc:chgData name="Patrick El-Azem" userId="e9a1393194618efd" providerId="LiveId" clId="{0E83E319-DD06-42C9-950A-41FC9BC8C8A8}" dt="2018-05-15T16:31:45.182" v="5968" actId="2696"/>
          <pc:sldLayoutMkLst>
            <pc:docMk/>
            <pc:sldMasterMk cId="3213270787" sldId="2147484543"/>
            <pc:sldLayoutMk cId="1614256629" sldId="2147484549"/>
          </pc:sldLayoutMkLst>
        </pc:sldLayoutChg>
        <pc:sldLayoutChg chg="del">
          <pc:chgData name="Patrick El-Azem" userId="e9a1393194618efd" providerId="LiveId" clId="{0E83E319-DD06-42C9-950A-41FC9BC8C8A8}" dt="2018-05-15T16:31:45.213" v="5969" actId="2696"/>
          <pc:sldLayoutMkLst>
            <pc:docMk/>
            <pc:sldMasterMk cId="3213270787" sldId="2147484543"/>
            <pc:sldLayoutMk cId="796977779" sldId="2147484551"/>
          </pc:sldLayoutMkLst>
        </pc:sldLayoutChg>
        <pc:sldLayoutChg chg="del">
          <pc:chgData name="Patrick El-Azem" userId="e9a1393194618efd" providerId="LiveId" clId="{0E83E319-DD06-42C9-950A-41FC9BC8C8A8}" dt="2018-05-15T16:31:45.244" v="5970" actId="2696"/>
          <pc:sldLayoutMkLst>
            <pc:docMk/>
            <pc:sldMasterMk cId="3213270787" sldId="2147484543"/>
            <pc:sldLayoutMk cId="3224275052" sldId="2147484552"/>
          </pc:sldLayoutMkLst>
        </pc:sldLayoutChg>
      </pc:sldMasterChg>
      <pc:sldMasterChg chg="del delSldLayout">
        <pc:chgData name="Patrick El-Azem" userId="e9a1393194618efd" providerId="LiveId" clId="{0E83E319-DD06-42C9-950A-41FC9BC8C8A8}" dt="2018-05-15T16:31:50.653" v="5996" actId="2696"/>
        <pc:sldMasterMkLst>
          <pc:docMk/>
          <pc:sldMasterMk cId="2578443133" sldId="2147484553"/>
        </pc:sldMasterMkLst>
        <pc:sldLayoutChg chg="del">
          <pc:chgData name="Patrick El-Azem" userId="e9a1393194618efd" providerId="LiveId" clId="{0E83E319-DD06-42C9-950A-41FC9BC8C8A8}" dt="2018-05-15T16:31:50.216" v="5972" actId="2696"/>
          <pc:sldLayoutMkLst>
            <pc:docMk/>
            <pc:sldMasterMk cId="2578443133" sldId="2147484553"/>
            <pc:sldLayoutMk cId="4015141418" sldId="2147484554"/>
          </pc:sldLayoutMkLst>
        </pc:sldLayoutChg>
        <pc:sldLayoutChg chg="del">
          <pc:chgData name="Patrick El-Azem" userId="e9a1393194618efd" providerId="LiveId" clId="{0E83E319-DD06-42C9-950A-41FC9BC8C8A8}" dt="2018-05-15T16:31:50.231" v="5973" actId="2696"/>
          <pc:sldLayoutMkLst>
            <pc:docMk/>
            <pc:sldMasterMk cId="2578443133" sldId="2147484553"/>
            <pc:sldLayoutMk cId="1483938289" sldId="2147484555"/>
          </pc:sldLayoutMkLst>
        </pc:sldLayoutChg>
        <pc:sldLayoutChg chg="del">
          <pc:chgData name="Patrick El-Azem" userId="e9a1393194618efd" providerId="LiveId" clId="{0E83E319-DD06-42C9-950A-41FC9BC8C8A8}" dt="2018-05-15T16:31:50.263" v="5974" actId="2696"/>
          <pc:sldLayoutMkLst>
            <pc:docMk/>
            <pc:sldMasterMk cId="2578443133" sldId="2147484553"/>
            <pc:sldLayoutMk cId="3502878755" sldId="2147484556"/>
          </pc:sldLayoutMkLst>
        </pc:sldLayoutChg>
        <pc:sldLayoutChg chg="del">
          <pc:chgData name="Patrick El-Azem" userId="e9a1393194618efd" providerId="LiveId" clId="{0E83E319-DD06-42C9-950A-41FC9BC8C8A8}" dt="2018-05-15T16:31:50.263" v="5975" actId="2696"/>
          <pc:sldLayoutMkLst>
            <pc:docMk/>
            <pc:sldMasterMk cId="2578443133" sldId="2147484553"/>
            <pc:sldLayoutMk cId="1061177612" sldId="2147484557"/>
          </pc:sldLayoutMkLst>
        </pc:sldLayoutChg>
        <pc:sldLayoutChg chg="del">
          <pc:chgData name="Patrick El-Azem" userId="e9a1393194618efd" providerId="LiveId" clId="{0E83E319-DD06-42C9-950A-41FC9BC8C8A8}" dt="2018-05-15T16:31:50.294" v="5976" actId="2696"/>
          <pc:sldLayoutMkLst>
            <pc:docMk/>
            <pc:sldMasterMk cId="2578443133" sldId="2147484553"/>
            <pc:sldLayoutMk cId="3768088059" sldId="2147484558"/>
          </pc:sldLayoutMkLst>
        </pc:sldLayoutChg>
        <pc:sldLayoutChg chg="del">
          <pc:chgData name="Patrick El-Azem" userId="e9a1393194618efd" providerId="LiveId" clId="{0E83E319-DD06-42C9-950A-41FC9BC8C8A8}" dt="2018-05-15T16:31:50.310" v="5977" actId="2696"/>
          <pc:sldLayoutMkLst>
            <pc:docMk/>
            <pc:sldMasterMk cId="2578443133" sldId="2147484553"/>
            <pc:sldLayoutMk cId="1061948315" sldId="2147484559"/>
          </pc:sldLayoutMkLst>
        </pc:sldLayoutChg>
        <pc:sldLayoutChg chg="del">
          <pc:chgData name="Patrick El-Azem" userId="e9a1393194618efd" providerId="LiveId" clId="{0E83E319-DD06-42C9-950A-41FC9BC8C8A8}" dt="2018-05-15T16:31:50.325" v="5978" actId="2696"/>
          <pc:sldLayoutMkLst>
            <pc:docMk/>
            <pc:sldMasterMk cId="2578443133" sldId="2147484553"/>
            <pc:sldLayoutMk cId="1555102540" sldId="2147484560"/>
          </pc:sldLayoutMkLst>
        </pc:sldLayoutChg>
        <pc:sldLayoutChg chg="del">
          <pc:chgData name="Patrick El-Azem" userId="e9a1393194618efd" providerId="LiveId" clId="{0E83E319-DD06-42C9-950A-41FC9BC8C8A8}" dt="2018-05-15T16:31:50.341" v="5979" actId="2696"/>
          <pc:sldLayoutMkLst>
            <pc:docMk/>
            <pc:sldMasterMk cId="2578443133" sldId="2147484553"/>
            <pc:sldLayoutMk cId="736853325" sldId="2147484561"/>
          </pc:sldLayoutMkLst>
        </pc:sldLayoutChg>
        <pc:sldLayoutChg chg="del">
          <pc:chgData name="Patrick El-Azem" userId="e9a1393194618efd" providerId="LiveId" clId="{0E83E319-DD06-42C9-950A-41FC9BC8C8A8}" dt="2018-05-15T16:31:50.356" v="5980" actId="2696"/>
          <pc:sldLayoutMkLst>
            <pc:docMk/>
            <pc:sldMasterMk cId="2578443133" sldId="2147484553"/>
            <pc:sldLayoutMk cId="1297447113" sldId="2147484562"/>
          </pc:sldLayoutMkLst>
        </pc:sldLayoutChg>
        <pc:sldLayoutChg chg="del">
          <pc:chgData name="Patrick El-Azem" userId="e9a1393194618efd" providerId="LiveId" clId="{0E83E319-DD06-42C9-950A-41FC9BC8C8A8}" dt="2018-05-15T16:31:50.372" v="5981" actId="2696"/>
          <pc:sldLayoutMkLst>
            <pc:docMk/>
            <pc:sldMasterMk cId="2578443133" sldId="2147484553"/>
            <pc:sldLayoutMk cId="4095652341" sldId="2147484563"/>
          </pc:sldLayoutMkLst>
        </pc:sldLayoutChg>
        <pc:sldLayoutChg chg="del">
          <pc:chgData name="Patrick El-Azem" userId="e9a1393194618efd" providerId="LiveId" clId="{0E83E319-DD06-42C9-950A-41FC9BC8C8A8}" dt="2018-05-15T16:31:50.388" v="5982" actId="2696"/>
          <pc:sldLayoutMkLst>
            <pc:docMk/>
            <pc:sldMasterMk cId="2578443133" sldId="2147484553"/>
            <pc:sldLayoutMk cId="290228552" sldId="2147484564"/>
          </pc:sldLayoutMkLst>
        </pc:sldLayoutChg>
        <pc:sldLayoutChg chg="del">
          <pc:chgData name="Patrick El-Azem" userId="e9a1393194618efd" providerId="LiveId" clId="{0E83E319-DD06-42C9-950A-41FC9BC8C8A8}" dt="2018-05-15T16:31:50.419" v="5983" actId="2696"/>
          <pc:sldLayoutMkLst>
            <pc:docMk/>
            <pc:sldMasterMk cId="2578443133" sldId="2147484553"/>
            <pc:sldLayoutMk cId="1547487049" sldId="2147484565"/>
          </pc:sldLayoutMkLst>
        </pc:sldLayoutChg>
        <pc:sldLayoutChg chg="del">
          <pc:chgData name="Patrick El-Azem" userId="e9a1393194618efd" providerId="LiveId" clId="{0E83E319-DD06-42C9-950A-41FC9BC8C8A8}" dt="2018-05-15T16:31:50.434" v="5984" actId="2696"/>
          <pc:sldLayoutMkLst>
            <pc:docMk/>
            <pc:sldMasterMk cId="2578443133" sldId="2147484553"/>
            <pc:sldLayoutMk cId="3497171371" sldId="2147484566"/>
          </pc:sldLayoutMkLst>
        </pc:sldLayoutChg>
        <pc:sldLayoutChg chg="del">
          <pc:chgData name="Patrick El-Azem" userId="e9a1393194618efd" providerId="LiveId" clId="{0E83E319-DD06-42C9-950A-41FC9BC8C8A8}" dt="2018-05-15T16:31:50.450" v="5985" actId="2696"/>
          <pc:sldLayoutMkLst>
            <pc:docMk/>
            <pc:sldMasterMk cId="2578443133" sldId="2147484553"/>
            <pc:sldLayoutMk cId="2746029836" sldId="2147484567"/>
          </pc:sldLayoutMkLst>
        </pc:sldLayoutChg>
        <pc:sldLayoutChg chg="del">
          <pc:chgData name="Patrick El-Azem" userId="e9a1393194618efd" providerId="LiveId" clId="{0E83E319-DD06-42C9-950A-41FC9BC8C8A8}" dt="2018-05-15T16:31:50.466" v="5986" actId="2696"/>
          <pc:sldLayoutMkLst>
            <pc:docMk/>
            <pc:sldMasterMk cId="2578443133" sldId="2147484553"/>
            <pc:sldLayoutMk cId="2464149109" sldId="2147484568"/>
          </pc:sldLayoutMkLst>
        </pc:sldLayoutChg>
        <pc:sldLayoutChg chg="del">
          <pc:chgData name="Patrick El-Azem" userId="e9a1393194618efd" providerId="LiveId" clId="{0E83E319-DD06-42C9-950A-41FC9BC8C8A8}" dt="2018-05-15T16:31:50.481" v="5987" actId="2696"/>
          <pc:sldLayoutMkLst>
            <pc:docMk/>
            <pc:sldMasterMk cId="2578443133" sldId="2147484553"/>
            <pc:sldLayoutMk cId="2919471020" sldId="2147484569"/>
          </pc:sldLayoutMkLst>
        </pc:sldLayoutChg>
        <pc:sldLayoutChg chg="del">
          <pc:chgData name="Patrick El-Azem" userId="e9a1393194618efd" providerId="LiveId" clId="{0E83E319-DD06-42C9-950A-41FC9BC8C8A8}" dt="2018-05-15T16:31:50.497" v="5988" actId="2696"/>
          <pc:sldLayoutMkLst>
            <pc:docMk/>
            <pc:sldMasterMk cId="2578443133" sldId="2147484553"/>
            <pc:sldLayoutMk cId="460950297" sldId="2147484570"/>
          </pc:sldLayoutMkLst>
        </pc:sldLayoutChg>
        <pc:sldLayoutChg chg="del">
          <pc:chgData name="Patrick El-Azem" userId="e9a1393194618efd" providerId="LiveId" clId="{0E83E319-DD06-42C9-950A-41FC9BC8C8A8}" dt="2018-05-15T16:31:50.513" v="5989" actId="2696"/>
          <pc:sldLayoutMkLst>
            <pc:docMk/>
            <pc:sldMasterMk cId="2578443133" sldId="2147484553"/>
            <pc:sldLayoutMk cId="4158983322" sldId="2147484571"/>
          </pc:sldLayoutMkLst>
        </pc:sldLayoutChg>
        <pc:sldLayoutChg chg="del">
          <pc:chgData name="Patrick El-Azem" userId="e9a1393194618efd" providerId="LiveId" clId="{0E83E319-DD06-42C9-950A-41FC9BC8C8A8}" dt="2018-05-15T16:31:50.528" v="5990" actId="2696"/>
          <pc:sldLayoutMkLst>
            <pc:docMk/>
            <pc:sldMasterMk cId="2578443133" sldId="2147484553"/>
            <pc:sldLayoutMk cId="890787486" sldId="2147484572"/>
          </pc:sldLayoutMkLst>
        </pc:sldLayoutChg>
        <pc:sldLayoutChg chg="del">
          <pc:chgData name="Patrick El-Azem" userId="e9a1393194618efd" providerId="LiveId" clId="{0E83E319-DD06-42C9-950A-41FC9BC8C8A8}" dt="2018-05-15T16:31:50.544" v="5991" actId="2696"/>
          <pc:sldLayoutMkLst>
            <pc:docMk/>
            <pc:sldMasterMk cId="2578443133" sldId="2147484553"/>
            <pc:sldLayoutMk cId="2452166551" sldId="2147484573"/>
          </pc:sldLayoutMkLst>
        </pc:sldLayoutChg>
        <pc:sldLayoutChg chg="del">
          <pc:chgData name="Patrick El-Azem" userId="e9a1393194618efd" providerId="LiveId" clId="{0E83E319-DD06-42C9-950A-41FC9BC8C8A8}" dt="2018-05-15T16:31:50.575" v="5992" actId="2696"/>
          <pc:sldLayoutMkLst>
            <pc:docMk/>
            <pc:sldMasterMk cId="2578443133" sldId="2147484553"/>
            <pc:sldLayoutMk cId="1573641818" sldId="2147484574"/>
          </pc:sldLayoutMkLst>
        </pc:sldLayoutChg>
        <pc:sldLayoutChg chg="del">
          <pc:chgData name="Patrick El-Azem" userId="e9a1393194618efd" providerId="LiveId" clId="{0E83E319-DD06-42C9-950A-41FC9BC8C8A8}" dt="2018-05-15T16:31:50.591" v="5993" actId="2696"/>
          <pc:sldLayoutMkLst>
            <pc:docMk/>
            <pc:sldMasterMk cId="2578443133" sldId="2147484553"/>
            <pc:sldLayoutMk cId="2068839738" sldId="2147484575"/>
          </pc:sldLayoutMkLst>
        </pc:sldLayoutChg>
        <pc:sldLayoutChg chg="del">
          <pc:chgData name="Patrick El-Azem" userId="e9a1393194618efd" providerId="LiveId" clId="{0E83E319-DD06-42C9-950A-41FC9BC8C8A8}" dt="2018-05-15T16:31:50.606" v="5994" actId="2696"/>
          <pc:sldLayoutMkLst>
            <pc:docMk/>
            <pc:sldMasterMk cId="2578443133" sldId="2147484553"/>
            <pc:sldLayoutMk cId="3817758185" sldId="2147484576"/>
          </pc:sldLayoutMkLst>
        </pc:sldLayoutChg>
        <pc:sldLayoutChg chg="del">
          <pc:chgData name="Patrick El-Azem" userId="e9a1393194618efd" providerId="LiveId" clId="{0E83E319-DD06-42C9-950A-41FC9BC8C8A8}" dt="2018-05-15T16:31:50.622" v="5995" actId="2696"/>
          <pc:sldLayoutMkLst>
            <pc:docMk/>
            <pc:sldMasterMk cId="2578443133" sldId="2147484553"/>
            <pc:sldLayoutMk cId="3382726692" sldId="2147484577"/>
          </pc:sldLayoutMkLst>
        </pc:sldLayoutChg>
      </pc:sldMasterChg>
      <pc:sldMasterChg chg="del delSldLayout">
        <pc:chgData name="Patrick El-Azem" userId="e9a1393194618efd" providerId="LiveId" clId="{0E83E319-DD06-42C9-950A-41FC9BC8C8A8}" dt="2018-05-15T16:47:41.715" v="6062" actId="2696"/>
        <pc:sldMasterMkLst>
          <pc:docMk/>
          <pc:sldMasterMk cId="1041708097" sldId="2147484578"/>
        </pc:sldMasterMkLst>
        <pc:sldLayoutChg chg="del">
          <pc:chgData name="Patrick El-Azem" userId="e9a1393194618efd" providerId="LiveId" clId="{0E83E319-DD06-42C9-950A-41FC9BC8C8A8}" dt="2018-05-15T16:47:41.074" v="6033" actId="2696"/>
          <pc:sldLayoutMkLst>
            <pc:docMk/>
            <pc:sldMasterMk cId="1041708097" sldId="2147484578"/>
            <pc:sldLayoutMk cId="1931852692" sldId="2147484579"/>
          </pc:sldLayoutMkLst>
        </pc:sldLayoutChg>
        <pc:sldLayoutChg chg="del">
          <pc:chgData name="Patrick El-Azem" userId="e9a1393194618efd" providerId="LiveId" clId="{0E83E319-DD06-42C9-950A-41FC9BC8C8A8}" dt="2018-05-15T16:47:41.105" v="6034" actId="2696"/>
          <pc:sldLayoutMkLst>
            <pc:docMk/>
            <pc:sldMasterMk cId="1041708097" sldId="2147484578"/>
            <pc:sldLayoutMk cId="1230477121" sldId="2147484580"/>
          </pc:sldLayoutMkLst>
        </pc:sldLayoutChg>
        <pc:sldLayoutChg chg="del">
          <pc:chgData name="Patrick El-Azem" userId="e9a1393194618efd" providerId="LiveId" clId="{0E83E319-DD06-42C9-950A-41FC9BC8C8A8}" dt="2018-05-15T16:47:41.137" v="6035" actId="2696"/>
          <pc:sldLayoutMkLst>
            <pc:docMk/>
            <pc:sldMasterMk cId="1041708097" sldId="2147484578"/>
            <pc:sldLayoutMk cId="4134663657" sldId="2147484581"/>
          </pc:sldLayoutMkLst>
        </pc:sldLayoutChg>
        <pc:sldLayoutChg chg="del">
          <pc:chgData name="Patrick El-Azem" userId="e9a1393194618efd" providerId="LiveId" clId="{0E83E319-DD06-42C9-950A-41FC9BC8C8A8}" dt="2018-05-15T16:47:41.152" v="6036" actId="2696"/>
          <pc:sldLayoutMkLst>
            <pc:docMk/>
            <pc:sldMasterMk cId="1041708097" sldId="2147484578"/>
            <pc:sldLayoutMk cId="2694717950" sldId="2147484582"/>
          </pc:sldLayoutMkLst>
        </pc:sldLayoutChg>
        <pc:sldLayoutChg chg="del">
          <pc:chgData name="Patrick El-Azem" userId="e9a1393194618efd" providerId="LiveId" clId="{0E83E319-DD06-42C9-950A-41FC9BC8C8A8}" dt="2018-05-15T16:47:41.168" v="6037" actId="2696"/>
          <pc:sldLayoutMkLst>
            <pc:docMk/>
            <pc:sldMasterMk cId="1041708097" sldId="2147484578"/>
            <pc:sldLayoutMk cId="3919789439" sldId="2147484583"/>
          </pc:sldLayoutMkLst>
        </pc:sldLayoutChg>
        <pc:sldLayoutChg chg="del">
          <pc:chgData name="Patrick El-Azem" userId="e9a1393194618efd" providerId="LiveId" clId="{0E83E319-DD06-42C9-950A-41FC9BC8C8A8}" dt="2018-05-15T16:47:41.184" v="6038" actId="2696"/>
          <pc:sldLayoutMkLst>
            <pc:docMk/>
            <pc:sldMasterMk cId="1041708097" sldId="2147484578"/>
            <pc:sldLayoutMk cId="2332661474" sldId="2147484584"/>
          </pc:sldLayoutMkLst>
        </pc:sldLayoutChg>
        <pc:sldLayoutChg chg="del">
          <pc:chgData name="Patrick El-Azem" userId="e9a1393194618efd" providerId="LiveId" clId="{0E83E319-DD06-42C9-950A-41FC9BC8C8A8}" dt="2018-05-15T16:47:41.199" v="6039" actId="2696"/>
          <pc:sldLayoutMkLst>
            <pc:docMk/>
            <pc:sldMasterMk cId="1041708097" sldId="2147484578"/>
            <pc:sldLayoutMk cId="342481040" sldId="2147484585"/>
          </pc:sldLayoutMkLst>
        </pc:sldLayoutChg>
        <pc:sldLayoutChg chg="del">
          <pc:chgData name="Patrick El-Azem" userId="e9a1393194618efd" providerId="LiveId" clId="{0E83E319-DD06-42C9-950A-41FC9BC8C8A8}" dt="2018-05-15T16:47:41.215" v="6040" actId="2696"/>
          <pc:sldLayoutMkLst>
            <pc:docMk/>
            <pc:sldMasterMk cId="1041708097" sldId="2147484578"/>
            <pc:sldLayoutMk cId="3314721935" sldId="2147484586"/>
          </pc:sldLayoutMkLst>
        </pc:sldLayoutChg>
        <pc:sldLayoutChg chg="del">
          <pc:chgData name="Patrick El-Azem" userId="e9a1393194618efd" providerId="LiveId" clId="{0E83E319-DD06-42C9-950A-41FC9BC8C8A8}" dt="2018-05-15T16:47:41.230" v="6041" actId="2696"/>
          <pc:sldLayoutMkLst>
            <pc:docMk/>
            <pc:sldMasterMk cId="1041708097" sldId="2147484578"/>
            <pc:sldLayoutMk cId="1003022894" sldId="2147484587"/>
          </pc:sldLayoutMkLst>
        </pc:sldLayoutChg>
        <pc:sldLayoutChg chg="del">
          <pc:chgData name="Patrick El-Azem" userId="e9a1393194618efd" providerId="LiveId" clId="{0E83E319-DD06-42C9-950A-41FC9BC8C8A8}" dt="2018-05-15T16:47:41.246" v="6042" actId="2696"/>
          <pc:sldLayoutMkLst>
            <pc:docMk/>
            <pc:sldMasterMk cId="1041708097" sldId="2147484578"/>
            <pc:sldLayoutMk cId="2410028826" sldId="2147484588"/>
          </pc:sldLayoutMkLst>
        </pc:sldLayoutChg>
        <pc:sldLayoutChg chg="del">
          <pc:chgData name="Patrick El-Azem" userId="e9a1393194618efd" providerId="LiveId" clId="{0E83E319-DD06-42C9-950A-41FC9BC8C8A8}" dt="2018-05-15T16:47:41.262" v="6043" actId="2696"/>
          <pc:sldLayoutMkLst>
            <pc:docMk/>
            <pc:sldMasterMk cId="1041708097" sldId="2147484578"/>
            <pc:sldLayoutMk cId="921297551" sldId="2147484589"/>
          </pc:sldLayoutMkLst>
        </pc:sldLayoutChg>
        <pc:sldLayoutChg chg="del">
          <pc:chgData name="Patrick El-Azem" userId="e9a1393194618efd" providerId="LiveId" clId="{0E83E319-DD06-42C9-950A-41FC9BC8C8A8}" dt="2018-05-15T16:47:41.277" v="6044" actId="2696"/>
          <pc:sldLayoutMkLst>
            <pc:docMk/>
            <pc:sldMasterMk cId="1041708097" sldId="2147484578"/>
            <pc:sldLayoutMk cId="1420816661" sldId="2147484590"/>
          </pc:sldLayoutMkLst>
        </pc:sldLayoutChg>
        <pc:sldLayoutChg chg="del">
          <pc:chgData name="Patrick El-Azem" userId="e9a1393194618efd" providerId="LiveId" clId="{0E83E319-DD06-42C9-950A-41FC9BC8C8A8}" dt="2018-05-15T16:47:41.293" v="6045" actId="2696"/>
          <pc:sldLayoutMkLst>
            <pc:docMk/>
            <pc:sldMasterMk cId="1041708097" sldId="2147484578"/>
            <pc:sldLayoutMk cId="2030292320" sldId="2147484591"/>
          </pc:sldLayoutMkLst>
        </pc:sldLayoutChg>
        <pc:sldLayoutChg chg="del">
          <pc:chgData name="Patrick El-Azem" userId="e9a1393194618efd" providerId="LiveId" clId="{0E83E319-DD06-42C9-950A-41FC9BC8C8A8}" dt="2018-05-15T16:47:41.309" v="6046" actId="2696"/>
          <pc:sldLayoutMkLst>
            <pc:docMk/>
            <pc:sldMasterMk cId="1041708097" sldId="2147484578"/>
            <pc:sldLayoutMk cId="3043127988" sldId="2147484592"/>
          </pc:sldLayoutMkLst>
        </pc:sldLayoutChg>
        <pc:sldLayoutChg chg="del">
          <pc:chgData name="Patrick El-Azem" userId="e9a1393194618efd" providerId="LiveId" clId="{0E83E319-DD06-42C9-950A-41FC9BC8C8A8}" dt="2018-05-15T16:47:41.324" v="6047" actId="2696"/>
          <pc:sldLayoutMkLst>
            <pc:docMk/>
            <pc:sldMasterMk cId="1041708097" sldId="2147484578"/>
            <pc:sldLayoutMk cId="3768753558" sldId="2147484593"/>
          </pc:sldLayoutMkLst>
        </pc:sldLayoutChg>
        <pc:sldLayoutChg chg="del">
          <pc:chgData name="Patrick El-Azem" userId="e9a1393194618efd" providerId="LiveId" clId="{0E83E319-DD06-42C9-950A-41FC9BC8C8A8}" dt="2018-05-15T16:47:41.371" v="6048" actId="2696"/>
          <pc:sldLayoutMkLst>
            <pc:docMk/>
            <pc:sldMasterMk cId="1041708097" sldId="2147484578"/>
            <pc:sldLayoutMk cId="1235699088" sldId="2147484594"/>
          </pc:sldLayoutMkLst>
        </pc:sldLayoutChg>
        <pc:sldLayoutChg chg="del">
          <pc:chgData name="Patrick El-Azem" userId="e9a1393194618efd" providerId="LiveId" clId="{0E83E319-DD06-42C9-950A-41FC9BC8C8A8}" dt="2018-05-15T16:47:41.402" v="6049" actId="2696"/>
          <pc:sldLayoutMkLst>
            <pc:docMk/>
            <pc:sldMasterMk cId="1041708097" sldId="2147484578"/>
            <pc:sldLayoutMk cId="3546439996" sldId="2147484595"/>
          </pc:sldLayoutMkLst>
        </pc:sldLayoutChg>
        <pc:sldLayoutChg chg="del">
          <pc:chgData name="Patrick El-Azem" userId="e9a1393194618efd" providerId="LiveId" clId="{0E83E319-DD06-42C9-950A-41FC9BC8C8A8}" dt="2018-05-15T16:47:41.433" v="6050" actId="2696"/>
          <pc:sldLayoutMkLst>
            <pc:docMk/>
            <pc:sldMasterMk cId="1041708097" sldId="2147484578"/>
            <pc:sldLayoutMk cId="4122465298" sldId="2147484596"/>
          </pc:sldLayoutMkLst>
        </pc:sldLayoutChg>
        <pc:sldLayoutChg chg="del">
          <pc:chgData name="Patrick El-Azem" userId="e9a1393194618efd" providerId="LiveId" clId="{0E83E319-DD06-42C9-950A-41FC9BC8C8A8}" dt="2018-05-15T16:47:41.465" v="6051" actId="2696"/>
          <pc:sldLayoutMkLst>
            <pc:docMk/>
            <pc:sldMasterMk cId="1041708097" sldId="2147484578"/>
            <pc:sldLayoutMk cId="850425733" sldId="2147484597"/>
          </pc:sldLayoutMkLst>
        </pc:sldLayoutChg>
        <pc:sldLayoutChg chg="del">
          <pc:chgData name="Patrick El-Azem" userId="e9a1393194618efd" providerId="LiveId" clId="{0E83E319-DD06-42C9-950A-41FC9BC8C8A8}" dt="2018-05-15T16:47:41.512" v="6052" actId="2696"/>
          <pc:sldLayoutMkLst>
            <pc:docMk/>
            <pc:sldMasterMk cId="1041708097" sldId="2147484578"/>
            <pc:sldLayoutMk cId="3140267849" sldId="2147484598"/>
          </pc:sldLayoutMkLst>
        </pc:sldLayoutChg>
        <pc:sldLayoutChg chg="del">
          <pc:chgData name="Patrick El-Azem" userId="e9a1393194618efd" providerId="LiveId" clId="{0E83E319-DD06-42C9-950A-41FC9BC8C8A8}" dt="2018-05-15T16:47:41.527" v="6053" actId="2696"/>
          <pc:sldLayoutMkLst>
            <pc:docMk/>
            <pc:sldMasterMk cId="1041708097" sldId="2147484578"/>
            <pc:sldLayoutMk cId="3590714197" sldId="2147484599"/>
          </pc:sldLayoutMkLst>
        </pc:sldLayoutChg>
        <pc:sldLayoutChg chg="del">
          <pc:chgData name="Patrick El-Azem" userId="e9a1393194618efd" providerId="LiveId" clId="{0E83E319-DD06-42C9-950A-41FC9BC8C8A8}" dt="2018-05-15T16:47:41.543" v="6054" actId="2696"/>
          <pc:sldLayoutMkLst>
            <pc:docMk/>
            <pc:sldMasterMk cId="1041708097" sldId="2147484578"/>
            <pc:sldLayoutMk cId="3218338465" sldId="2147484600"/>
          </pc:sldLayoutMkLst>
        </pc:sldLayoutChg>
        <pc:sldLayoutChg chg="del">
          <pc:chgData name="Patrick El-Azem" userId="e9a1393194618efd" providerId="LiveId" clId="{0E83E319-DD06-42C9-950A-41FC9BC8C8A8}" dt="2018-05-15T16:47:41.558" v="6055" actId="2696"/>
          <pc:sldLayoutMkLst>
            <pc:docMk/>
            <pc:sldMasterMk cId="1041708097" sldId="2147484578"/>
            <pc:sldLayoutMk cId="1857245940" sldId="2147484601"/>
          </pc:sldLayoutMkLst>
        </pc:sldLayoutChg>
        <pc:sldLayoutChg chg="del">
          <pc:chgData name="Patrick El-Azem" userId="e9a1393194618efd" providerId="LiveId" clId="{0E83E319-DD06-42C9-950A-41FC9BC8C8A8}" dt="2018-05-15T16:47:41.574" v="6056" actId="2696"/>
          <pc:sldLayoutMkLst>
            <pc:docMk/>
            <pc:sldMasterMk cId="1041708097" sldId="2147484578"/>
            <pc:sldLayoutMk cId="1645368513" sldId="2147484602"/>
          </pc:sldLayoutMkLst>
        </pc:sldLayoutChg>
        <pc:sldLayoutChg chg="del">
          <pc:chgData name="Patrick El-Azem" userId="e9a1393194618efd" providerId="LiveId" clId="{0E83E319-DD06-42C9-950A-41FC9BC8C8A8}" dt="2018-05-15T16:47:41.605" v="6057" actId="2696"/>
          <pc:sldLayoutMkLst>
            <pc:docMk/>
            <pc:sldMasterMk cId="1041708097" sldId="2147484578"/>
            <pc:sldLayoutMk cId="1929950707" sldId="2147484603"/>
          </pc:sldLayoutMkLst>
        </pc:sldLayoutChg>
        <pc:sldLayoutChg chg="del">
          <pc:chgData name="Patrick El-Azem" userId="e9a1393194618efd" providerId="LiveId" clId="{0E83E319-DD06-42C9-950A-41FC9BC8C8A8}" dt="2018-05-15T16:47:41.621" v="6058" actId="2696"/>
          <pc:sldLayoutMkLst>
            <pc:docMk/>
            <pc:sldMasterMk cId="1041708097" sldId="2147484578"/>
            <pc:sldLayoutMk cId="4224628921" sldId="2147484604"/>
          </pc:sldLayoutMkLst>
        </pc:sldLayoutChg>
        <pc:sldLayoutChg chg="del">
          <pc:chgData name="Patrick El-Azem" userId="e9a1393194618efd" providerId="LiveId" clId="{0E83E319-DD06-42C9-950A-41FC9BC8C8A8}" dt="2018-05-15T16:47:41.652" v="6059" actId="2696"/>
          <pc:sldLayoutMkLst>
            <pc:docMk/>
            <pc:sldMasterMk cId="1041708097" sldId="2147484578"/>
            <pc:sldLayoutMk cId="2138326639" sldId="2147484605"/>
          </pc:sldLayoutMkLst>
        </pc:sldLayoutChg>
        <pc:sldLayoutChg chg="del">
          <pc:chgData name="Patrick El-Azem" userId="e9a1393194618efd" providerId="LiveId" clId="{0E83E319-DD06-42C9-950A-41FC9BC8C8A8}" dt="2018-05-15T16:47:41.668" v="6060" actId="2696"/>
          <pc:sldLayoutMkLst>
            <pc:docMk/>
            <pc:sldMasterMk cId="1041708097" sldId="2147484578"/>
            <pc:sldLayoutMk cId="3052950901" sldId="2147484606"/>
          </pc:sldLayoutMkLst>
        </pc:sldLayoutChg>
        <pc:sldLayoutChg chg="del">
          <pc:chgData name="Patrick El-Azem" userId="e9a1393194618efd" providerId="LiveId" clId="{0E83E319-DD06-42C9-950A-41FC9BC8C8A8}" dt="2018-05-15T16:47:41.683" v="6061" actId="2696"/>
          <pc:sldLayoutMkLst>
            <pc:docMk/>
            <pc:sldMasterMk cId="1041708097" sldId="2147484578"/>
            <pc:sldLayoutMk cId="2508414333" sldId="2147484607"/>
          </pc:sldLayoutMkLst>
        </pc:sldLayoutChg>
      </pc:sldMasterChg>
      <pc:sldMasterChg chg="del delSldLayout">
        <pc:chgData name="Patrick El-Azem" userId="e9a1393194618efd" providerId="LiveId" clId="{0E83E319-DD06-42C9-950A-41FC9BC8C8A8}" dt="2018-05-15T16:47:46.092" v="6083" actId="2696"/>
        <pc:sldMasterMkLst>
          <pc:docMk/>
          <pc:sldMasterMk cId="1693886856" sldId="2147484609"/>
        </pc:sldMasterMkLst>
        <pc:sldLayoutChg chg="del">
          <pc:chgData name="Patrick El-Azem" userId="e9a1393194618efd" providerId="LiveId" clId="{0E83E319-DD06-42C9-950A-41FC9BC8C8A8}" dt="2018-05-15T16:47:45.686" v="6063" actId="2696"/>
          <pc:sldLayoutMkLst>
            <pc:docMk/>
            <pc:sldMasterMk cId="1693886856" sldId="2147484609"/>
            <pc:sldLayoutMk cId="3202406068" sldId="2147484610"/>
          </pc:sldLayoutMkLst>
        </pc:sldLayoutChg>
        <pc:sldLayoutChg chg="del">
          <pc:chgData name="Patrick El-Azem" userId="e9a1393194618efd" providerId="LiveId" clId="{0E83E319-DD06-42C9-950A-41FC9BC8C8A8}" dt="2018-05-15T16:47:45.701" v="6064" actId="2696"/>
          <pc:sldLayoutMkLst>
            <pc:docMk/>
            <pc:sldMasterMk cId="1693886856" sldId="2147484609"/>
            <pc:sldLayoutMk cId="1235663331" sldId="2147484611"/>
          </pc:sldLayoutMkLst>
        </pc:sldLayoutChg>
        <pc:sldLayoutChg chg="del">
          <pc:chgData name="Patrick El-Azem" userId="e9a1393194618efd" providerId="LiveId" clId="{0E83E319-DD06-42C9-950A-41FC9BC8C8A8}" dt="2018-05-15T16:47:45.717" v="6065" actId="2696"/>
          <pc:sldLayoutMkLst>
            <pc:docMk/>
            <pc:sldMasterMk cId="1693886856" sldId="2147484609"/>
            <pc:sldLayoutMk cId="2377122426" sldId="2147484612"/>
          </pc:sldLayoutMkLst>
        </pc:sldLayoutChg>
        <pc:sldLayoutChg chg="del">
          <pc:chgData name="Patrick El-Azem" userId="e9a1393194618efd" providerId="LiveId" clId="{0E83E319-DD06-42C9-950A-41FC9BC8C8A8}" dt="2018-05-15T16:47:45.748" v="6066" actId="2696"/>
          <pc:sldLayoutMkLst>
            <pc:docMk/>
            <pc:sldMasterMk cId="1693886856" sldId="2147484609"/>
            <pc:sldLayoutMk cId="2869951084" sldId="2147484613"/>
          </pc:sldLayoutMkLst>
        </pc:sldLayoutChg>
        <pc:sldLayoutChg chg="del">
          <pc:chgData name="Patrick El-Azem" userId="e9a1393194618efd" providerId="LiveId" clId="{0E83E319-DD06-42C9-950A-41FC9BC8C8A8}" dt="2018-05-15T16:47:45.764" v="6067" actId="2696"/>
          <pc:sldLayoutMkLst>
            <pc:docMk/>
            <pc:sldMasterMk cId="1693886856" sldId="2147484609"/>
            <pc:sldLayoutMk cId="4080965649" sldId="2147484614"/>
          </pc:sldLayoutMkLst>
        </pc:sldLayoutChg>
        <pc:sldLayoutChg chg="del">
          <pc:chgData name="Patrick El-Azem" userId="e9a1393194618efd" providerId="LiveId" clId="{0E83E319-DD06-42C9-950A-41FC9BC8C8A8}" dt="2018-05-15T16:47:45.780" v="6068" actId="2696"/>
          <pc:sldLayoutMkLst>
            <pc:docMk/>
            <pc:sldMasterMk cId="1693886856" sldId="2147484609"/>
            <pc:sldLayoutMk cId="2002917651" sldId="2147484615"/>
          </pc:sldLayoutMkLst>
        </pc:sldLayoutChg>
        <pc:sldLayoutChg chg="del">
          <pc:chgData name="Patrick El-Azem" userId="e9a1393194618efd" providerId="LiveId" clId="{0E83E319-DD06-42C9-950A-41FC9BC8C8A8}" dt="2018-05-15T16:47:45.811" v="6069" actId="2696"/>
          <pc:sldLayoutMkLst>
            <pc:docMk/>
            <pc:sldMasterMk cId="1693886856" sldId="2147484609"/>
            <pc:sldLayoutMk cId="579156402" sldId="2147484616"/>
          </pc:sldLayoutMkLst>
        </pc:sldLayoutChg>
        <pc:sldLayoutChg chg="del">
          <pc:chgData name="Patrick El-Azem" userId="e9a1393194618efd" providerId="LiveId" clId="{0E83E319-DD06-42C9-950A-41FC9BC8C8A8}" dt="2018-05-15T16:47:45.826" v="6070" actId="2696"/>
          <pc:sldLayoutMkLst>
            <pc:docMk/>
            <pc:sldMasterMk cId="1693886856" sldId="2147484609"/>
            <pc:sldLayoutMk cId="773613500" sldId="2147484617"/>
          </pc:sldLayoutMkLst>
        </pc:sldLayoutChg>
        <pc:sldLayoutChg chg="del">
          <pc:chgData name="Patrick El-Azem" userId="e9a1393194618efd" providerId="LiveId" clId="{0E83E319-DD06-42C9-950A-41FC9BC8C8A8}" dt="2018-05-15T16:47:45.842" v="6071" actId="2696"/>
          <pc:sldLayoutMkLst>
            <pc:docMk/>
            <pc:sldMasterMk cId="1693886856" sldId="2147484609"/>
            <pc:sldLayoutMk cId="1761695639" sldId="2147484618"/>
          </pc:sldLayoutMkLst>
        </pc:sldLayoutChg>
        <pc:sldLayoutChg chg="del">
          <pc:chgData name="Patrick El-Azem" userId="e9a1393194618efd" providerId="LiveId" clId="{0E83E319-DD06-42C9-950A-41FC9BC8C8A8}" dt="2018-05-15T16:47:45.858" v="6072" actId="2696"/>
          <pc:sldLayoutMkLst>
            <pc:docMk/>
            <pc:sldMasterMk cId="1693886856" sldId="2147484609"/>
            <pc:sldLayoutMk cId="557725577" sldId="2147484619"/>
          </pc:sldLayoutMkLst>
        </pc:sldLayoutChg>
        <pc:sldLayoutChg chg="del">
          <pc:chgData name="Patrick El-Azem" userId="e9a1393194618efd" providerId="LiveId" clId="{0E83E319-DD06-42C9-950A-41FC9BC8C8A8}" dt="2018-05-15T16:47:45.873" v="6073" actId="2696"/>
          <pc:sldLayoutMkLst>
            <pc:docMk/>
            <pc:sldMasterMk cId="1693886856" sldId="2147484609"/>
            <pc:sldLayoutMk cId="185111126" sldId="2147484620"/>
          </pc:sldLayoutMkLst>
        </pc:sldLayoutChg>
        <pc:sldLayoutChg chg="del">
          <pc:chgData name="Patrick El-Azem" userId="e9a1393194618efd" providerId="LiveId" clId="{0E83E319-DD06-42C9-950A-41FC9BC8C8A8}" dt="2018-05-15T16:47:45.905" v="6074" actId="2696"/>
          <pc:sldLayoutMkLst>
            <pc:docMk/>
            <pc:sldMasterMk cId="1693886856" sldId="2147484609"/>
            <pc:sldLayoutMk cId="1290518940" sldId="2147484621"/>
          </pc:sldLayoutMkLst>
        </pc:sldLayoutChg>
        <pc:sldLayoutChg chg="del">
          <pc:chgData name="Patrick El-Azem" userId="e9a1393194618efd" providerId="LiveId" clId="{0E83E319-DD06-42C9-950A-41FC9BC8C8A8}" dt="2018-05-15T16:47:45.920" v="6075" actId="2696"/>
          <pc:sldLayoutMkLst>
            <pc:docMk/>
            <pc:sldMasterMk cId="1693886856" sldId="2147484609"/>
            <pc:sldLayoutMk cId="3459894240" sldId="2147484622"/>
          </pc:sldLayoutMkLst>
        </pc:sldLayoutChg>
        <pc:sldLayoutChg chg="del">
          <pc:chgData name="Patrick El-Azem" userId="e9a1393194618efd" providerId="LiveId" clId="{0E83E319-DD06-42C9-950A-41FC9BC8C8A8}" dt="2018-05-15T16:47:45.936" v="6076" actId="2696"/>
          <pc:sldLayoutMkLst>
            <pc:docMk/>
            <pc:sldMasterMk cId="1693886856" sldId="2147484609"/>
            <pc:sldLayoutMk cId="886262086" sldId="2147484623"/>
          </pc:sldLayoutMkLst>
        </pc:sldLayoutChg>
        <pc:sldLayoutChg chg="del">
          <pc:chgData name="Patrick El-Azem" userId="e9a1393194618efd" providerId="LiveId" clId="{0E83E319-DD06-42C9-950A-41FC9BC8C8A8}" dt="2018-05-15T16:47:45.967" v="6077" actId="2696"/>
          <pc:sldLayoutMkLst>
            <pc:docMk/>
            <pc:sldMasterMk cId="1693886856" sldId="2147484609"/>
            <pc:sldLayoutMk cId="395623175" sldId="2147484624"/>
          </pc:sldLayoutMkLst>
        </pc:sldLayoutChg>
        <pc:sldLayoutChg chg="del">
          <pc:chgData name="Patrick El-Azem" userId="e9a1393194618efd" providerId="LiveId" clId="{0E83E319-DD06-42C9-950A-41FC9BC8C8A8}" dt="2018-05-15T16:47:45.983" v="6078" actId="2696"/>
          <pc:sldLayoutMkLst>
            <pc:docMk/>
            <pc:sldMasterMk cId="1693886856" sldId="2147484609"/>
            <pc:sldLayoutMk cId="3689339966" sldId="2147484625"/>
          </pc:sldLayoutMkLst>
        </pc:sldLayoutChg>
        <pc:sldLayoutChg chg="del">
          <pc:chgData name="Patrick El-Azem" userId="e9a1393194618efd" providerId="LiveId" clId="{0E83E319-DD06-42C9-950A-41FC9BC8C8A8}" dt="2018-05-15T16:47:45.998" v="6079" actId="2696"/>
          <pc:sldLayoutMkLst>
            <pc:docMk/>
            <pc:sldMasterMk cId="1693886856" sldId="2147484609"/>
            <pc:sldLayoutMk cId="2056808097" sldId="2147484626"/>
          </pc:sldLayoutMkLst>
        </pc:sldLayoutChg>
        <pc:sldLayoutChg chg="del">
          <pc:chgData name="Patrick El-Azem" userId="e9a1393194618efd" providerId="LiveId" clId="{0E83E319-DD06-42C9-950A-41FC9BC8C8A8}" dt="2018-05-15T16:47:46.030" v="6080" actId="2696"/>
          <pc:sldLayoutMkLst>
            <pc:docMk/>
            <pc:sldMasterMk cId="1693886856" sldId="2147484609"/>
            <pc:sldLayoutMk cId="879043781" sldId="2147484627"/>
          </pc:sldLayoutMkLst>
        </pc:sldLayoutChg>
        <pc:sldLayoutChg chg="del">
          <pc:chgData name="Patrick El-Azem" userId="e9a1393194618efd" providerId="LiveId" clId="{0E83E319-DD06-42C9-950A-41FC9BC8C8A8}" dt="2018-05-15T16:47:46.045" v="6081" actId="2696"/>
          <pc:sldLayoutMkLst>
            <pc:docMk/>
            <pc:sldMasterMk cId="1693886856" sldId="2147484609"/>
            <pc:sldLayoutMk cId="3454888865" sldId="2147484628"/>
          </pc:sldLayoutMkLst>
        </pc:sldLayoutChg>
        <pc:sldLayoutChg chg="del">
          <pc:chgData name="Patrick El-Azem" userId="e9a1393194618efd" providerId="LiveId" clId="{0E83E319-DD06-42C9-950A-41FC9BC8C8A8}" dt="2018-05-15T16:47:46.061" v="6082" actId="2696"/>
          <pc:sldLayoutMkLst>
            <pc:docMk/>
            <pc:sldMasterMk cId="1693886856" sldId="2147484609"/>
            <pc:sldLayoutMk cId="2894011484" sldId="2147484629"/>
          </pc:sldLayoutMkLst>
        </pc:sldLayoutChg>
      </pc:sldMasterChg>
      <pc:sldMasterChg chg="del delSldLayout">
        <pc:chgData name="Patrick El-Azem" userId="e9a1393194618efd" providerId="LiveId" clId="{0E83E319-DD06-42C9-950A-41FC9BC8C8A8}" dt="2018-05-15T16:47:50.310" v="6122" actId="2696"/>
        <pc:sldMasterMkLst>
          <pc:docMk/>
          <pc:sldMasterMk cId="4147345329" sldId="2147484630"/>
        </pc:sldMasterMkLst>
        <pc:sldLayoutChg chg="del">
          <pc:chgData name="Patrick El-Azem" userId="e9a1393194618efd" providerId="LiveId" clId="{0E83E319-DD06-42C9-950A-41FC9BC8C8A8}" dt="2018-05-15T16:47:49.622" v="6084" actId="2696"/>
          <pc:sldLayoutMkLst>
            <pc:docMk/>
            <pc:sldMasterMk cId="4147345329" sldId="2147484630"/>
            <pc:sldLayoutMk cId="1277248502" sldId="2147484631"/>
          </pc:sldLayoutMkLst>
        </pc:sldLayoutChg>
        <pc:sldLayoutChg chg="del">
          <pc:chgData name="Patrick El-Azem" userId="e9a1393194618efd" providerId="LiveId" clId="{0E83E319-DD06-42C9-950A-41FC9BC8C8A8}" dt="2018-05-15T16:47:49.638" v="6085" actId="2696"/>
          <pc:sldLayoutMkLst>
            <pc:docMk/>
            <pc:sldMasterMk cId="4147345329" sldId="2147484630"/>
            <pc:sldLayoutMk cId="14154224" sldId="2147484632"/>
          </pc:sldLayoutMkLst>
        </pc:sldLayoutChg>
        <pc:sldLayoutChg chg="del">
          <pc:chgData name="Patrick El-Azem" userId="e9a1393194618efd" providerId="LiveId" clId="{0E83E319-DD06-42C9-950A-41FC9BC8C8A8}" dt="2018-05-15T16:47:49.669" v="6086" actId="2696"/>
          <pc:sldLayoutMkLst>
            <pc:docMk/>
            <pc:sldMasterMk cId="4147345329" sldId="2147484630"/>
            <pc:sldLayoutMk cId="1529478116" sldId="2147484633"/>
          </pc:sldLayoutMkLst>
        </pc:sldLayoutChg>
        <pc:sldLayoutChg chg="del">
          <pc:chgData name="Patrick El-Azem" userId="e9a1393194618efd" providerId="LiveId" clId="{0E83E319-DD06-42C9-950A-41FC9BC8C8A8}" dt="2018-05-15T16:47:49.685" v="6087" actId="2696"/>
          <pc:sldLayoutMkLst>
            <pc:docMk/>
            <pc:sldMasterMk cId="4147345329" sldId="2147484630"/>
            <pc:sldLayoutMk cId="3624908767" sldId="2147484634"/>
          </pc:sldLayoutMkLst>
        </pc:sldLayoutChg>
        <pc:sldLayoutChg chg="del">
          <pc:chgData name="Patrick El-Azem" userId="e9a1393194618efd" providerId="LiveId" clId="{0E83E319-DD06-42C9-950A-41FC9BC8C8A8}" dt="2018-05-15T16:47:49.701" v="6088" actId="2696"/>
          <pc:sldLayoutMkLst>
            <pc:docMk/>
            <pc:sldMasterMk cId="4147345329" sldId="2147484630"/>
            <pc:sldLayoutMk cId="3161332034" sldId="2147484635"/>
          </pc:sldLayoutMkLst>
        </pc:sldLayoutChg>
        <pc:sldLayoutChg chg="del">
          <pc:chgData name="Patrick El-Azem" userId="e9a1393194618efd" providerId="LiveId" clId="{0E83E319-DD06-42C9-950A-41FC9BC8C8A8}" dt="2018-05-15T16:47:49.716" v="6089" actId="2696"/>
          <pc:sldLayoutMkLst>
            <pc:docMk/>
            <pc:sldMasterMk cId="4147345329" sldId="2147484630"/>
            <pc:sldLayoutMk cId="2645011137" sldId="2147484636"/>
          </pc:sldLayoutMkLst>
        </pc:sldLayoutChg>
        <pc:sldLayoutChg chg="del">
          <pc:chgData name="Patrick El-Azem" userId="e9a1393194618efd" providerId="LiveId" clId="{0E83E319-DD06-42C9-950A-41FC9BC8C8A8}" dt="2018-05-15T16:47:49.732" v="6090" actId="2696"/>
          <pc:sldLayoutMkLst>
            <pc:docMk/>
            <pc:sldMasterMk cId="4147345329" sldId="2147484630"/>
            <pc:sldLayoutMk cId="1773307133" sldId="2147484637"/>
          </pc:sldLayoutMkLst>
        </pc:sldLayoutChg>
        <pc:sldLayoutChg chg="del">
          <pc:chgData name="Patrick El-Azem" userId="e9a1393194618efd" providerId="LiveId" clId="{0E83E319-DD06-42C9-950A-41FC9BC8C8A8}" dt="2018-05-15T16:47:49.747" v="6091" actId="2696"/>
          <pc:sldLayoutMkLst>
            <pc:docMk/>
            <pc:sldMasterMk cId="4147345329" sldId="2147484630"/>
            <pc:sldLayoutMk cId="2565903947" sldId="2147484638"/>
          </pc:sldLayoutMkLst>
        </pc:sldLayoutChg>
        <pc:sldLayoutChg chg="del">
          <pc:chgData name="Patrick El-Azem" userId="e9a1393194618efd" providerId="LiveId" clId="{0E83E319-DD06-42C9-950A-41FC9BC8C8A8}" dt="2018-05-15T16:47:49.763" v="6092" actId="2696"/>
          <pc:sldLayoutMkLst>
            <pc:docMk/>
            <pc:sldMasterMk cId="4147345329" sldId="2147484630"/>
            <pc:sldLayoutMk cId="4205272252" sldId="2147484639"/>
          </pc:sldLayoutMkLst>
        </pc:sldLayoutChg>
        <pc:sldLayoutChg chg="del">
          <pc:chgData name="Patrick El-Azem" userId="e9a1393194618efd" providerId="LiveId" clId="{0E83E319-DD06-42C9-950A-41FC9BC8C8A8}" dt="2018-05-15T16:47:49.779" v="6093" actId="2696"/>
          <pc:sldLayoutMkLst>
            <pc:docMk/>
            <pc:sldMasterMk cId="4147345329" sldId="2147484630"/>
            <pc:sldLayoutMk cId="1019296984" sldId="2147484640"/>
          </pc:sldLayoutMkLst>
        </pc:sldLayoutChg>
        <pc:sldLayoutChg chg="del">
          <pc:chgData name="Patrick El-Azem" userId="e9a1393194618efd" providerId="LiveId" clId="{0E83E319-DD06-42C9-950A-41FC9BC8C8A8}" dt="2018-05-15T16:47:49.810" v="6094" actId="2696"/>
          <pc:sldLayoutMkLst>
            <pc:docMk/>
            <pc:sldMasterMk cId="4147345329" sldId="2147484630"/>
            <pc:sldLayoutMk cId="4116144379" sldId="2147484641"/>
          </pc:sldLayoutMkLst>
        </pc:sldLayoutChg>
        <pc:sldLayoutChg chg="del">
          <pc:chgData name="Patrick El-Azem" userId="e9a1393194618efd" providerId="LiveId" clId="{0E83E319-DD06-42C9-950A-41FC9BC8C8A8}" dt="2018-05-15T16:47:49.825" v="6095" actId="2696"/>
          <pc:sldLayoutMkLst>
            <pc:docMk/>
            <pc:sldMasterMk cId="4147345329" sldId="2147484630"/>
            <pc:sldLayoutMk cId="1269010422" sldId="2147484642"/>
          </pc:sldLayoutMkLst>
        </pc:sldLayoutChg>
        <pc:sldLayoutChg chg="del">
          <pc:chgData name="Patrick El-Azem" userId="e9a1393194618efd" providerId="LiveId" clId="{0E83E319-DD06-42C9-950A-41FC9BC8C8A8}" dt="2018-05-15T16:47:49.841" v="6096" actId="2696"/>
          <pc:sldLayoutMkLst>
            <pc:docMk/>
            <pc:sldMasterMk cId="4147345329" sldId="2147484630"/>
            <pc:sldLayoutMk cId="2135711623" sldId="2147484643"/>
          </pc:sldLayoutMkLst>
        </pc:sldLayoutChg>
        <pc:sldLayoutChg chg="del">
          <pc:chgData name="Patrick El-Azem" userId="e9a1393194618efd" providerId="LiveId" clId="{0E83E319-DD06-42C9-950A-41FC9BC8C8A8}" dt="2018-05-15T16:47:49.872" v="6097" actId="2696"/>
          <pc:sldLayoutMkLst>
            <pc:docMk/>
            <pc:sldMasterMk cId="4147345329" sldId="2147484630"/>
            <pc:sldLayoutMk cId="3836974616" sldId="2147484644"/>
          </pc:sldLayoutMkLst>
        </pc:sldLayoutChg>
        <pc:sldLayoutChg chg="del">
          <pc:chgData name="Patrick El-Azem" userId="e9a1393194618efd" providerId="LiveId" clId="{0E83E319-DD06-42C9-950A-41FC9BC8C8A8}" dt="2018-05-15T16:47:49.888" v="6098" actId="2696"/>
          <pc:sldLayoutMkLst>
            <pc:docMk/>
            <pc:sldMasterMk cId="4147345329" sldId="2147484630"/>
            <pc:sldLayoutMk cId="39371766" sldId="2147484645"/>
          </pc:sldLayoutMkLst>
        </pc:sldLayoutChg>
        <pc:sldLayoutChg chg="del">
          <pc:chgData name="Patrick El-Azem" userId="e9a1393194618efd" providerId="LiveId" clId="{0E83E319-DD06-42C9-950A-41FC9BC8C8A8}" dt="2018-05-15T16:47:49.904" v="6099" actId="2696"/>
          <pc:sldLayoutMkLst>
            <pc:docMk/>
            <pc:sldMasterMk cId="4147345329" sldId="2147484630"/>
            <pc:sldLayoutMk cId="519749285" sldId="2147484646"/>
          </pc:sldLayoutMkLst>
        </pc:sldLayoutChg>
        <pc:sldLayoutChg chg="del">
          <pc:chgData name="Patrick El-Azem" userId="e9a1393194618efd" providerId="LiveId" clId="{0E83E319-DD06-42C9-950A-41FC9BC8C8A8}" dt="2018-05-15T16:47:49.919" v="6100" actId="2696"/>
          <pc:sldLayoutMkLst>
            <pc:docMk/>
            <pc:sldMasterMk cId="4147345329" sldId="2147484630"/>
            <pc:sldLayoutMk cId="753740264" sldId="2147484647"/>
          </pc:sldLayoutMkLst>
        </pc:sldLayoutChg>
        <pc:sldLayoutChg chg="del">
          <pc:chgData name="Patrick El-Azem" userId="e9a1393194618efd" providerId="LiveId" clId="{0E83E319-DD06-42C9-950A-41FC9BC8C8A8}" dt="2018-05-15T16:47:49.950" v="6101" actId="2696"/>
          <pc:sldLayoutMkLst>
            <pc:docMk/>
            <pc:sldMasterMk cId="4147345329" sldId="2147484630"/>
            <pc:sldLayoutMk cId="1943528023" sldId="2147484648"/>
          </pc:sldLayoutMkLst>
        </pc:sldLayoutChg>
        <pc:sldLayoutChg chg="del">
          <pc:chgData name="Patrick El-Azem" userId="e9a1393194618efd" providerId="LiveId" clId="{0E83E319-DD06-42C9-950A-41FC9BC8C8A8}" dt="2018-05-15T16:47:49.966" v="6102" actId="2696"/>
          <pc:sldLayoutMkLst>
            <pc:docMk/>
            <pc:sldMasterMk cId="4147345329" sldId="2147484630"/>
            <pc:sldLayoutMk cId="695940359" sldId="2147484649"/>
          </pc:sldLayoutMkLst>
        </pc:sldLayoutChg>
        <pc:sldLayoutChg chg="del">
          <pc:chgData name="Patrick El-Azem" userId="e9a1393194618efd" providerId="LiveId" clId="{0E83E319-DD06-42C9-950A-41FC9BC8C8A8}" dt="2018-05-15T16:47:49.982" v="6103" actId="2696"/>
          <pc:sldLayoutMkLst>
            <pc:docMk/>
            <pc:sldMasterMk cId="4147345329" sldId="2147484630"/>
            <pc:sldLayoutMk cId="3203227002" sldId="2147484650"/>
          </pc:sldLayoutMkLst>
        </pc:sldLayoutChg>
        <pc:sldLayoutChg chg="del">
          <pc:chgData name="Patrick El-Azem" userId="e9a1393194618efd" providerId="LiveId" clId="{0E83E319-DD06-42C9-950A-41FC9BC8C8A8}" dt="2018-05-15T16:47:49.997" v="6104" actId="2696"/>
          <pc:sldLayoutMkLst>
            <pc:docMk/>
            <pc:sldMasterMk cId="4147345329" sldId="2147484630"/>
            <pc:sldLayoutMk cId="2270597050" sldId="2147484651"/>
          </pc:sldLayoutMkLst>
        </pc:sldLayoutChg>
        <pc:sldLayoutChg chg="del">
          <pc:chgData name="Patrick El-Azem" userId="e9a1393194618efd" providerId="LiveId" clId="{0E83E319-DD06-42C9-950A-41FC9BC8C8A8}" dt="2018-05-15T16:47:50.013" v="6105" actId="2696"/>
          <pc:sldLayoutMkLst>
            <pc:docMk/>
            <pc:sldMasterMk cId="4147345329" sldId="2147484630"/>
            <pc:sldLayoutMk cId="4150852260" sldId="2147484652"/>
          </pc:sldLayoutMkLst>
        </pc:sldLayoutChg>
        <pc:sldLayoutChg chg="del">
          <pc:chgData name="Patrick El-Azem" userId="e9a1393194618efd" providerId="LiveId" clId="{0E83E319-DD06-42C9-950A-41FC9BC8C8A8}" dt="2018-05-15T16:47:50.029" v="6106" actId="2696"/>
          <pc:sldLayoutMkLst>
            <pc:docMk/>
            <pc:sldMasterMk cId="4147345329" sldId="2147484630"/>
            <pc:sldLayoutMk cId="2442478794" sldId="2147484653"/>
          </pc:sldLayoutMkLst>
        </pc:sldLayoutChg>
        <pc:sldLayoutChg chg="del">
          <pc:chgData name="Patrick El-Azem" userId="e9a1393194618efd" providerId="LiveId" clId="{0E83E319-DD06-42C9-950A-41FC9BC8C8A8}" dt="2018-05-15T16:47:50.044" v="6107" actId="2696"/>
          <pc:sldLayoutMkLst>
            <pc:docMk/>
            <pc:sldMasterMk cId="4147345329" sldId="2147484630"/>
            <pc:sldLayoutMk cId="3678408824" sldId="2147484654"/>
          </pc:sldLayoutMkLst>
        </pc:sldLayoutChg>
        <pc:sldLayoutChg chg="del">
          <pc:chgData name="Patrick El-Azem" userId="e9a1393194618efd" providerId="LiveId" clId="{0E83E319-DD06-42C9-950A-41FC9BC8C8A8}" dt="2018-05-15T16:47:50.060" v="6108" actId="2696"/>
          <pc:sldLayoutMkLst>
            <pc:docMk/>
            <pc:sldMasterMk cId="4147345329" sldId="2147484630"/>
            <pc:sldLayoutMk cId="12750432" sldId="2147484655"/>
          </pc:sldLayoutMkLst>
        </pc:sldLayoutChg>
        <pc:sldLayoutChg chg="del">
          <pc:chgData name="Patrick El-Azem" userId="e9a1393194618efd" providerId="LiveId" clId="{0E83E319-DD06-42C9-950A-41FC9BC8C8A8}" dt="2018-05-15T16:47:50.075" v="6109" actId="2696"/>
          <pc:sldLayoutMkLst>
            <pc:docMk/>
            <pc:sldMasterMk cId="4147345329" sldId="2147484630"/>
            <pc:sldLayoutMk cId="2178845197" sldId="2147484656"/>
          </pc:sldLayoutMkLst>
        </pc:sldLayoutChg>
        <pc:sldLayoutChg chg="del">
          <pc:chgData name="Patrick El-Azem" userId="e9a1393194618efd" providerId="LiveId" clId="{0E83E319-DD06-42C9-950A-41FC9BC8C8A8}" dt="2018-05-15T16:47:50.091" v="6110" actId="2696"/>
          <pc:sldLayoutMkLst>
            <pc:docMk/>
            <pc:sldMasterMk cId="4147345329" sldId="2147484630"/>
            <pc:sldLayoutMk cId="3827938416" sldId="2147484657"/>
          </pc:sldLayoutMkLst>
        </pc:sldLayoutChg>
        <pc:sldLayoutChg chg="del">
          <pc:chgData name="Patrick El-Azem" userId="e9a1393194618efd" providerId="LiveId" clId="{0E83E319-DD06-42C9-950A-41FC9BC8C8A8}" dt="2018-05-15T16:47:50.107" v="6111" actId="2696"/>
          <pc:sldLayoutMkLst>
            <pc:docMk/>
            <pc:sldMasterMk cId="4147345329" sldId="2147484630"/>
            <pc:sldLayoutMk cId="2630880369" sldId="2147484658"/>
          </pc:sldLayoutMkLst>
        </pc:sldLayoutChg>
        <pc:sldLayoutChg chg="del">
          <pc:chgData name="Patrick El-Azem" userId="e9a1393194618efd" providerId="LiveId" clId="{0E83E319-DD06-42C9-950A-41FC9BC8C8A8}" dt="2018-05-15T16:47:50.138" v="6112" actId="2696"/>
          <pc:sldLayoutMkLst>
            <pc:docMk/>
            <pc:sldMasterMk cId="4147345329" sldId="2147484630"/>
            <pc:sldLayoutMk cId="1834940892" sldId="2147484659"/>
          </pc:sldLayoutMkLst>
        </pc:sldLayoutChg>
        <pc:sldLayoutChg chg="del">
          <pc:chgData name="Patrick El-Azem" userId="e9a1393194618efd" providerId="LiveId" clId="{0E83E319-DD06-42C9-950A-41FC9BC8C8A8}" dt="2018-05-15T16:47:50.154" v="6113" actId="2696"/>
          <pc:sldLayoutMkLst>
            <pc:docMk/>
            <pc:sldMasterMk cId="4147345329" sldId="2147484630"/>
            <pc:sldLayoutMk cId="4129746301" sldId="2147484660"/>
          </pc:sldLayoutMkLst>
        </pc:sldLayoutChg>
        <pc:sldLayoutChg chg="del">
          <pc:chgData name="Patrick El-Azem" userId="e9a1393194618efd" providerId="LiveId" clId="{0E83E319-DD06-42C9-950A-41FC9BC8C8A8}" dt="2018-05-15T16:47:50.169" v="6114" actId="2696"/>
          <pc:sldLayoutMkLst>
            <pc:docMk/>
            <pc:sldMasterMk cId="4147345329" sldId="2147484630"/>
            <pc:sldLayoutMk cId="500070633" sldId="2147484661"/>
          </pc:sldLayoutMkLst>
        </pc:sldLayoutChg>
        <pc:sldLayoutChg chg="del">
          <pc:chgData name="Patrick El-Azem" userId="e9a1393194618efd" providerId="LiveId" clId="{0E83E319-DD06-42C9-950A-41FC9BC8C8A8}" dt="2018-05-15T16:47:50.185" v="6115" actId="2696"/>
          <pc:sldLayoutMkLst>
            <pc:docMk/>
            <pc:sldMasterMk cId="4147345329" sldId="2147484630"/>
            <pc:sldLayoutMk cId="566332065" sldId="2147484662"/>
          </pc:sldLayoutMkLst>
        </pc:sldLayoutChg>
        <pc:sldLayoutChg chg="del">
          <pc:chgData name="Patrick El-Azem" userId="e9a1393194618efd" providerId="LiveId" clId="{0E83E319-DD06-42C9-950A-41FC9BC8C8A8}" dt="2018-05-15T16:47:50.200" v="6116" actId="2696"/>
          <pc:sldLayoutMkLst>
            <pc:docMk/>
            <pc:sldMasterMk cId="4147345329" sldId="2147484630"/>
            <pc:sldLayoutMk cId="1382487231" sldId="2147484663"/>
          </pc:sldLayoutMkLst>
        </pc:sldLayoutChg>
        <pc:sldLayoutChg chg="del">
          <pc:chgData name="Patrick El-Azem" userId="e9a1393194618efd" providerId="LiveId" clId="{0E83E319-DD06-42C9-950A-41FC9BC8C8A8}" dt="2018-05-15T16:47:50.216" v="6117" actId="2696"/>
          <pc:sldLayoutMkLst>
            <pc:docMk/>
            <pc:sldMasterMk cId="4147345329" sldId="2147484630"/>
            <pc:sldLayoutMk cId="1127195213" sldId="2147484664"/>
          </pc:sldLayoutMkLst>
        </pc:sldLayoutChg>
        <pc:sldLayoutChg chg="del">
          <pc:chgData name="Patrick El-Azem" userId="e9a1393194618efd" providerId="LiveId" clId="{0E83E319-DD06-42C9-950A-41FC9BC8C8A8}" dt="2018-05-15T16:47:50.232" v="6118" actId="2696"/>
          <pc:sldLayoutMkLst>
            <pc:docMk/>
            <pc:sldMasterMk cId="4147345329" sldId="2147484630"/>
            <pc:sldLayoutMk cId="295533979" sldId="2147484665"/>
          </pc:sldLayoutMkLst>
        </pc:sldLayoutChg>
        <pc:sldLayoutChg chg="del">
          <pc:chgData name="Patrick El-Azem" userId="e9a1393194618efd" providerId="LiveId" clId="{0E83E319-DD06-42C9-950A-41FC9BC8C8A8}" dt="2018-05-15T16:47:50.247" v="6119" actId="2696"/>
          <pc:sldLayoutMkLst>
            <pc:docMk/>
            <pc:sldMasterMk cId="4147345329" sldId="2147484630"/>
            <pc:sldLayoutMk cId="1621065772" sldId="2147484666"/>
          </pc:sldLayoutMkLst>
        </pc:sldLayoutChg>
        <pc:sldLayoutChg chg="del">
          <pc:chgData name="Patrick El-Azem" userId="e9a1393194618efd" providerId="LiveId" clId="{0E83E319-DD06-42C9-950A-41FC9BC8C8A8}" dt="2018-05-15T16:47:50.263" v="6120" actId="2696"/>
          <pc:sldLayoutMkLst>
            <pc:docMk/>
            <pc:sldMasterMk cId="4147345329" sldId="2147484630"/>
            <pc:sldLayoutMk cId="2075652988" sldId="2147484667"/>
          </pc:sldLayoutMkLst>
        </pc:sldLayoutChg>
        <pc:sldLayoutChg chg="del">
          <pc:chgData name="Patrick El-Azem" userId="e9a1393194618efd" providerId="LiveId" clId="{0E83E319-DD06-42C9-950A-41FC9BC8C8A8}" dt="2018-05-15T16:47:50.279" v="6121" actId="2696"/>
          <pc:sldLayoutMkLst>
            <pc:docMk/>
            <pc:sldMasterMk cId="4147345329" sldId="2147484630"/>
            <pc:sldLayoutMk cId="2044976873" sldId="2147484669"/>
          </pc:sldLayoutMkLst>
        </pc:sldLayoutChg>
      </pc:sldMasterChg>
      <pc:sldMasterChg chg="del delSldLayout">
        <pc:chgData name="Patrick El-Azem" userId="e9a1393194618efd" providerId="LiveId" clId="{0E83E319-DD06-42C9-950A-41FC9BC8C8A8}" dt="2018-05-15T16:47:55.496" v="6144" actId="2696"/>
        <pc:sldMasterMkLst>
          <pc:docMk/>
          <pc:sldMasterMk cId="1483053076" sldId="2147484670"/>
        </pc:sldMasterMkLst>
        <pc:sldLayoutChg chg="del">
          <pc:chgData name="Patrick El-Azem" userId="e9a1393194618efd" providerId="LiveId" clId="{0E83E319-DD06-42C9-950A-41FC9BC8C8A8}" dt="2018-05-15T16:47:55.230" v="6123" actId="2696"/>
          <pc:sldLayoutMkLst>
            <pc:docMk/>
            <pc:sldMasterMk cId="1483053076" sldId="2147484670"/>
            <pc:sldLayoutMk cId="2446199531" sldId="2147484671"/>
          </pc:sldLayoutMkLst>
        </pc:sldLayoutChg>
        <pc:sldLayoutChg chg="del">
          <pc:chgData name="Patrick El-Azem" userId="e9a1393194618efd" providerId="LiveId" clId="{0E83E319-DD06-42C9-950A-41FC9BC8C8A8}" dt="2018-05-15T16:47:55.230" v="6124" actId="2696"/>
          <pc:sldLayoutMkLst>
            <pc:docMk/>
            <pc:sldMasterMk cId="1483053076" sldId="2147484670"/>
            <pc:sldLayoutMk cId="3891864131" sldId="2147484672"/>
          </pc:sldLayoutMkLst>
        </pc:sldLayoutChg>
        <pc:sldLayoutChg chg="del">
          <pc:chgData name="Patrick El-Azem" userId="e9a1393194618efd" providerId="LiveId" clId="{0E83E319-DD06-42C9-950A-41FC9BC8C8A8}" dt="2018-05-15T16:47:55.246" v="6125" actId="2696"/>
          <pc:sldLayoutMkLst>
            <pc:docMk/>
            <pc:sldMasterMk cId="1483053076" sldId="2147484670"/>
            <pc:sldLayoutMk cId="3482999963" sldId="2147484673"/>
          </pc:sldLayoutMkLst>
        </pc:sldLayoutChg>
        <pc:sldLayoutChg chg="del">
          <pc:chgData name="Patrick El-Azem" userId="e9a1393194618efd" providerId="LiveId" clId="{0E83E319-DD06-42C9-950A-41FC9BC8C8A8}" dt="2018-05-15T16:47:55.262" v="6126" actId="2696"/>
          <pc:sldLayoutMkLst>
            <pc:docMk/>
            <pc:sldMasterMk cId="1483053076" sldId="2147484670"/>
            <pc:sldLayoutMk cId="1665379198" sldId="2147484674"/>
          </pc:sldLayoutMkLst>
        </pc:sldLayoutChg>
        <pc:sldLayoutChg chg="del">
          <pc:chgData name="Patrick El-Azem" userId="e9a1393194618efd" providerId="LiveId" clId="{0E83E319-DD06-42C9-950A-41FC9BC8C8A8}" dt="2018-05-15T16:47:55.277" v="6127" actId="2696"/>
          <pc:sldLayoutMkLst>
            <pc:docMk/>
            <pc:sldMasterMk cId="1483053076" sldId="2147484670"/>
            <pc:sldLayoutMk cId="3467400985" sldId="2147484675"/>
          </pc:sldLayoutMkLst>
        </pc:sldLayoutChg>
        <pc:sldLayoutChg chg="del">
          <pc:chgData name="Patrick El-Azem" userId="e9a1393194618efd" providerId="LiveId" clId="{0E83E319-DD06-42C9-950A-41FC9BC8C8A8}" dt="2018-05-15T16:47:55.293" v="6128" actId="2696"/>
          <pc:sldLayoutMkLst>
            <pc:docMk/>
            <pc:sldMasterMk cId="1483053076" sldId="2147484670"/>
            <pc:sldLayoutMk cId="1903728326" sldId="2147484676"/>
          </pc:sldLayoutMkLst>
        </pc:sldLayoutChg>
        <pc:sldLayoutChg chg="del">
          <pc:chgData name="Patrick El-Azem" userId="e9a1393194618efd" providerId="LiveId" clId="{0E83E319-DD06-42C9-950A-41FC9BC8C8A8}" dt="2018-05-15T16:47:55.293" v="6129" actId="2696"/>
          <pc:sldLayoutMkLst>
            <pc:docMk/>
            <pc:sldMasterMk cId="1483053076" sldId="2147484670"/>
            <pc:sldLayoutMk cId="2266261500" sldId="2147484677"/>
          </pc:sldLayoutMkLst>
        </pc:sldLayoutChg>
        <pc:sldLayoutChg chg="del">
          <pc:chgData name="Patrick El-Azem" userId="e9a1393194618efd" providerId="LiveId" clId="{0E83E319-DD06-42C9-950A-41FC9BC8C8A8}" dt="2018-05-15T16:47:55.308" v="6130" actId="2696"/>
          <pc:sldLayoutMkLst>
            <pc:docMk/>
            <pc:sldMasterMk cId="1483053076" sldId="2147484670"/>
            <pc:sldLayoutMk cId="4254622256" sldId="2147484678"/>
          </pc:sldLayoutMkLst>
        </pc:sldLayoutChg>
        <pc:sldLayoutChg chg="del">
          <pc:chgData name="Patrick El-Azem" userId="e9a1393194618efd" providerId="LiveId" clId="{0E83E319-DD06-42C9-950A-41FC9BC8C8A8}" dt="2018-05-15T16:47:55.324" v="6131" actId="2696"/>
          <pc:sldLayoutMkLst>
            <pc:docMk/>
            <pc:sldMasterMk cId="1483053076" sldId="2147484670"/>
            <pc:sldLayoutMk cId="3869939381" sldId="2147484679"/>
          </pc:sldLayoutMkLst>
        </pc:sldLayoutChg>
        <pc:sldLayoutChg chg="del">
          <pc:chgData name="Patrick El-Azem" userId="e9a1393194618efd" providerId="LiveId" clId="{0E83E319-DD06-42C9-950A-41FC9BC8C8A8}" dt="2018-05-15T16:47:55.340" v="6132" actId="2696"/>
          <pc:sldLayoutMkLst>
            <pc:docMk/>
            <pc:sldMasterMk cId="1483053076" sldId="2147484670"/>
            <pc:sldLayoutMk cId="2787041082" sldId="2147484680"/>
          </pc:sldLayoutMkLst>
        </pc:sldLayoutChg>
        <pc:sldLayoutChg chg="del">
          <pc:chgData name="Patrick El-Azem" userId="e9a1393194618efd" providerId="LiveId" clId="{0E83E319-DD06-42C9-950A-41FC9BC8C8A8}" dt="2018-05-15T16:47:55.355" v="6133" actId="2696"/>
          <pc:sldLayoutMkLst>
            <pc:docMk/>
            <pc:sldMasterMk cId="1483053076" sldId="2147484670"/>
            <pc:sldLayoutMk cId="339476095" sldId="2147484681"/>
          </pc:sldLayoutMkLst>
        </pc:sldLayoutChg>
        <pc:sldLayoutChg chg="del">
          <pc:chgData name="Patrick El-Azem" userId="e9a1393194618efd" providerId="LiveId" clId="{0E83E319-DD06-42C9-950A-41FC9BC8C8A8}" dt="2018-05-15T16:47:55.355" v="6134" actId="2696"/>
          <pc:sldLayoutMkLst>
            <pc:docMk/>
            <pc:sldMasterMk cId="1483053076" sldId="2147484670"/>
            <pc:sldLayoutMk cId="3981296972" sldId="2147484682"/>
          </pc:sldLayoutMkLst>
        </pc:sldLayoutChg>
        <pc:sldLayoutChg chg="del">
          <pc:chgData name="Patrick El-Azem" userId="e9a1393194618efd" providerId="LiveId" clId="{0E83E319-DD06-42C9-950A-41FC9BC8C8A8}" dt="2018-05-15T16:47:55.371" v="6135" actId="2696"/>
          <pc:sldLayoutMkLst>
            <pc:docMk/>
            <pc:sldMasterMk cId="1483053076" sldId="2147484670"/>
            <pc:sldLayoutMk cId="1072265735" sldId="2147484683"/>
          </pc:sldLayoutMkLst>
        </pc:sldLayoutChg>
        <pc:sldLayoutChg chg="del">
          <pc:chgData name="Patrick El-Azem" userId="e9a1393194618efd" providerId="LiveId" clId="{0E83E319-DD06-42C9-950A-41FC9BC8C8A8}" dt="2018-05-15T16:47:55.387" v="6136" actId="2696"/>
          <pc:sldLayoutMkLst>
            <pc:docMk/>
            <pc:sldMasterMk cId="1483053076" sldId="2147484670"/>
            <pc:sldLayoutMk cId="791119474" sldId="2147484684"/>
          </pc:sldLayoutMkLst>
        </pc:sldLayoutChg>
        <pc:sldLayoutChg chg="del">
          <pc:chgData name="Patrick El-Azem" userId="e9a1393194618efd" providerId="LiveId" clId="{0E83E319-DD06-42C9-950A-41FC9BC8C8A8}" dt="2018-05-15T16:47:55.402" v="6137" actId="2696"/>
          <pc:sldLayoutMkLst>
            <pc:docMk/>
            <pc:sldMasterMk cId="1483053076" sldId="2147484670"/>
            <pc:sldLayoutMk cId="1833901246" sldId="2147484685"/>
          </pc:sldLayoutMkLst>
        </pc:sldLayoutChg>
        <pc:sldLayoutChg chg="del">
          <pc:chgData name="Patrick El-Azem" userId="e9a1393194618efd" providerId="LiveId" clId="{0E83E319-DD06-42C9-950A-41FC9BC8C8A8}" dt="2018-05-15T16:47:55.418" v="6138" actId="2696"/>
          <pc:sldLayoutMkLst>
            <pc:docMk/>
            <pc:sldMasterMk cId="1483053076" sldId="2147484670"/>
            <pc:sldLayoutMk cId="4163510329" sldId="2147484686"/>
          </pc:sldLayoutMkLst>
        </pc:sldLayoutChg>
        <pc:sldLayoutChg chg="del">
          <pc:chgData name="Patrick El-Azem" userId="e9a1393194618efd" providerId="LiveId" clId="{0E83E319-DD06-42C9-950A-41FC9BC8C8A8}" dt="2018-05-15T16:47:55.418" v="6139" actId="2696"/>
          <pc:sldLayoutMkLst>
            <pc:docMk/>
            <pc:sldMasterMk cId="1483053076" sldId="2147484670"/>
            <pc:sldLayoutMk cId="880728611" sldId="2147484687"/>
          </pc:sldLayoutMkLst>
        </pc:sldLayoutChg>
        <pc:sldLayoutChg chg="del">
          <pc:chgData name="Patrick El-Azem" userId="e9a1393194618efd" providerId="LiveId" clId="{0E83E319-DD06-42C9-950A-41FC9BC8C8A8}" dt="2018-05-15T16:47:55.433" v="6140" actId="2696"/>
          <pc:sldLayoutMkLst>
            <pc:docMk/>
            <pc:sldMasterMk cId="1483053076" sldId="2147484670"/>
            <pc:sldLayoutMk cId="1900674462" sldId="2147484688"/>
          </pc:sldLayoutMkLst>
        </pc:sldLayoutChg>
        <pc:sldLayoutChg chg="del">
          <pc:chgData name="Patrick El-Azem" userId="e9a1393194618efd" providerId="LiveId" clId="{0E83E319-DD06-42C9-950A-41FC9BC8C8A8}" dt="2018-05-15T16:47:55.449" v="6141" actId="2696"/>
          <pc:sldLayoutMkLst>
            <pc:docMk/>
            <pc:sldMasterMk cId="1483053076" sldId="2147484670"/>
            <pc:sldLayoutMk cId="2060863796" sldId="2147484689"/>
          </pc:sldLayoutMkLst>
        </pc:sldLayoutChg>
        <pc:sldLayoutChg chg="del">
          <pc:chgData name="Patrick El-Azem" userId="e9a1393194618efd" providerId="LiveId" clId="{0E83E319-DD06-42C9-950A-41FC9BC8C8A8}" dt="2018-05-15T16:47:55.465" v="6142" actId="2696"/>
          <pc:sldLayoutMkLst>
            <pc:docMk/>
            <pc:sldMasterMk cId="1483053076" sldId="2147484670"/>
            <pc:sldLayoutMk cId="4201362744" sldId="2147484690"/>
          </pc:sldLayoutMkLst>
        </pc:sldLayoutChg>
        <pc:sldLayoutChg chg="del">
          <pc:chgData name="Patrick El-Azem" userId="e9a1393194618efd" providerId="LiveId" clId="{0E83E319-DD06-42C9-950A-41FC9BC8C8A8}" dt="2018-05-15T16:47:55.480" v="6143" actId="2696"/>
          <pc:sldLayoutMkLst>
            <pc:docMk/>
            <pc:sldMasterMk cId="1483053076" sldId="2147484670"/>
            <pc:sldLayoutMk cId="1271296007" sldId="2147484691"/>
          </pc:sldLayoutMkLst>
        </pc:sldLayoutChg>
      </pc:sldMasterChg>
      <pc:sldMasterChg chg="del delSldLayout">
        <pc:chgData name="Patrick El-Azem" userId="e9a1393194618efd" providerId="LiveId" clId="{0E83E319-DD06-42C9-950A-41FC9BC8C8A8}" dt="2018-05-15T16:47:58.925" v="6173" actId="2696"/>
        <pc:sldMasterMkLst>
          <pc:docMk/>
          <pc:sldMasterMk cId="1067498804" sldId="2147484692"/>
        </pc:sldMasterMkLst>
        <pc:sldLayoutChg chg="del">
          <pc:chgData name="Patrick El-Azem" userId="e9a1393194618efd" providerId="LiveId" clId="{0E83E319-DD06-42C9-950A-41FC9BC8C8A8}" dt="2018-05-15T16:47:58.535" v="6145" actId="2696"/>
          <pc:sldLayoutMkLst>
            <pc:docMk/>
            <pc:sldMasterMk cId="1067498804" sldId="2147484692"/>
            <pc:sldLayoutMk cId="2841617931" sldId="2147484693"/>
          </pc:sldLayoutMkLst>
        </pc:sldLayoutChg>
        <pc:sldLayoutChg chg="del">
          <pc:chgData name="Patrick El-Azem" userId="e9a1393194618efd" providerId="LiveId" clId="{0E83E319-DD06-42C9-950A-41FC9BC8C8A8}" dt="2018-05-15T16:47:58.550" v="6146" actId="2696"/>
          <pc:sldLayoutMkLst>
            <pc:docMk/>
            <pc:sldMasterMk cId="1067498804" sldId="2147484692"/>
            <pc:sldLayoutMk cId="1513182646" sldId="2147484694"/>
          </pc:sldLayoutMkLst>
        </pc:sldLayoutChg>
        <pc:sldLayoutChg chg="del">
          <pc:chgData name="Patrick El-Azem" userId="e9a1393194618efd" providerId="LiveId" clId="{0E83E319-DD06-42C9-950A-41FC9BC8C8A8}" dt="2018-05-15T16:47:58.566" v="6147" actId="2696"/>
          <pc:sldLayoutMkLst>
            <pc:docMk/>
            <pc:sldMasterMk cId="1067498804" sldId="2147484692"/>
            <pc:sldLayoutMk cId="3948329376" sldId="2147484695"/>
          </pc:sldLayoutMkLst>
        </pc:sldLayoutChg>
        <pc:sldLayoutChg chg="del">
          <pc:chgData name="Patrick El-Azem" userId="e9a1393194618efd" providerId="LiveId" clId="{0E83E319-DD06-42C9-950A-41FC9BC8C8A8}" dt="2018-05-15T16:47:58.582" v="6148" actId="2696"/>
          <pc:sldLayoutMkLst>
            <pc:docMk/>
            <pc:sldMasterMk cId="1067498804" sldId="2147484692"/>
            <pc:sldLayoutMk cId="2676459614" sldId="2147484696"/>
          </pc:sldLayoutMkLst>
        </pc:sldLayoutChg>
        <pc:sldLayoutChg chg="del">
          <pc:chgData name="Patrick El-Azem" userId="e9a1393194618efd" providerId="LiveId" clId="{0E83E319-DD06-42C9-950A-41FC9BC8C8A8}" dt="2018-05-15T16:47:58.597" v="6149" actId="2696"/>
          <pc:sldLayoutMkLst>
            <pc:docMk/>
            <pc:sldMasterMk cId="1067498804" sldId="2147484692"/>
            <pc:sldLayoutMk cId="3323089448" sldId="2147484697"/>
          </pc:sldLayoutMkLst>
        </pc:sldLayoutChg>
        <pc:sldLayoutChg chg="del">
          <pc:chgData name="Patrick El-Azem" userId="e9a1393194618efd" providerId="LiveId" clId="{0E83E319-DD06-42C9-950A-41FC9BC8C8A8}" dt="2018-05-15T16:47:58.597" v="6150" actId="2696"/>
          <pc:sldLayoutMkLst>
            <pc:docMk/>
            <pc:sldMasterMk cId="1067498804" sldId="2147484692"/>
            <pc:sldLayoutMk cId="3322982092" sldId="2147484698"/>
          </pc:sldLayoutMkLst>
        </pc:sldLayoutChg>
        <pc:sldLayoutChg chg="del">
          <pc:chgData name="Patrick El-Azem" userId="e9a1393194618efd" providerId="LiveId" clId="{0E83E319-DD06-42C9-950A-41FC9BC8C8A8}" dt="2018-05-15T16:47:58.613" v="6151" actId="2696"/>
          <pc:sldLayoutMkLst>
            <pc:docMk/>
            <pc:sldMasterMk cId="1067498804" sldId="2147484692"/>
            <pc:sldLayoutMk cId="2312068460" sldId="2147484699"/>
          </pc:sldLayoutMkLst>
        </pc:sldLayoutChg>
        <pc:sldLayoutChg chg="del">
          <pc:chgData name="Patrick El-Azem" userId="e9a1393194618efd" providerId="LiveId" clId="{0E83E319-DD06-42C9-950A-41FC9BC8C8A8}" dt="2018-05-15T16:47:58.629" v="6152" actId="2696"/>
          <pc:sldLayoutMkLst>
            <pc:docMk/>
            <pc:sldMasterMk cId="1067498804" sldId="2147484692"/>
            <pc:sldLayoutMk cId="1883811656" sldId="2147484700"/>
          </pc:sldLayoutMkLst>
        </pc:sldLayoutChg>
        <pc:sldLayoutChg chg="del">
          <pc:chgData name="Patrick El-Azem" userId="e9a1393194618efd" providerId="LiveId" clId="{0E83E319-DD06-42C9-950A-41FC9BC8C8A8}" dt="2018-05-15T16:47:58.629" v="6153" actId="2696"/>
          <pc:sldLayoutMkLst>
            <pc:docMk/>
            <pc:sldMasterMk cId="1067498804" sldId="2147484692"/>
            <pc:sldLayoutMk cId="552846442" sldId="2147484701"/>
          </pc:sldLayoutMkLst>
        </pc:sldLayoutChg>
        <pc:sldLayoutChg chg="del">
          <pc:chgData name="Patrick El-Azem" userId="e9a1393194618efd" providerId="LiveId" clId="{0E83E319-DD06-42C9-950A-41FC9BC8C8A8}" dt="2018-05-15T16:47:58.660" v="6154" actId="2696"/>
          <pc:sldLayoutMkLst>
            <pc:docMk/>
            <pc:sldMasterMk cId="1067498804" sldId="2147484692"/>
            <pc:sldLayoutMk cId="2426961221" sldId="2147484702"/>
          </pc:sldLayoutMkLst>
        </pc:sldLayoutChg>
        <pc:sldLayoutChg chg="del">
          <pc:chgData name="Patrick El-Azem" userId="e9a1393194618efd" providerId="LiveId" clId="{0E83E319-DD06-42C9-950A-41FC9BC8C8A8}" dt="2018-05-15T16:47:58.660" v="6155" actId="2696"/>
          <pc:sldLayoutMkLst>
            <pc:docMk/>
            <pc:sldMasterMk cId="1067498804" sldId="2147484692"/>
            <pc:sldLayoutMk cId="2853474689" sldId="2147484703"/>
          </pc:sldLayoutMkLst>
        </pc:sldLayoutChg>
        <pc:sldLayoutChg chg="del">
          <pc:chgData name="Patrick El-Azem" userId="e9a1393194618efd" providerId="LiveId" clId="{0E83E319-DD06-42C9-950A-41FC9BC8C8A8}" dt="2018-05-15T16:47:58.675" v="6156" actId="2696"/>
          <pc:sldLayoutMkLst>
            <pc:docMk/>
            <pc:sldMasterMk cId="1067498804" sldId="2147484692"/>
            <pc:sldLayoutMk cId="3875445178" sldId="2147484704"/>
          </pc:sldLayoutMkLst>
        </pc:sldLayoutChg>
        <pc:sldLayoutChg chg="del">
          <pc:chgData name="Patrick El-Azem" userId="e9a1393194618efd" providerId="LiveId" clId="{0E83E319-DD06-42C9-950A-41FC9BC8C8A8}" dt="2018-05-15T16:47:58.691" v="6157" actId="2696"/>
          <pc:sldLayoutMkLst>
            <pc:docMk/>
            <pc:sldMasterMk cId="1067498804" sldId="2147484692"/>
            <pc:sldLayoutMk cId="465774847" sldId="2147484705"/>
          </pc:sldLayoutMkLst>
        </pc:sldLayoutChg>
        <pc:sldLayoutChg chg="del">
          <pc:chgData name="Patrick El-Azem" userId="e9a1393194618efd" providerId="LiveId" clId="{0E83E319-DD06-42C9-950A-41FC9BC8C8A8}" dt="2018-05-15T16:47:58.707" v="6158" actId="2696"/>
          <pc:sldLayoutMkLst>
            <pc:docMk/>
            <pc:sldMasterMk cId="1067498804" sldId="2147484692"/>
            <pc:sldLayoutMk cId="4208227208" sldId="2147484706"/>
          </pc:sldLayoutMkLst>
        </pc:sldLayoutChg>
        <pc:sldLayoutChg chg="del">
          <pc:chgData name="Patrick El-Azem" userId="e9a1393194618efd" providerId="LiveId" clId="{0E83E319-DD06-42C9-950A-41FC9BC8C8A8}" dt="2018-05-15T16:47:58.722" v="6159" actId="2696"/>
          <pc:sldLayoutMkLst>
            <pc:docMk/>
            <pc:sldMasterMk cId="1067498804" sldId="2147484692"/>
            <pc:sldLayoutMk cId="3514171305" sldId="2147484707"/>
          </pc:sldLayoutMkLst>
        </pc:sldLayoutChg>
        <pc:sldLayoutChg chg="del">
          <pc:chgData name="Patrick El-Azem" userId="e9a1393194618efd" providerId="LiveId" clId="{0E83E319-DD06-42C9-950A-41FC9BC8C8A8}" dt="2018-05-15T16:47:58.738" v="6160" actId="2696"/>
          <pc:sldLayoutMkLst>
            <pc:docMk/>
            <pc:sldMasterMk cId="1067498804" sldId="2147484692"/>
            <pc:sldLayoutMk cId="3260469289" sldId="2147484708"/>
          </pc:sldLayoutMkLst>
        </pc:sldLayoutChg>
        <pc:sldLayoutChg chg="del">
          <pc:chgData name="Patrick El-Azem" userId="e9a1393194618efd" providerId="LiveId" clId="{0E83E319-DD06-42C9-950A-41FC9BC8C8A8}" dt="2018-05-15T16:47:58.769" v="6161" actId="2696"/>
          <pc:sldLayoutMkLst>
            <pc:docMk/>
            <pc:sldMasterMk cId="1067498804" sldId="2147484692"/>
            <pc:sldLayoutMk cId="2347534920" sldId="2147484709"/>
          </pc:sldLayoutMkLst>
        </pc:sldLayoutChg>
        <pc:sldLayoutChg chg="del">
          <pc:chgData name="Patrick El-Azem" userId="e9a1393194618efd" providerId="LiveId" clId="{0E83E319-DD06-42C9-950A-41FC9BC8C8A8}" dt="2018-05-15T16:47:58.769" v="6162" actId="2696"/>
          <pc:sldLayoutMkLst>
            <pc:docMk/>
            <pc:sldMasterMk cId="1067498804" sldId="2147484692"/>
            <pc:sldLayoutMk cId="1653169269" sldId="2147484710"/>
          </pc:sldLayoutMkLst>
        </pc:sldLayoutChg>
        <pc:sldLayoutChg chg="del">
          <pc:chgData name="Patrick El-Azem" userId="e9a1393194618efd" providerId="LiveId" clId="{0E83E319-DD06-42C9-950A-41FC9BC8C8A8}" dt="2018-05-15T16:47:58.785" v="6163" actId="2696"/>
          <pc:sldLayoutMkLst>
            <pc:docMk/>
            <pc:sldMasterMk cId="1067498804" sldId="2147484692"/>
            <pc:sldLayoutMk cId="2336259377" sldId="2147484711"/>
          </pc:sldLayoutMkLst>
        </pc:sldLayoutChg>
        <pc:sldLayoutChg chg="del">
          <pc:chgData name="Patrick El-Azem" userId="e9a1393194618efd" providerId="LiveId" clId="{0E83E319-DD06-42C9-950A-41FC9BC8C8A8}" dt="2018-05-15T16:47:58.800" v="6164" actId="2696"/>
          <pc:sldLayoutMkLst>
            <pc:docMk/>
            <pc:sldMasterMk cId="1067498804" sldId="2147484692"/>
            <pc:sldLayoutMk cId="3190853064" sldId="2147484712"/>
          </pc:sldLayoutMkLst>
        </pc:sldLayoutChg>
        <pc:sldLayoutChg chg="del">
          <pc:chgData name="Patrick El-Azem" userId="e9a1393194618efd" providerId="LiveId" clId="{0E83E319-DD06-42C9-950A-41FC9BC8C8A8}" dt="2018-05-15T16:47:58.816" v="6165" actId="2696"/>
          <pc:sldLayoutMkLst>
            <pc:docMk/>
            <pc:sldMasterMk cId="1067498804" sldId="2147484692"/>
            <pc:sldLayoutMk cId="4290157893" sldId="2147484713"/>
          </pc:sldLayoutMkLst>
        </pc:sldLayoutChg>
        <pc:sldLayoutChg chg="del">
          <pc:chgData name="Patrick El-Azem" userId="e9a1393194618efd" providerId="LiveId" clId="{0E83E319-DD06-42C9-950A-41FC9BC8C8A8}" dt="2018-05-15T16:47:58.832" v="6166" actId="2696"/>
          <pc:sldLayoutMkLst>
            <pc:docMk/>
            <pc:sldMasterMk cId="1067498804" sldId="2147484692"/>
            <pc:sldLayoutMk cId="2264590816" sldId="2147484714"/>
          </pc:sldLayoutMkLst>
        </pc:sldLayoutChg>
        <pc:sldLayoutChg chg="del">
          <pc:chgData name="Patrick El-Azem" userId="e9a1393194618efd" providerId="LiveId" clId="{0E83E319-DD06-42C9-950A-41FC9BC8C8A8}" dt="2018-05-15T16:47:58.847" v="6167" actId="2696"/>
          <pc:sldLayoutMkLst>
            <pc:docMk/>
            <pc:sldMasterMk cId="1067498804" sldId="2147484692"/>
            <pc:sldLayoutMk cId="2817927603" sldId="2147484715"/>
          </pc:sldLayoutMkLst>
        </pc:sldLayoutChg>
        <pc:sldLayoutChg chg="del">
          <pc:chgData name="Patrick El-Azem" userId="e9a1393194618efd" providerId="LiveId" clId="{0E83E319-DD06-42C9-950A-41FC9BC8C8A8}" dt="2018-05-15T16:47:58.863" v="6168" actId="2696"/>
          <pc:sldLayoutMkLst>
            <pc:docMk/>
            <pc:sldMasterMk cId="1067498804" sldId="2147484692"/>
            <pc:sldLayoutMk cId="412851761" sldId="2147484716"/>
          </pc:sldLayoutMkLst>
        </pc:sldLayoutChg>
        <pc:sldLayoutChg chg="del">
          <pc:chgData name="Patrick El-Azem" userId="e9a1393194618efd" providerId="LiveId" clId="{0E83E319-DD06-42C9-950A-41FC9BC8C8A8}" dt="2018-05-15T16:47:58.879" v="6169" actId="2696"/>
          <pc:sldLayoutMkLst>
            <pc:docMk/>
            <pc:sldMasterMk cId="1067498804" sldId="2147484692"/>
            <pc:sldLayoutMk cId="3482184049" sldId="2147484717"/>
          </pc:sldLayoutMkLst>
        </pc:sldLayoutChg>
        <pc:sldLayoutChg chg="del">
          <pc:chgData name="Patrick El-Azem" userId="e9a1393194618efd" providerId="LiveId" clId="{0E83E319-DD06-42C9-950A-41FC9BC8C8A8}" dt="2018-05-15T16:47:58.894" v="6170" actId="2696"/>
          <pc:sldLayoutMkLst>
            <pc:docMk/>
            <pc:sldMasterMk cId="1067498804" sldId="2147484692"/>
            <pc:sldLayoutMk cId="1039405621" sldId="2147484718"/>
          </pc:sldLayoutMkLst>
        </pc:sldLayoutChg>
        <pc:sldLayoutChg chg="del">
          <pc:chgData name="Patrick El-Azem" userId="e9a1393194618efd" providerId="LiveId" clId="{0E83E319-DD06-42C9-950A-41FC9BC8C8A8}" dt="2018-05-15T16:47:58.910" v="6171" actId="2696"/>
          <pc:sldLayoutMkLst>
            <pc:docMk/>
            <pc:sldMasterMk cId="1067498804" sldId="2147484692"/>
            <pc:sldLayoutMk cId="1555774218" sldId="2147484719"/>
          </pc:sldLayoutMkLst>
        </pc:sldLayoutChg>
        <pc:sldLayoutChg chg="del">
          <pc:chgData name="Patrick El-Azem" userId="e9a1393194618efd" providerId="LiveId" clId="{0E83E319-DD06-42C9-950A-41FC9BC8C8A8}" dt="2018-05-15T16:47:58.910" v="6172" actId="2696"/>
          <pc:sldLayoutMkLst>
            <pc:docMk/>
            <pc:sldMasterMk cId="1067498804" sldId="2147484692"/>
            <pc:sldLayoutMk cId="1816947546" sldId="2147484720"/>
          </pc:sldLayoutMkLst>
        </pc:sldLayoutChg>
      </pc:sldMasterChg>
      <pc:sldMasterChg chg="del delSldLayout">
        <pc:chgData name="Patrick El-Azem" userId="e9a1393194618efd" providerId="LiveId" clId="{0E83E319-DD06-42C9-950A-41FC9BC8C8A8}" dt="2018-05-15T16:48:02.284" v="6185" actId="2696"/>
        <pc:sldMasterMkLst>
          <pc:docMk/>
          <pc:sldMasterMk cId="4206721029" sldId="2147484721"/>
        </pc:sldMasterMkLst>
        <pc:sldLayoutChg chg="del">
          <pc:chgData name="Patrick El-Azem" userId="e9a1393194618efd" providerId="LiveId" clId="{0E83E319-DD06-42C9-950A-41FC9BC8C8A8}" dt="2018-05-15T16:48:02.112" v="6174" actId="2696"/>
          <pc:sldLayoutMkLst>
            <pc:docMk/>
            <pc:sldMasterMk cId="4206721029" sldId="2147484721"/>
            <pc:sldLayoutMk cId="1607220799" sldId="2147484722"/>
          </pc:sldLayoutMkLst>
        </pc:sldLayoutChg>
        <pc:sldLayoutChg chg="del">
          <pc:chgData name="Patrick El-Azem" userId="e9a1393194618efd" providerId="LiveId" clId="{0E83E319-DD06-42C9-950A-41FC9BC8C8A8}" dt="2018-05-15T16:48:02.128" v="6175" actId="2696"/>
          <pc:sldLayoutMkLst>
            <pc:docMk/>
            <pc:sldMasterMk cId="4206721029" sldId="2147484721"/>
            <pc:sldLayoutMk cId="2712546154" sldId="2147484723"/>
          </pc:sldLayoutMkLst>
        </pc:sldLayoutChg>
        <pc:sldLayoutChg chg="del">
          <pc:chgData name="Patrick El-Azem" userId="e9a1393194618efd" providerId="LiveId" clId="{0E83E319-DD06-42C9-950A-41FC9BC8C8A8}" dt="2018-05-15T16:48:02.143" v="6176" actId="2696"/>
          <pc:sldLayoutMkLst>
            <pc:docMk/>
            <pc:sldMasterMk cId="4206721029" sldId="2147484721"/>
            <pc:sldLayoutMk cId="2863352107" sldId="2147484724"/>
          </pc:sldLayoutMkLst>
        </pc:sldLayoutChg>
        <pc:sldLayoutChg chg="del">
          <pc:chgData name="Patrick El-Azem" userId="e9a1393194618efd" providerId="LiveId" clId="{0E83E319-DD06-42C9-950A-41FC9BC8C8A8}" dt="2018-05-15T16:48:02.159" v="6177" actId="2696"/>
          <pc:sldLayoutMkLst>
            <pc:docMk/>
            <pc:sldMasterMk cId="4206721029" sldId="2147484721"/>
            <pc:sldLayoutMk cId="4260122304" sldId="2147484725"/>
          </pc:sldLayoutMkLst>
        </pc:sldLayoutChg>
        <pc:sldLayoutChg chg="del">
          <pc:chgData name="Patrick El-Azem" userId="e9a1393194618efd" providerId="LiveId" clId="{0E83E319-DD06-42C9-950A-41FC9BC8C8A8}" dt="2018-05-15T16:48:02.159" v="6178" actId="2696"/>
          <pc:sldLayoutMkLst>
            <pc:docMk/>
            <pc:sldMasterMk cId="4206721029" sldId="2147484721"/>
            <pc:sldLayoutMk cId="703030550" sldId="2147484726"/>
          </pc:sldLayoutMkLst>
        </pc:sldLayoutChg>
        <pc:sldLayoutChg chg="del">
          <pc:chgData name="Patrick El-Azem" userId="e9a1393194618efd" providerId="LiveId" clId="{0E83E319-DD06-42C9-950A-41FC9BC8C8A8}" dt="2018-05-15T16:48:02.175" v="6179" actId="2696"/>
          <pc:sldLayoutMkLst>
            <pc:docMk/>
            <pc:sldMasterMk cId="4206721029" sldId="2147484721"/>
            <pc:sldLayoutMk cId="3689423249" sldId="2147484727"/>
          </pc:sldLayoutMkLst>
        </pc:sldLayoutChg>
        <pc:sldLayoutChg chg="del">
          <pc:chgData name="Patrick El-Azem" userId="e9a1393194618efd" providerId="LiveId" clId="{0E83E319-DD06-42C9-950A-41FC9BC8C8A8}" dt="2018-05-15T16:48:02.190" v="6180" actId="2696"/>
          <pc:sldLayoutMkLst>
            <pc:docMk/>
            <pc:sldMasterMk cId="4206721029" sldId="2147484721"/>
            <pc:sldLayoutMk cId="1611933978" sldId="2147484728"/>
          </pc:sldLayoutMkLst>
        </pc:sldLayoutChg>
        <pc:sldLayoutChg chg="del">
          <pc:chgData name="Patrick El-Azem" userId="e9a1393194618efd" providerId="LiveId" clId="{0E83E319-DD06-42C9-950A-41FC9BC8C8A8}" dt="2018-05-15T16:48:02.206" v="6181" actId="2696"/>
          <pc:sldLayoutMkLst>
            <pc:docMk/>
            <pc:sldMasterMk cId="4206721029" sldId="2147484721"/>
            <pc:sldLayoutMk cId="3260466958" sldId="2147484729"/>
          </pc:sldLayoutMkLst>
        </pc:sldLayoutChg>
        <pc:sldLayoutChg chg="del">
          <pc:chgData name="Patrick El-Azem" userId="e9a1393194618efd" providerId="LiveId" clId="{0E83E319-DD06-42C9-950A-41FC9BC8C8A8}" dt="2018-05-15T16:48:02.221" v="6182" actId="2696"/>
          <pc:sldLayoutMkLst>
            <pc:docMk/>
            <pc:sldMasterMk cId="4206721029" sldId="2147484721"/>
            <pc:sldLayoutMk cId="270576385" sldId="2147484730"/>
          </pc:sldLayoutMkLst>
        </pc:sldLayoutChg>
        <pc:sldLayoutChg chg="del">
          <pc:chgData name="Patrick El-Azem" userId="e9a1393194618efd" providerId="LiveId" clId="{0E83E319-DD06-42C9-950A-41FC9BC8C8A8}" dt="2018-05-15T16:48:02.253" v="6183" actId="2696"/>
          <pc:sldLayoutMkLst>
            <pc:docMk/>
            <pc:sldMasterMk cId="4206721029" sldId="2147484721"/>
            <pc:sldLayoutMk cId="2423981170" sldId="2147484731"/>
          </pc:sldLayoutMkLst>
        </pc:sldLayoutChg>
        <pc:sldLayoutChg chg="del">
          <pc:chgData name="Patrick El-Azem" userId="e9a1393194618efd" providerId="LiveId" clId="{0E83E319-DD06-42C9-950A-41FC9BC8C8A8}" dt="2018-05-15T16:48:02.268" v="6184" actId="2696"/>
          <pc:sldLayoutMkLst>
            <pc:docMk/>
            <pc:sldMasterMk cId="4206721029" sldId="2147484721"/>
            <pc:sldLayoutMk cId="2530920245" sldId="2147484732"/>
          </pc:sldLayoutMkLst>
        </pc:sldLayoutChg>
      </pc:sldMasterChg>
      <pc:sldMasterChg chg="del delSldLayout">
        <pc:chgData name="Patrick El-Azem" userId="e9a1393194618efd" providerId="LiveId" clId="{0E83E319-DD06-42C9-950A-41FC9BC8C8A8}" dt="2018-05-15T16:48:05.627" v="6214" actId="2696"/>
        <pc:sldMasterMkLst>
          <pc:docMk/>
          <pc:sldMasterMk cId="1164852240" sldId="2147484733"/>
        </pc:sldMasterMkLst>
        <pc:sldLayoutChg chg="del">
          <pc:chgData name="Patrick El-Azem" userId="e9a1393194618efd" providerId="LiveId" clId="{0E83E319-DD06-42C9-950A-41FC9BC8C8A8}" dt="2018-05-15T16:48:05.283" v="6186" actId="2696"/>
          <pc:sldLayoutMkLst>
            <pc:docMk/>
            <pc:sldMasterMk cId="1164852240" sldId="2147484733"/>
            <pc:sldLayoutMk cId="4145938266" sldId="2147484734"/>
          </pc:sldLayoutMkLst>
        </pc:sldLayoutChg>
        <pc:sldLayoutChg chg="del">
          <pc:chgData name="Patrick El-Azem" userId="e9a1393194618efd" providerId="LiveId" clId="{0E83E319-DD06-42C9-950A-41FC9BC8C8A8}" dt="2018-05-15T16:48:05.299" v="6187" actId="2696"/>
          <pc:sldLayoutMkLst>
            <pc:docMk/>
            <pc:sldMasterMk cId="1164852240" sldId="2147484733"/>
            <pc:sldLayoutMk cId="4147952551" sldId="2147484735"/>
          </pc:sldLayoutMkLst>
        </pc:sldLayoutChg>
        <pc:sldLayoutChg chg="del">
          <pc:chgData name="Patrick El-Azem" userId="e9a1393194618efd" providerId="LiveId" clId="{0E83E319-DD06-42C9-950A-41FC9BC8C8A8}" dt="2018-05-15T16:48:05.314" v="6188" actId="2696"/>
          <pc:sldLayoutMkLst>
            <pc:docMk/>
            <pc:sldMasterMk cId="1164852240" sldId="2147484733"/>
            <pc:sldLayoutMk cId="293877355" sldId="2147484736"/>
          </pc:sldLayoutMkLst>
        </pc:sldLayoutChg>
        <pc:sldLayoutChg chg="del">
          <pc:chgData name="Patrick El-Azem" userId="e9a1393194618efd" providerId="LiveId" clId="{0E83E319-DD06-42C9-950A-41FC9BC8C8A8}" dt="2018-05-15T16:48:05.314" v="6189" actId="2696"/>
          <pc:sldLayoutMkLst>
            <pc:docMk/>
            <pc:sldMasterMk cId="1164852240" sldId="2147484733"/>
            <pc:sldLayoutMk cId="1649969419" sldId="2147484737"/>
          </pc:sldLayoutMkLst>
        </pc:sldLayoutChg>
        <pc:sldLayoutChg chg="del">
          <pc:chgData name="Patrick El-Azem" userId="e9a1393194618efd" providerId="LiveId" clId="{0E83E319-DD06-42C9-950A-41FC9BC8C8A8}" dt="2018-05-15T16:48:05.330" v="6190" actId="2696"/>
          <pc:sldLayoutMkLst>
            <pc:docMk/>
            <pc:sldMasterMk cId="1164852240" sldId="2147484733"/>
            <pc:sldLayoutMk cId="702888916" sldId="2147484738"/>
          </pc:sldLayoutMkLst>
        </pc:sldLayoutChg>
        <pc:sldLayoutChg chg="del">
          <pc:chgData name="Patrick El-Azem" userId="e9a1393194618efd" providerId="LiveId" clId="{0E83E319-DD06-42C9-950A-41FC9BC8C8A8}" dt="2018-05-15T16:48:05.346" v="6191" actId="2696"/>
          <pc:sldLayoutMkLst>
            <pc:docMk/>
            <pc:sldMasterMk cId="1164852240" sldId="2147484733"/>
            <pc:sldLayoutMk cId="2567393363" sldId="2147484739"/>
          </pc:sldLayoutMkLst>
        </pc:sldLayoutChg>
        <pc:sldLayoutChg chg="del">
          <pc:chgData name="Patrick El-Azem" userId="e9a1393194618efd" providerId="LiveId" clId="{0E83E319-DD06-42C9-950A-41FC9BC8C8A8}" dt="2018-05-15T16:48:05.361" v="6192" actId="2696"/>
          <pc:sldLayoutMkLst>
            <pc:docMk/>
            <pc:sldMasterMk cId="1164852240" sldId="2147484733"/>
            <pc:sldLayoutMk cId="1796570285" sldId="2147484740"/>
          </pc:sldLayoutMkLst>
        </pc:sldLayoutChg>
        <pc:sldLayoutChg chg="del">
          <pc:chgData name="Patrick El-Azem" userId="e9a1393194618efd" providerId="LiveId" clId="{0E83E319-DD06-42C9-950A-41FC9BC8C8A8}" dt="2018-05-15T16:48:05.361" v="6193" actId="2696"/>
          <pc:sldLayoutMkLst>
            <pc:docMk/>
            <pc:sldMasterMk cId="1164852240" sldId="2147484733"/>
            <pc:sldLayoutMk cId="1483021286" sldId="2147484741"/>
          </pc:sldLayoutMkLst>
        </pc:sldLayoutChg>
        <pc:sldLayoutChg chg="del">
          <pc:chgData name="Patrick El-Azem" userId="e9a1393194618efd" providerId="LiveId" clId="{0E83E319-DD06-42C9-950A-41FC9BC8C8A8}" dt="2018-05-15T16:48:05.377" v="6194" actId="2696"/>
          <pc:sldLayoutMkLst>
            <pc:docMk/>
            <pc:sldMasterMk cId="1164852240" sldId="2147484733"/>
            <pc:sldLayoutMk cId="4007173819" sldId="2147484742"/>
          </pc:sldLayoutMkLst>
        </pc:sldLayoutChg>
        <pc:sldLayoutChg chg="del">
          <pc:chgData name="Patrick El-Azem" userId="e9a1393194618efd" providerId="LiveId" clId="{0E83E319-DD06-42C9-950A-41FC9BC8C8A8}" dt="2018-05-15T16:48:05.393" v="6195" actId="2696"/>
          <pc:sldLayoutMkLst>
            <pc:docMk/>
            <pc:sldMasterMk cId="1164852240" sldId="2147484733"/>
            <pc:sldLayoutMk cId="3025264311" sldId="2147484743"/>
          </pc:sldLayoutMkLst>
        </pc:sldLayoutChg>
        <pc:sldLayoutChg chg="del">
          <pc:chgData name="Patrick El-Azem" userId="e9a1393194618efd" providerId="LiveId" clId="{0E83E319-DD06-42C9-950A-41FC9BC8C8A8}" dt="2018-05-15T16:48:05.408" v="6196" actId="2696"/>
          <pc:sldLayoutMkLst>
            <pc:docMk/>
            <pc:sldMasterMk cId="1164852240" sldId="2147484733"/>
            <pc:sldLayoutMk cId="3541825196" sldId="2147484744"/>
          </pc:sldLayoutMkLst>
        </pc:sldLayoutChg>
        <pc:sldLayoutChg chg="del">
          <pc:chgData name="Patrick El-Azem" userId="e9a1393194618efd" providerId="LiveId" clId="{0E83E319-DD06-42C9-950A-41FC9BC8C8A8}" dt="2018-05-15T16:48:05.424" v="6197" actId="2696"/>
          <pc:sldLayoutMkLst>
            <pc:docMk/>
            <pc:sldMasterMk cId="1164852240" sldId="2147484733"/>
            <pc:sldLayoutMk cId="4224793186" sldId="2147484745"/>
          </pc:sldLayoutMkLst>
        </pc:sldLayoutChg>
        <pc:sldLayoutChg chg="del">
          <pc:chgData name="Patrick El-Azem" userId="e9a1393194618efd" providerId="LiveId" clId="{0E83E319-DD06-42C9-950A-41FC9BC8C8A8}" dt="2018-05-15T16:48:05.439" v="6198" actId="2696"/>
          <pc:sldLayoutMkLst>
            <pc:docMk/>
            <pc:sldMasterMk cId="1164852240" sldId="2147484733"/>
            <pc:sldLayoutMk cId="114351428" sldId="2147484746"/>
          </pc:sldLayoutMkLst>
        </pc:sldLayoutChg>
        <pc:sldLayoutChg chg="del">
          <pc:chgData name="Patrick El-Azem" userId="e9a1393194618efd" providerId="LiveId" clId="{0E83E319-DD06-42C9-950A-41FC9BC8C8A8}" dt="2018-05-15T16:48:05.439" v="6199" actId="2696"/>
          <pc:sldLayoutMkLst>
            <pc:docMk/>
            <pc:sldMasterMk cId="1164852240" sldId="2147484733"/>
            <pc:sldLayoutMk cId="3058143207" sldId="2147484747"/>
          </pc:sldLayoutMkLst>
        </pc:sldLayoutChg>
        <pc:sldLayoutChg chg="del">
          <pc:chgData name="Patrick El-Azem" userId="e9a1393194618efd" providerId="LiveId" clId="{0E83E319-DD06-42C9-950A-41FC9BC8C8A8}" dt="2018-05-15T16:48:05.455" v="6200" actId="2696"/>
          <pc:sldLayoutMkLst>
            <pc:docMk/>
            <pc:sldMasterMk cId="1164852240" sldId="2147484733"/>
            <pc:sldLayoutMk cId="2169011917" sldId="2147484748"/>
          </pc:sldLayoutMkLst>
        </pc:sldLayoutChg>
        <pc:sldLayoutChg chg="del">
          <pc:chgData name="Patrick El-Azem" userId="e9a1393194618efd" providerId="LiveId" clId="{0E83E319-DD06-42C9-950A-41FC9BC8C8A8}" dt="2018-05-15T16:48:05.455" v="6201" actId="2696"/>
          <pc:sldLayoutMkLst>
            <pc:docMk/>
            <pc:sldMasterMk cId="1164852240" sldId="2147484733"/>
            <pc:sldLayoutMk cId="3810548304" sldId="2147484749"/>
          </pc:sldLayoutMkLst>
        </pc:sldLayoutChg>
        <pc:sldLayoutChg chg="del">
          <pc:chgData name="Patrick El-Azem" userId="e9a1393194618efd" providerId="LiveId" clId="{0E83E319-DD06-42C9-950A-41FC9BC8C8A8}" dt="2018-05-15T16:48:05.471" v="6202" actId="2696"/>
          <pc:sldLayoutMkLst>
            <pc:docMk/>
            <pc:sldMasterMk cId="1164852240" sldId="2147484733"/>
            <pc:sldLayoutMk cId="3111801035" sldId="2147484750"/>
          </pc:sldLayoutMkLst>
        </pc:sldLayoutChg>
        <pc:sldLayoutChg chg="del">
          <pc:chgData name="Patrick El-Azem" userId="e9a1393194618efd" providerId="LiveId" clId="{0E83E319-DD06-42C9-950A-41FC9BC8C8A8}" dt="2018-05-15T16:48:05.486" v="6203" actId="2696"/>
          <pc:sldLayoutMkLst>
            <pc:docMk/>
            <pc:sldMasterMk cId="1164852240" sldId="2147484733"/>
            <pc:sldLayoutMk cId="3551614571" sldId="2147484751"/>
          </pc:sldLayoutMkLst>
        </pc:sldLayoutChg>
        <pc:sldLayoutChg chg="del">
          <pc:chgData name="Patrick El-Azem" userId="e9a1393194618efd" providerId="LiveId" clId="{0E83E319-DD06-42C9-950A-41FC9BC8C8A8}" dt="2018-05-15T16:48:05.502" v="6204" actId="2696"/>
          <pc:sldLayoutMkLst>
            <pc:docMk/>
            <pc:sldMasterMk cId="1164852240" sldId="2147484733"/>
            <pc:sldLayoutMk cId="1227457389" sldId="2147484752"/>
          </pc:sldLayoutMkLst>
        </pc:sldLayoutChg>
        <pc:sldLayoutChg chg="del">
          <pc:chgData name="Patrick El-Azem" userId="e9a1393194618efd" providerId="LiveId" clId="{0E83E319-DD06-42C9-950A-41FC9BC8C8A8}" dt="2018-05-15T16:48:05.502" v="6205" actId="2696"/>
          <pc:sldLayoutMkLst>
            <pc:docMk/>
            <pc:sldMasterMk cId="1164852240" sldId="2147484733"/>
            <pc:sldLayoutMk cId="2190949363" sldId="2147484753"/>
          </pc:sldLayoutMkLst>
        </pc:sldLayoutChg>
        <pc:sldLayoutChg chg="del">
          <pc:chgData name="Patrick El-Azem" userId="e9a1393194618efd" providerId="LiveId" clId="{0E83E319-DD06-42C9-950A-41FC9BC8C8A8}" dt="2018-05-15T16:48:05.518" v="6206" actId="2696"/>
          <pc:sldLayoutMkLst>
            <pc:docMk/>
            <pc:sldMasterMk cId="1164852240" sldId="2147484733"/>
            <pc:sldLayoutMk cId="1080655208" sldId="2147484755"/>
          </pc:sldLayoutMkLst>
        </pc:sldLayoutChg>
        <pc:sldLayoutChg chg="del">
          <pc:chgData name="Patrick El-Azem" userId="e9a1393194618efd" providerId="LiveId" clId="{0E83E319-DD06-42C9-950A-41FC9BC8C8A8}" dt="2018-05-15T16:48:05.533" v="6207" actId="2696"/>
          <pc:sldLayoutMkLst>
            <pc:docMk/>
            <pc:sldMasterMk cId="1164852240" sldId="2147484733"/>
            <pc:sldLayoutMk cId="2427424154" sldId="2147484756"/>
          </pc:sldLayoutMkLst>
        </pc:sldLayoutChg>
        <pc:sldLayoutChg chg="del">
          <pc:chgData name="Patrick El-Azem" userId="e9a1393194618efd" providerId="LiveId" clId="{0E83E319-DD06-42C9-950A-41FC9BC8C8A8}" dt="2018-05-15T16:48:05.549" v="6208" actId="2696"/>
          <pc:sldLayoutMkLst>
            <pc:docMk/>
            <pc:sldMasterMk cId="1164852240" sldId="2147484733"/>
            <pc:sldLayoutMk cId="2248562135" sldId="2147484757"/>
          </pc:sldLayoutMkLst>
        </pc:sldLayoutChg>
        <pc:sldLayoutChg chg="del">
          <pc:chgData name="Patrick El-Azem" userId="e9a1393194618efd" providerId="LiveId" clId="{0E83E319-DD06-42C9-950A-41FC9BC8C8A8}" dt="2018-05-15T16:48:05.549" v="6209" actId="2696"/>
          <pc:sldLayoutMkLst>
            <pc:docMk/>
            <pc:sldMasterMk cId="1164852240" sldId="2147484733"/>
            <pc:sldLayoutMk cId="568010386" sldId="2147484758"/>
          </pc:sldLayoutMkLst>
        </pc:sldLayoutChg>
        <pc:sldLayoutChg chg="del">
          <pc:chgData name="Patrick El-Azem" userId="e9a1393194618efd" providerId="LiveId" clId="{0E83E319-DD06-42C9-950A-41FC9BC8C8A8}" dt="2018-05-15T16:48:05.564" v="6210" actId="2696"/>
          <pc:sldLayoutMkLst>
            <pc:docMk/>
            <pc:sldMasterMk cId="1164852240" sldId="2147484733"/>
            <pc:sldLayoutMk cId="69550012" sldId="2147484759"/>
          </pc:sldLayoutMkLst>
        </pc:sldLayoutChg>
        <pc:sldLayoutChg chg="del">
          <pc:chgData name="Patrick El-Azem" userId="e9a1393194618efd" providerId="LiveId" clId="{0E83E319-DD06-42C9-950A-41FC9BC8C8A8}" dt="2018-05-15T16:48:05.580" v="6211" actId="2696"/>
          <pc:sldLayoutMkLst>
            <pc:docMk/>
            <pc:sldMasterMk cId="1164852240" sldId="2147484733"/>
            <pc:sldLayoutMk cId="901698769" sldId="2147484760"/>
          </pc:sldLayoutMkLst>
        </pc:sldLayoutChg>
        <pc:sldLayoutChg chg="del">
          <pc:chgData name="Patrick El-Azem" userId="e9a1393194618efd" providerId="LiveId" clId="{0E83E319-DD06-42C9-950A-41FC9BC8C8A8}" dt="2018-05-15T16:48:05.596" v="6212" actId="2696"/>
          <pc:sldLayoutMkLst>
            <pc:docMk/>
            <pc:sldMasterMk cId="1164852240" sldId="2147484733"/>
            <pc:sldLayoutMk cId="2382118783" sldId="2147484761"/>
          </pc:sldLayoutMkLst>
        </pc:sldLayoutChg>
        <pc:sldLayoutChg chg="del">
          <pc:chgData name="Patrick El-Azem" userId="e9a1393194618efd" providerId="LiveId" clId="{0E83E319-DD06-42C9-950A-41FC9BC8C8A8}" dt="2018-05-15T16:48:05.611" v="6213" actId="2696"/>
          <pc:sldLayoutMkLst>
            <pc:docMk/>
            <pc:sldMasterMk cId="1164852240" sldId="2147484733"/>
            <pc:sldLayoutMk cId="3819743128" sldId="2147484762"/>
          </pc:sldLayoutMkLst>
        </pc:sldLayoutChg>
      </pc:sldMasterChg>
      <pc:sldMasterChg chg="del delSldLayout">
        <pc:chgData name="Patrick El-Azem" userId="e9a1393194618efd" providerId="LiveId" clId="{0E83E319-DD06-42C9-950A-41FC9BC8C8A8}" dt="2018-05-15T16:48:09.626" v="6238" actId="2696"/>
        <pc:sldMasterMkLst>
          <pc:docMk/>
          <pc:sldMasterMk cId="3444953996" sldId="2147484763"/>
        </pc:sldMasterMkLst>
        <pc:sldLayoutChg chg="del">
          <pc:chgData name="Patrick El-Azem" userId="e9a1393194618efd" providerId="LiveId" clId="{0E83E319-DD06-42C9-950A-41FC9BC8C8A8}" dt="2018-05-15T16:48:09.345" v="6215" actId="2696"/>
          <pc:sldLayoutMkLst>
            <pc:docMk/>
            <pc:sldMasterMk cId="3444953996" sldId="2147484763"/>
            <pc:sldLayoutMk cId="4115668216" sldId="2147484764"/>
          </pc:sldLayoutMkLst>
        </pc:sldLayoutChg>
        <pc:sldLayoutChg chg="del">
          <pc:chgData name="Patrick El-Azem" userId="e9a1393194618efd" providerId="LiveId" clId="{0E83E319-DD06-42C9-950A-41FC9BC8C8A8}" dt="2018-05-15T16:48:09.360" v="6216" actId="2696"/>
          <pc:sldLayoutMkLst>
            <pc:docMk/>
            <pc:sldMasterMk cId="3444953996" sldId="2147484763"/>
            <pc:sldLayoutMk cId="1994585854" sldId="2147484765"/>
          </pc:sldLayoutMkLst>
        </pc:sldLayoutChg>
        <pc:sldLayoutChg chg="del">
          <pc:chgData name="Patrick El-Azem" userId="e9a1393194618efd" providerId="LiveId" clId="{0E83E319-DD06-42C9-950A-41FC9BC8C8A8}" dt="2018-05-15T16:48:09.376" v="6217" actId="2696"/>
          <pc:sldLayoutMkLst>
            <pc:docMk/>
            <pc:sldMasterMk cId="3444953996" sldId="2147484763"/>
            <pc:sldLayoutMk cId="1777910289" sldId="2147484766"/>
          </pc:sldLayoutMkLst>
        </pc:sldLayoutChg>
        <pc:sldLayoutChg chg="del">
          <pc:chgData name="Patrick El-Azem" userId="e9a1393194618efd" providerId="LiveId" clId="{0E83E319-DD06-42C9-950A-41FC9BC8C8A8}" dt="2018-05-15T16:48:09.392" v="6218" actId="2696"/>
          <pc:sldLayoutMkLst>
            <pc:docMk/>
            <pc:sldMasterMk cId="3444953996" sldId="2147484763"/>
            <pc:sldLayoutMk cId="766014812" sldId="2147484767"/>
          </pc:sldLayoutMkLst>
        </pc:sldLayoutChg>
        <pc:sldLayoutChg chg="del">
          <pc:chgData name="Patrick El-Azem" userId="e9a1393194618efd" providerId="LiveId" clId="{0E83E319-DD06-42C9-950A-41FC9BC8C8A8}" dt="2018-05-15T16:48:09.407" v="6219" actId="2696"/>
          <pc:sldLayoutMkLst>
            <pc:docMk/>
            <pc:sldMasterMk cId="3444953996" sldId="2147484763"/>
            <pc:sldLayoutMk cId="1277959624" sldId="2147484768"/>
          </pc:sldLayoutMkLst>
        </pc:sldLayoutChg>
        <pc:sldLayoutChg chg="del">
          <pc:chgData name="Patrick El-Azem" userId="e9a1393194618efd" providerId="LiveId" clId="{0E83E319-DD06-42C9-950A-41FC9BC8C8A8}" dt="2018-05-15T16:48:09.407" v="6220" actId="2696"/>
          <pc:sldLayoutMkLst>
            <pc:docMk/>
            <pc:sldMasterMk cId="3444953996" sldId="2147484763"/>
            <pc:sldLayoutMk cId="1344793588" sldId="2147484769"/>
          </pc:sldLayoutMkLst>
        </pc:sldLayoutChg>
        <pc:sldLayoutChg chg="del">
          <pc:chgData name="Patrick El-Azem" userId="e9a1393194618efd" providerId="LiveId" clId="{0E83E319-DD06-42C9-950A-41FC9BC8C8A8}" dt="2018-05-15T16:48:09.423" v="6221" actId="2696"/>
          <pc:sldLayoutMkLst>
            <pc:docMk/>
            <pc:sldMasterMk cId="3444953996" sldId="2147484763"/>
            <pc:sldLayoutMk cId="1356759697" sldId="2147484770"/>
          </pc:sldLayoutMkLst>
        </pc:sldLayoutChg>
        <pc:sldLayoutChg chg="del">
          <pc:chgData name="Patrick El-Azem" userId="e9a1393194618efd" providerId="LiveId" clId="{0E83E319-DD06-42C9-950A-41FC9BC8C8A8}" dt="2018-05-15T16:48:09.439" v="6222" actId="2696"/>
          <pc:sldLayoutMkLst>
            <pc:docMk/>
            <pc:sldMasterMk cId="3444953996" sldId="2147484763"/>
            <pc:sldLayoutMk cId="3738078988" sldId="2147484771"/>
          </pc:sldLayoutMkLst>
        </pc:sldLayoutChg>
        <pc:sldLayoutChg chg="del">
          <pc:chgData name="Patrick El-Azem" userId="e9a1393194618efd" providerId="LiveId" clId="{0E83E319-DD06-42C9-950A-41FC9BC8C8A8}" dt="2018-05-15T16:48:09.454" v="6223" actId="2696"/>
          <pc:sldLayoutMkLst>
            <pc:docMk/>
            <pc:sldMasterMk cId="3444953996" sldId="2147484763"/>
            <pc:sldLayoutMk cId="1487537072" sldId="2147484772"/>
          </pc:sldLayoutMkLst>
        </pc:sldLayoutChg>
        <pc:sldLayoutChg chg="del">
          <pc:chgData name="Patrick El-Azem" userId="e9a1393194618efd" providerId="LiveId" clId="{0E83E319-DD06-42C9-950A-41FC9BC8C8A8}" dt="2018-05-15T16:48:09.454" v="6224" actId="2696"/>
          <pc:sldLayoutMkLst>
            <pc:docMk/>
            <pc:sldMasterMk cId="3444953996" sldId="2147484763"/>
            <pc:sldLayoutMk cId="3954378067" sldId="2147484773"/>
          </pc:sldLayoutMkLst>
        </pc:sldLayoutChg>
        <pc:sldLayoutChg chg="del">
          <pc:chgData name="Patrick El-Azem" userId="e9a1393194618efd" providerId="LiveId" clId="{0E83E319-DD06-42C9-950A-41FC9BC8C8A8}" dt="2018-05-15T16:48:09.470" v="6225" actId="2696"/>
          <pc:sldLayoutMkLst>
            <pc:docMk/>
            <pc:sldMasterMk cId="3444953996" sldId="2147484763"/>
            <pc:sldLayoutMk cId="1865019809" sldId="2147484774"/>
          </pc:sldLayoutMkLst>
        </pc:sldLayoutChg>
        <pc:sldLayoutChg chg="del">
          <pc:chgData name="Patrick El-Azem" userId="e9a1393194618efd" providerId="LiveId" clId="{0E83E319-DD06-42C9-950A-41FC9BC8C8A8}" dt="2018-05-15T16:48:09.485" v="6226" actId="2696"/>
          <pc:sldLayoutMkLst>
            <pc:docMk/>
            <pc:sldMasterMk cId="3444953996" sldId="2147484763"/>
            <pc:sldLayoutMk cId="2287627654" sldId="2147484775"/>
          </pc:sldLayoutMkLst>
        </pc:sldLayoutChg>
        <pc:sldLayoutChg chg="del">
          <pc:chgData name="Patrick El-Azem" userId="e9a1393194618efd" providerId="LiveId" clId="{0E83E319-DD06-42C9-950A-41FC9BC8C8A8}" dt="2018-05-15T16:48:09.501" v="6227" actId="2696"/>
          <pc:sldLayoutMkLst>
            <pc:docMk/>
            <pc:sldMasterMk cId="3444953996" sldId="2147484763"/>
            <pc:sldLayoutMk cId="132945854" sldId="2147484776"/>
          </pc:sldLayoutMkLst>
        </pc:sldLayoutChg>
        <pc:sldLayoutChg chg="del">
          <pc:chgData name="Patrick El-Azem" userId="e9a1393194618efd" providerId="LiveId" clId="{0E83E319-DD06-42C9-950A-41FC9BC8C8A8}" dt="2018-05-15T16:48:09.517" v="6228" actId="2696"/>
          <pc:sldLayoutMkLst>
            <pc:docMk/>
            <pc:sldMasterMk cId="3444953996" sldId="2147484763"/>
            <pc:sldLayoutMk cId="3909580828" sldId="2147484777"/>
          </pc:sldLayoutMkLst>
        </pc:sldLayoutChg>
        <pc:sldLayoutChg chg="del">
          <pc:chgData name="Patrick El-Azem" userId="e9a1393194618efd" providerId="LiveId" clId="{0E83E319-DD06-42C9-950A-41FC9BC8C8A8}" dt="2018-05-15T16:48:09.517" v="6229" actId="2696"/>
          <pc:sldLayoutMkLst>
            <pc:docMk/>
            <pc:sldMasterMk cId="3444953996" sldId="2147484763"/>
            <pc:sldLayoutMk cId="1067751951" sldId="2147484778"/>
          </pc:sldLayoutMkLst>
        </pc:sldLayoutChg>
        <pc:sldLayoutChg chg="del">
          <pc:chgData name="Patrick El-Azem" userId="e9a1393194618efd" providerId="LiveId" clId="{0E83E319-DD06-42C9-950A-41FC9BC8C8A8}" dt="2018-05-15T16:48:09.532" v="6230" actId="2696"/>
          <pc:sldLayoutMkLst>
            <pc:docMk/>
            <pc:sldMasterMk cId="3444953996" sldId="2147484763"/>
            <pc:sldLayoutMk cId="46558752" sldId="2147484779"/>
          </pc:sldLayoutMkLst>
        </pc:sldLayoutChg>
        <pc:sldLayoutChg chg="del">
          <pc:chgData name="Patrick El-Azem" userId="e9a1393194618efd" providerId="LiveId" clId="{0E83E319-DD06-42C9-950A-41FC9BC8C8A8}" dt="2018-05-15T16:48:09.548" v="6231" actId="2696"/>
          <pc:sldLayoutMkLst>
            <pc:docMk/>
            <pc:sldMasterMk cId="3444953996" sldId="2147484763"/>
            <pc:sldLayoutMk cId="361670744" sldId="2147484780"/>
          </pc:sldLayoutMkLst>
        </pc:sldLayoutChg>
        <pc:sldLayoutChg chg="del">
          <pc:chgData name="Patrick El-Azem" userId="e9a1393194618efd" providerId="LiveId" clId="{0E83E319-DD06-42C9-950A-41FC9BC8C8A8}" dt="2018-05-15T16:48:09.563" v="6232" actId="2696"/>
          <pc:sldLayoutMkLst>
            <pc:docMk/>
            <pc:sldMasterMk cId="3444953996" sldId="2147484763"/>
            <pc:sldLayoutMk cId="2762112612" sldId="2147484781"/>
          </pc:sldLayoutMkLst>
        </pc:sldLayoutChg>
        <pc:sldLayoutChg chg="del">
          <pc:chgData name="Patrick El-Azem" userId="e9a1393194618efd" providerId="LiveId" clId="{0E83E319-DD06-42C9-950A-41FC9BC8C8A8}" dt="2018-05-15T16:48:09.563" v="6233" actId="2696"/>
          <pc:sldLayoutMkLst>
            <pc:docMk/>
            <pc:sldMasterMk cId="3444953996" sldId="2147484763"/>
            <pc:sldLayoutMk cId="4034357164" sldId="2147484782"/>
          </pc:sldLayoutMkLst>
        </pc:sldLayoutChg>
        <pc:sldLayoutChg chg="del">
          <pc:chgData name="Patrick El-Azem" userId="e9a1393194618efd" providerId="LiveId" clId="{0E83E319-DD06-42C9-950A-41FC9BC8C8A8}" dt="2018-05-15T16:48:09.579" v="6234" actId="2696"/>
          <pc:sldLayoutMkLst>
            <pc:docMk/>
            <pc:sldMasterMk cId="3444953996" sldId="2147484763"/>
            <pc:sldLayoutMk cId="3254403830" sldId="2147484783"/>
          </pc:sldLayoutMkLst>
        </pc:sldLayoutChg>
        <pc:sldLayoutChg chg="del">
          <pc:chgData name="Patrick El-Azem" userId="e9a1393194618efd" providerId="LiveId" clId="{0E83E319-DD06-42C9-950A-41FC9BC8C8A8}" dt="2018-05-15T16:48:09.595" v="6235" actId="2696"/>
          <pc:sldLayoutMkLst>
            <pc:docMk/>
            <pc:sldMasterMk cId="3444953996" sldId="2147484763"/>
            <pc:sldLayoutMk cId="3040431835" sldId="2147484784"/>
          </pc:sldLayoutMkLst>
        </pc:sldLayoutChg>
        <pc:sldLayoutChg chg="del">
          <pc:chgData name="Patrick El-Azem" userId="e9a1393194618efd" providerId="LiveId" clId="{0E83E319-DD06-42C9-950A-41FC9BC8C8A8}" dt="2018-05-15T16:48:09.610" v="6236" actId="2696"/>
          <pc:sldLayoutMkLst>
            <pc:docMk/>
            <pc:sldMasterMk cId="3444953996" sldId="2147484763"/>
            <pc:sldLayoutMk cId="1875106569" sldId="2147484785"/>
          </pc:sldLayoutMkLst>
        </pc:sldLayoutChg>
        <pc:sldLayoutChg chg="del">
          <pc:chgData name="Patrick El-Azem" userId="e9a1393194618efd" providerId="LiveId" clId="{0E83E319-DD06-42C9-950A-41FC9BC8C8A8}" dt="2018-05-15T16:48:09.626" v="6237" actId="2696"/>
          <pc:sldLayoutMkLst>
            <pc:docMk/>
            <pc:sldMasterMk cId="3444953996" sldId="2147484763"/>
            <pc:sldLayoutMk cId="1276409248" sldId="2147484786"/>
          </pc:sldLayoutMkLst>
        </pc:sldLayoutChg>
      </pc:sldMasterChg>
      <pc:sldMasterChg chg="del delSldLayout">
        <pc:chgData name="Patrick El-Azem" userId="e9a1393194618efd" providerId="LiveId" clId="{0E83E319-DD06-42C9-950A-41FC9BC8C8A8}" dt="2018-05-15T16:48:13.859" v="6264" actId="2696"/>
        <pc:sldMasterMkLst>
          <pc:docMk/>
          <pc:sldMasterMk cId="1488516550" sldId="2147484788"/>
        </pc:sldMasterMkLst>
        <pc:sldLayoutChg chg="del">
          <pc:chgData name="Patrick El-Azem" userId="e9a1393194618efd" providerId="LiveId" clId="{0E83E319-DD06-42C9-950A-41FC9BC8C8A8}" dt="2018-05-15T16:48:13.594" v="6239" actId="2696"/>
          <pc:sldLayoutMkLst>
            <pc:docMk/>
            <pc:sldMasterMk cId="1488516550" sldId="2147484788"/>
            <pc:sldLayoutMk cId="2078228207" sldId="2147484789"/>
          </pc:sldLayoutMkLst>
        </pc:sldLayoutChg>
        <pc:sldLayoutChg chg="del">
          <pc:chgData name="Patrick El-Azem" userId="e9a1393194618efd" providerId="LiveId" clId="{0E83E319-DD06-42C9-950A-41FC9BC8C8A8}" dt="2018-05-15T16:48:13.609" v="6240" actId="2696"/>
          <pc:sldLayoutMkLst>
            <pc:docMk/>
            <pc:sldMasterMk cId="1488516550" sldId="2147484788"/>
            <pc:sldLayoutMk cId="4110687103" sldId="2147484790"/>
          </pc:sldLayoutMkLst>
        </pc:sldLayoutChg>
        <pc:sldLayoutChg chg="del">
          <pc:chgData name="Patrick El-Azem" userId="e9a1393194618efd" providerId="LiveId" clId="{0E83E319-DD06-42C9-950A-41FC9BC8C8A8}" dt="2018-05-15T16:48:13.625" v="6241" actId="2696"/>
          <pc:sldLayoutMkLst>
            <pc:docMk/>
            <pc:sldMasterMk cId="1488516550" sldId="2147484788"/>
            <pc:sldLayoutMk cId="3425146157" sldId="2147484791"/>
          </pc:sldLayoutMkLst>
        </pc:sldLayoutChg>
        <pc:sldLayoutChg chg="del">
          <pc:chgData name="Patrick El-Azem" userId="e9a1393194618efd" providerId="LiveId" clId="{0E83E319-DD06-42C9-950A-41FC9BC8C8A8}" dt="2018-05-15T16:48:13.641" v="6242" actId="2696"/>
          <pc:sldLayoutMkLst>
            <pc:docMk/>
            <pc:sldMasterMk cId="1488516550" sldId="2147484788"/>
            <pc:sldLayoutMk cId="3922317906" sldId="2147484792"/>
          </pc:sldLayoutMkLst>
        </pc:sldLayoutChg>
        <pc:sldLayoutChg chg="del">
          <pc:chgData name="Patrick El-Azem" userId="e9a1393194618efd" providerId="LiveId" clId="{0E83E319-DD06-42C9-950A-41FC9BC8C8A8}" dt="2018-05-15T16:48:13.641" v="6243" actId="2696"/>
          <pc:sldLayoutMkLst>
            <pc:docMk/>
            <pc:sldMasterMk cId="1488516550" sldId="2147484788"/>
            <pc:sldLayoutMk cId="3590958494" sldId="2147484793"/>
          </pc:sldLayoutMkLst>
        </pc:sldLayoutChg>
        <pc:sldLayoutChg chg="del">
          <pc:chgData name="Patrick El-Azem" userId="e9a1393194618efd" providerId="LiveId" clId="{0E83E319-DD06-42C9-950A-41FC9BC8C8A8}" dt="2018-05-15T16:48:13.656" v="6244" actId="2696"/>
          <pc:sldLayoutMkLst>
            <pc:docMk/>
            <pc:sldMasterMk cId="1488516550" sldId="2147484788"/>
            <pc:sldLayoutMk cId="601418469" sldId="2147484794"/>
          </pc:sldLayoutMkLst>
        </pc:sldLayoutChg>
        <pc:sldLayoutChg chg="del">
          <pc:chgData name="Patrick El-Azem" userId="e9a1393194618efd" providerId="LiveId" clId="{0E83E319-DD06-42C9-950A-41FC9BC8C8A8}" dt="2018-05-15T16:48:13.656" v="6245" actId="2696"/>
          <pc:sldLayoutMkLst>
            <pc:docMk/>
            <pc:sldMasterMk cId="1488516550" sldId="2147484788"/>
            <pc:sldLayoutMk cId="1123971506" sldId="2147484795"/>
          </pc:sldLayoutMkLst>
        </pc:sldLayoutChg>
        <pc:sldLayoutChg chg="del">
          <pc:chgData name="Patrick El-Azem" userId="e9a1393194618efd" providerId="LiveId" clId="{0E83E319-DD06-42C9-950A-41FC9BC8C8A8}" dt="2018-05-15T16:48:13.672" v="6246" actId="2696"/>
          <pc:sldLayoutMkLst>
            <pc:docMk/>
            <pc:sldMasterMk cId="1488516550" sldId="2147484788"/>
            <pc:sldLayoutMk cId="3428312084" sldId="2147484796"/>
          </pc:sldLayoutMkLst>
        </pc:sldLayoutChg>
        <pc:sldLayoutChg chg="del">
          <pc:chgData name="Patrick El-Azem" userId="e9a1393194618efd" providerId="LiveId" clId="{0E83E319-DD06-42C9-950A-41FC9BC8C8A8}" dt="2018-05-15T16:48:13.672" v="6247" actId="2696"/>
          <pc:sldLayoutMkLst>
            <pc:docMk/>
            <pc:sldMasterMk cId="1488516550" sldId="2147484788"/>
            <pc:sldLayoutMk cId="1960464967" sldId="2147484797"/>
          </pc:sldLayoutMkLst>
        </pc:sldLayoutChg>
        <pc:sldLayoutChg chg="del">
          <pc:chgData name="Patrick El-Azem" userId="e9a1393194618efd" providerId="LiveId" clId="{0E83E319-DD06-42C9-950A-41FC9BC8C8A8}" dt="2018-05-15T16:48:13.688" v="6248" actId="2696"/>
          <pc:sldLayoutMkLst>
            <pc:docMk/>
            <pc:sldMasterMk cId="1488516550" sldId="2147484788"/>
            <pc:sldLayoutMk cId="3705605830" sldId="2147484798"/>
          </pc:sldLayoutMkLst>
        </pc:sldLayoutChg>
        <pc:sldLayoutChg chg="del">
          <pc:chgData name="Patrick El-Azem" userId="e9a1393194618efd" providerId="LiveId" clId="{0E83E319-DD06-42C9-950A-41FC9BC8C8A8}" dt="2018-05-15T16:48:13.703" v="6249" actId="2696"/>
          <pc:sldLayoutMkLst>
            <pc:docMk/>
            <pc:sldMasterMk cId="1488516550" sldId="2147484788"/>
            <pc:sldLayoutMk cId="4077975528" sldId="2147484799"/>
          </pc:sldLayoutMkLst>
        </pc:sldLayoutChg>
        <pc:sldLayoutChg chg="del">
          <pc:chgData name="Patrick El-Azem" userId="e9a1393194618efd" providerId="LiveId" clId="{0E83E319-DD06-42C9-950A-41FC9BC8C8A8}" dt="2018-05-15T16:48:13.703" v="6250" actId="2696"/>
          <pc:sldLayoutMkLst>
            <pc:docMk/>
            <pc:sldMasterMk cId="1488516550" sldId="2147484788"/>
            <pc:sldLayoutMk cId="3733414710" sldId="2147484800"/>
          </pc:sldLayoutMkLst>
        </pc:sldLayoutChg>
        <pc:sldLayoutChg chg="del">
          <pc:chgData name="Patrick El-Azem" userId="e9a1393194618efd" providerId="LiveId" clId="{0E83E319-DD06-42C9-950A-41FC9BC8C8A8}" dt="2018-05-15T16:48:13.719" v="6251" actId="2696"/>
          <pc:sldLayoutMkLst>
            <pc:docMk/>
            <pc:sldMasterMk cId="1488516550" sldId="2147484788"/>
            <pc:sldLayoutMk cId="2370843642" sldId="2147484801"/>
          </pc:sldLayoutMkLst>
        </pc:sldLayoutChg>
        <pc:sldLayoutChg chg="del">
          <pc:chgData name="Patrick El-Azem" userId="e9a1393194618efd" providerId="LiveId" clId="{0E83E319-DD06-42C9-950A-41FC9BC8C8A8}" dt="2018-05-15T16:48:13.719" v="6252" actId="2696"/>
          <pc:sldLayoutMkLst>
            <pc:docMk/>
            <pc:sldMasterMk cId="1488516550" sldId="2147484788"/>
            <pc:sldLayoutMk cId="1169211280" sldId="2147484802"/>
          </pc:sldLayoutMkLst>
        </pc:sldLayoutChg>
        <pc:sldLayoutChg chg="del">
          <pc:chgData name="Patrick El-Azem" userId="e9a1393194618efd" providerId="LiveId" clId="{0E83E319-DD06-42C9-950A-41FC9BC8C8A8}" dt="2018-05-15T16:48:13.734" v="6253" actId="2696"/>
          <pc:sldLayoutMkLst>
            <pc:docMk/>
            <pc:sldMasterMk cId="1488516550" sldId="2147484788"/>
            <pc:sldLayoutMk cId="2280248725" sldId="2147484803"/>
          </pc:sldLayoutMkLst>
        </pc:sldLayoutChg>
        <pc:sldLayoutChg chg="del">
          <pc:chgData name="Patrick El-Azem" userId="e9a1393194618efd" providerId="LiveId" clId="{0E83E319-DD06-42C9-950A-41FC9BC8C8A8}" dt="2018-05-15T16:48:13.750" v="6254" actId="2696"/>
          <pc:sldLayoutMkLst>
            <pc:docMk/>
            <pc:sldMasterMk cId="1488516550" sldId="2147484788"/>
            <pc:sldLayoutMk cId="4106702083" sldId="2147484804"/>
          </pc:sldLayoutMkLst>
        </pc:sldLayoutChg>
        <pc:sldLayoutChg chg="del">
          <pc:chgData name="Patrick El-Azem" userId="e9a1393194618efd" providerId="LiveId" clId="{0E83E319-DD06-42C9-950A-41FC9BC8C8A8}" dt="2018-05-15T16:48:13.750" v="6255" actId="2696"/>
          <pc:sldLayoutMkLst>
            <pc:docMk/>
            <pc:sldMasterMk cId="1488516550" sldId="2147484788"/>
            <pc:sldLayoutMk cId="3025143579" sldId="2147484805"/>
          </pc:sldLayoutMkLst>
        </pc:sldLayoutChg>
        <pc:sldLayoutChg chg="del">
          <pc:chgData name="Patrick El-Azem" userId="e9a1393194618efd" providerId="LiveId" clId="{0E83E319-DD06-42C9-950A-41FC9BC8C8A8}" dt="2018-05-15T16:48:13.766" v="6256" actId="2696"/>
          <pc:sldLayoutMkLst>
            <pc:docMk/>
            <pc:sldMasterMk cId="1488516550" sldId="2147484788"/>
            <pc:sldLayoutMk cId="2177705178" sldId="2147484806"/>
          </pc:sldLayoutMkLst>
        </pc:sldLayoutChg>
        <pc:sldLayoutChg chg="del">
          <pc:chgData name="Patrick El-Azem" userId="e9a1393194618efd" providerId="LiveId" clId="{0E83E319-DD06-42C9-950A-41FC9BC8C8A8}" dt="2018-05-15T16:48:13.766" v="6257" actId="2696"/>
          <pc:sldLayoutMkLst>
            <pc:docMk/>
            <pc:sldMasterMk cId="1488516550" sldId="2147484788"/>
            <pc:sldLayoutMk cId="3413557651" sldId="2147484807"/>
          </pc:sldLayoutMkLst>
        </pc:sldLayoutChg>
        <pc:sldLayoutChg chg="del">
          <pc:chgData name="Patrick El-Azem" userId="e9a1393194618efd" providerId="LiveId" clId="{0E83E319-DD06-42C9-950A-41FC9BC8C8A8}" dt="2018-05-15T16:48:13.766" v="6258" actId="2696"/>
          <pc:sldLayoutMkLst>
            <pc:docMk/>
            <pc:sldMasterMk cId="1488516550" sldId="2147484788"/>
            <pc:sldLayoutMk cId="943838725" sldId="2147484808"/>
          </pc:sldLayoutMkLst>
        </pc:sldLayoutChg>
        <pc:sldLayoutChg chg="del">
          <pc:chgData name="Patrick El-Azem" userId="e9a1393194618efd" providerId="LiveId" clId="{0E83E319-DD06-42C9-950A-41FC9BC8C8A8}" dt="2018-05-15T16:48:13.781" v="6259" actId="2696"/>
          <pc:sldLayoutMkLst>
            <pc:docMk/>
            <pc:sldMasterMk cId="1488516550" sldId="2147484788"/>
            <pc:sldLayoutMk cId="905274563" sldId="2147484809"/>
          </pc:sldLayoutMkLst>
        </pc:sldLayoutChg>
        <pc:sldLayoutChg chg="del">
          <pc:chgData name="Patrick El-Azem" userId="e9a1393194618efd" providerId="LiveId" clId="{0E83E319-DD06-42C9-950A-41FC9BC8C8A8}" dt="2018-05-15T16:48:13.797" v="6260" actId="2696"/>
          <pc:sldLayoutMkLst>
            <pc:docMk/>
            <pc:sldMasterMk cId="1488516550" sldId="2147484788"/>
            <pc:sldLayoutMk cId="3632884683" sldId="2147484810"/>
          </pc:sldLayoutMkLst>
        </pc:sldLayoutChg>
        <pc:sldLayoutChg chg="del">
          <pc:chgData name="Patrick El-Azem" userId="e9a1393194618efd" providerId="LiveId" clId="{0E83E319-DD06-42C9-950A-41FC9BC8C8A8}" dt="2018-05-15T16:48:13.812" v="6261" actId="2696"/>
          <pc:sldLayoutMkLst>
            <pc:docMk/>
            <pc:sldMasterMk cId="1488516550" sldId="2147484788"/>
            <pc:sldLayoutMk cId="3382352203" sldId="2147484811"/>
          </pc:sldLayoutMkLst>
        </pc:sldLayoutChg>
        <pc:sldLayoutChg chg="del">
          <pc:chgData name="Patrick El-Azem" userId="e9a1393194618efd" providerId="LiveId" clId="{0E83E319-DD06-42C9-950A-41FC9BC8C8A8}" dt="2018-05-15T16:48:13.844" v="6262" actId="2696"/>
          <pc:sldLayoutMkLst>
            <pc:docMk/>
            <pc:sldMasterMk cId="1488516550" sldId="2147484788"/>
            <pc:sldLayoutMk cId="2279019405" sldId="2147484812"/>
          </pc:sldLayoutMkLst>
        </pc:sldLayoutChg>
        <pc:sldLayoutChg chg="del">
          <pc:chgData name="Patrick El-Azem" userId="e9a1393194618efd" providerId="LiveId" clId="{0E83E319-DD06-42C9-950A-41FC9BC8C8A8}" dt="2018-05-15T16:48:13.844" v="6263" actId="2696"/>
          <pc:sldLayoutMkLst>
            <pc:docMk/>
            <pc:sldMasterMk cId="1488516550" sldId="2147484788"/>
            <pc:sldLayoutMk cId="2792922080" sldId="2147484813"/>
          </pc:sldLayoutMkLst>
        </pc:sldLayoutChg>
      </pc:sldMasterChg>
      <pc:sldMasterChg chg="del delSldLayout">
        <pc:chgData name="Patrick El-Azem" userId="e9a1393194618efd" providerId="LiveId" clId="{0E83E319-DD06-42C9-950A-41FC9BC8C8A8}" dt="2018-05-15T16:48:17.944" v="6289" actId="2696"/>
        <pc:sldMasterMkLst>
          <pc:docMk/>
          <pc:sldMasterMk cId="3909622373" sldId="2147484839"/>
        </pc:sldMasterMkLst>
        <pc:sldLayoutChg chg="del">
          <pc:chgData name="Patrick El-Azem" userId="e9a1393194618efd" providerId="LiveId" clId="{0E83E319-DD06-42C9-950A-41FC9BC8C8A8}" dt="2018-05-15T16:48:17.694" v="6265" actId="2696"/>
          <pc:sldLayoutMkLst>
            <pc:docMk/>
            <pc:sldMasterMk cId="3909622373" sldId="2147484839"/>
            <pc:sldLayoutMk cId="3794400475" sldId="2147484840"/>
          </pc:sldLayoutMkLst>
        </pc:sldLayoutChg>
        <pc:sldLayoutChg chg="del">
          <pc:chgData name="Patrick El-Azem" userId="e9a1393194618efd" providerId="LiveId" clId="{0E83E319-DD06-42C9-950A-41FC9BC8C8A8}" dt="2018-05-15T16:48:17.694" v="6266" actId="2696"/>
          <pc:sldLayoutMkLst>
            <pc:docMk/>
            <pc:sldMasterMk cId="3909622373" sldId="2147484839"/>
            <pc:sldLayoutMk cId="1760553871" sldId="2147484841"/>
          </pc:sldLayoutMkLst>
        </pc:sldLayoutChg>
        <pc:sldLayoutChg chg="del">
          <pc:chgData name="Patrick El-Azem" userId="e9a1393194618efd" providerId="LiveId" clId="{0E83E319-DD06-42C9-950A-41FC9BC8C8A8}" dt="2018-05-15T16:48:17.709" v="6267" actId="2696"/>
          <pc:sldLayoutMkLst>
            <pc:docMk/>
            <pc:sldMasterMk cId="3909622373" sldId="2147484839"/>
            <pc:sldLayoutMk cId="1565677811" sldId="2147484842"/>
          </pc:sldLayoutMkLst>
        </pc:sldLayoutChg>
        <pc:sldLayoutChg chg="del">
          <pc:chgData name="Patrick El-Azem" userId="e9a1393194618efd" providerId="LiveId" clId="{0E83E319-DD06-42C9-950A-41FC9BC8C8A8}" dt="2018-05-15T16:48:17.725" v="6268" actId="2696"/>
          <pc:sldLayoutMkLst>
            <pc:docMk/>
            <pc:sldMasterMk cId="3909622373" sldId="2147484839"/>
            <pc:sldLayoutMk cId="4063437003" sldId="2147484843"/>
          </pc:sldLayoutMkLst>
        </pc:sldLayoutChg>
        <pc:sldLayoutChg chg="del">
          <pc:chgData name="Patrick El-Azem" userId="e9a1393194618efd" providerId="LiveId" clId="{0E83E319-DD06-42C9-950A-41FC9BC8C8A8}" dt="2018-05-15T16:48:17.741" v="6269" actId="2696"/>
          <pc:sldLayoutMkLst>
            <pc:docMk/>
            <pc:sldMasterMk cId="3909622373" sldId="2147484839"/>
            <pc:sldLayoutMk cId="1652343894" sldId="2147484844"/>
          </pc:sldLayoutMkLst>
        </pc:sldLayoutChg>
        <pc:sldLayoutChg chg="del">
          <pc:chgData name="Patrick El-Azem" userId="e9a1393194618efd" providerId="LiveId" clId="{0E83E319-DD06-42C9-950A-41FC9BC8C8A8}" dt="2018-05-15T16:48:17.741" v="6270" actId="2696"/>
          <pc:sldLayoutMkLst>
            <pc:docMk/>
            <pc:sldMasterMk cId="3909622373" sldId="2147484839"/>
            <pc:sldLayoutMk cId="722290711" sldId="2147484845"/>
          </pc:sldLayoutMkLst>
        </pc:sldLayoutChg>
        <pc:sldLayoutChg chg="del">
          <pc:chgData name="Patrick El-Azem" userId="e9a1393194618efd" providerId="LiveId" clId="{0E83E319-DD06-42C9-950A-41FC9BC8C8A8}" dt="2018-05-15T16:48:17.756" v="6271" actId="2696"/>
          <pc:sldLayoutMkLst>
            <pc:docMk/>
            <pc:sldMasterMk cId="3909622373" sldId="2147484839"/>
            <pc:sldLayoutMk cId="3480817860" sldId="2147484846"/>
          </pc:sldLayoutMkLst>
        </pc:sldLayoutChg>
        <pc:sldLayoutChg chg="del">
          <pc:chgData name="Patrick El-Azem" userId="e9a1393194618efd" providerId="LiveId" clId="{0E83E319-DD06-42C9-950A-41FC9BC8C8A8}" dt="2018-05-15T16:48:17.772" v="6272" actId="2696"/>
          <pc:sldLayoutMkLst>
            <pc:docMk/>
            <pc:sldMasterMk cId="3909622373" sldId="2147484839"/>
            <pc:sldLayoutMk cId="1080875053" sldId="2147484847"/>
          </pc:sldLayoutMkLst>
        </pc:sldLayoutChg>
        <pc:sldLayoutChg chg="del">
          <pc:chgData name="Patrick El-Azem" userId="e9a1393194618efd" providerId="LiveId" clId="{0E83E319-DD06-42C9-950A-41FC9BC8C8A8}" dt="2018-05-15T16:48:17.788" v="6273" actId="2696"/>
          <pc:sldLayoutMkLst>
            <pc:docMk/>
            <pc:sldMasterMk cId="3909622373" sldId="2147484839"/>
            <pc:sldLayoutMk cId="2369979004" sldId="2147484848"/>
          </pc:sldLayoutMkLst>
        </pc:sldLayoutChg>
        <pc:sldLayoutChg chg="del">
          <pc:chgData name="Patrick El-Azem" userId="e9a1393194618efd" providerId="LiveId" clId="{0E83E319-DD06-42C9-950A-41FC9BC8C8A8}" dt="2018-05-15T16:48:17.788" v="6274" actId="2696"/>
          <pc:sldLayoutMkLst>
            <pc:docMk/>
            <pc:sldMasterMk cId="3909622373" sldId="2147484839"/>
            <pc:sldLayoutMk cId="587708272" sldId="2147484849"/>
          </pc:sldLayoutMkLst>
        </pc:sldLayoutChg>
        <pc:sldLayoutChg chg="del">
          <pc:chgData name="Patrick El-Azem" userId="e9a1393194618efd" providerId="LiveId" clId="{0E83E319-DD06-42C9-950A-41FC9BC8C8A8}" dt="2018-05-15T16:48:17.803" v="6275" actId="2696"/>
          <pc:sldLayoutMkLst>
            <pc:docMk/>
            <pc:sldMasterMk cId="3909622373" sldId="2147484839"/>
            <pc:sldLayoutMk cId="3364220019" sldId="2147484850"/>
          </pc:sldLayoutMkLst>
        </pc:sldLayoutChg>
        <pc:sldLayoutChg chg="del">
          <pc:chgData name="Patrick El-Azem" userId="e9a1393194618efd" providerId="LiveId" clId="{0E83E319-DD06-42C9-950A-41FC9BC8C8A8}" dt="2018-05-15T16:48:17.803" v="6276" actId="2696"/>
          <pc:sldLayoutMkLst>
            <pc:docMk/>
            <pc:sldMasterMk cId="3909622373" sldId="2147484839"/>
            <pc:sldLayoutMk cId="2765882038" sldId="2147484851"/>
          </pc:sldLayoutMkLst>
        </pc:sldLayoutChg>
        <pc:sldLayoutChg chg="del">
          <pc:chgData name="Patrick El-Azem" userId="e9a1393194618efd" providerId="LiveId" clId="{0E83E319-DD06-42C9-950A-41FC9BC8C8A8}" dt="2018-05-15T16:48:17.819" v="6277" actId="2696"/>
          <pc:sldLayoutMkLst>
            <pc:docMk/>
            <pc:sldMasterMk cId="3909622373" sldId="2147484839"/>
            <pc:sldLayoutMk cId="465354932" sldId="2147484852"/>
          </pc:sldLayoutMkLst>
        </pc:sldLayoutChg>
        <pc:sldLayoutChg chg="del">
          <pc:chgData name="Patrick El-Azem" userId="e9a1393194618efd" providerId="LiveId" clId="{0E83E319-DD06-42C9-950A-41FC9BC8C8A8}" dt="2018-05-15T16:48:17.834" v="6278" actId="2696"/>
          <pc:sldLayoutMkLst>
            <pc:docMk/>
            <pc:sldMasterMk cId="3909622373" sldId="2147484839"/>
            <pc:sldLayoutMk cId="29597562" sldId="2147484853"/>
          </pc:sldLayoutMkLst>
        </pc:sldLayoutChg>
        <pc:sldLayoutChg chg="del">
          <pc:chgData name="Patrick El-Azem" userId="e9a1393194618efd" providerId="LiveId" clId="{0E83E319-DD06-42C9-950A-41FC9BC8C8A8}" dt="2018-05-15T16:48:17.834" v="6279" actId="2696"/>
          <pc:sldLayoutMkLst>
            <pc:docMk/>
            <pc:sldMasterMk cId="3909622373" sldId="2147484839"/>
            <pc:sldLayoutMk cId="1054781385" sldId="2147484854"/>
          </pc:sldLayoutMkLst>
        </pc:sldLayoutChg>
        <pc:sldLayoutChg chg="del">
          <pc:chgData name="Patrick El-Azem" userId="e9a1393194618efd" providerId="LiveId" clId="{0E83E319-DD06-42C9-950A-41FC9BC8C8A8}" dt="2018-05-15T16:48:17.850" v="6280" actId="2696"/>
          <pc:sldLayoutMkLst>
            <pc:docMk/>
            <pc:sldMasterMk cId="3909622373" sldId="2147484839"/>
            <pc:sldLayoutMk cId="1221062372" sldId="2147484855"/>
          </pc:sldLayoutMkLst>
        </pc:sldLayoutChg>
        <pc:sldLayoutChg chg="del">
          <pc:chgData name="Patrick El-Azem" userId="e9a1393194618efd" providerId="LiveId" clId="{0E83E319-DD06-42C9-950A-41FC9BC8C8A8}" dt="2018-05-15T16:48:17.850" v="6281" actId="2696"/>
          <pc:sldLayoutMkLst>
            <pc:docMk/>
            <pc:sldMasterMk cId="3909622373" sldId="2147484839"/>
            <pc:sldLayoutMk cId="1776210931" sldId="2147484856"/>
          </pc:sldLayoutMkLst>
        </pc:sldLayoutChg>
        <pc:sldLayoutChg chg="del">
          <pc:chgData name="Patrick El-Azem" userId="e9a1393194618efd" providerId="LiveId" clId="{0E83E319-DD06-42C9-950A-41FC9BC8C8A8}" dt="2018-05-15T16:48:17.866" v="6282" actId="2696"/>
          <pc:sldLayoutMkLst>
            <pc:docMk/>
            <pc:sldMasterMk cId="3909622373" sldId="2147484839"/>
            <pc:sldLayoutMk cId="3366975869" sldId="2147484857"/>
          </pc:sldLayoutMkLst>
        </pc:sldLayoutChg>
        <pc:sldLayoutChg chg="del">
          <pc:chgData name="Patrick El-Azem" userId="e9a1393194618efd" providerId="LiveId" clId="{0E83E319-DD06-42C9-950A-41FC9BC8C8A8}" dt="2018-05-15T16:48:17.881" v="6283" actId="2696"/>
          <pc:sldLayoutMkLst>
            <pc:docMk/>
            <pc:sldMasterMk cId="3909622373" sldId="2147484839"/>
            <pc:sldLayoutMk cId="3402762070" sldId="2147484858"/>
          </pc:sldLayoutMkLst>
        </pc:sldLayoutChg>
        <pc:sldLayoutChg chg="del">
          <pc:chgData name="Patrick El-Azem" userId="e9a1393194618efd" providerId="LiveId" clId="{0E83E319-DD06-42C9-950A-41FC9BC8C8A8}" dt="2018-05-15T16:48:17.881" v="6284" actId="2696"/>
          <pc:sldLayoutMkLst>
            <pc:docMk/>
            <pc:sldMasterMk cId="3909622373" sldId="2147484839"/>
            <pc:sldLayoutMk cId="59757335" sldId="2147484859"/>
          </pc:sldLayoutMkLst>
        </pc:sldLayoutChg>
        <pc:sldLayoutChg chg="del">
          <pc:chgData name="Patrick El-Azem" userId="e9a1393194618efd" providerId="LiveId" clId="{0E83E319-DD06-42C9-950A-41FC9BC8C8A8}" dt="2018-05-15T16:48:17.897" v="6285" actId="2696"/>
          <pc:sldLayoutMkLst>
            <pc:docMk/>
            <pc:sldMasterMk cId="3909622373" sldId="2147484839"/>
            <pc:sldLayoutMk cId="2113601966" sldId="2147484860"/>
          </pc:sldLayoutMkLst>
        </pc:sldLayoutChg>
        <pc:sldLayoutChg chg="del">
          <pc:chgData name="Patrick El-Azem" userId="e9a1393194618efd" providerId="LiveId" clId="{0E83E319-DD06-42C9-950A-41FC9BC8C8A8}" dt="2018-05-15T16:48:17.913" v="6286" actId="2696"/>
          <pc:sldLayoutMkLst>
            <pc:docMk/>
            <pc:sldMasterMk cId="3909622373" sldId="2147484839"/>
            <pc:sldLayoutMk cId="1319805151" sldId="2147484861"/>
          </pc:sldLayoutMkLst>
        </pc:sldLayoutChg>
        <pc:sldLayoutChg chg="del">
          <pc:chgData name="Patrick El-Azem" userId="e9a1393194618efd" providerId="LiveId" clId="{0E83E319-DD06-42C9-950A-41FC9BC8C8A8}" dt="2018-05-15T16:48:17.928" v="6287" actId="2696"/>
          <pc:sldLayoutMkLst>
            <pc:docMk/>
            <pc:sldMasterMk cId="3909622373" sldId="2147484839"/>
            <pc:sldLayoutMk cId="1699810345" sldId="2147484862"/>
          </pc:sldLayoutMkLst>
        </pc:sldLayoutChg>
        <pc:sldLayoutChg chg="del">
          <pc:chgData name="Patrick El-Azem" userId="e9a1393194618efd" providerId="LiveId" clId="{0E83E319-DD06-42C9-950A-41FC9BC8C8A8}" dt="2018-05-15T16:48:17.944" v="6288" actId="2696"/>
          <pc:sldLayoutMkLst>
            <pc:docMk/>
            <pc:sldMasterMk cId="3909622373" sldId="2147484839"/>
            <pc:sldLayoutMk cId="652138875" sldId="2147484863"/>
          </pc:sldLayoutMkLst>
        </pc:sldLayoutChg>
      </pc:sldMasterChg>
      <pc:sldMasterChg chg="del delSldLayout">
        <pc:chgData name="Patrick El-Azem" userId="e9a1393194618efd" providerId="LiveId" clId="{0E83E319-DD06-42C9-950A-41FC9BC8C8A8}" dt="2018-05-15T16:48:22.099" v="6315" actId="2696"/>
        <pc:sldMasterMkLst>
          <pc:docMk/>
          <pc:sldMasterMk cId="1113884534" sldId="2147484889"/>
        </pc:sldMasterMkLst>
        <pc:sldLayoutChg chg="del">
          <pc:chgData name="Patrick El-Azem" userId="e9a1393194618efd" providerId="LiveId" clId="{0E83E319-DD06-42C9-950A-41FC9BC8C8A8}" dt="2018-05-15T16:48:21.833" v="6290" actId="2696"/>
          <pc:sldLayoutMkLst>
            <pc:docMk/>
            <pc:sldMasterMk cId="1113884534" sldId="2147484889"/>
            <pc:sldLayoutMk cId="3757363148" sldId="2147484890"/>
          </pc:sldLayoutMkLst>
        </pc:sldLayoutChg>
        <pc:sldLayoutChg chg="del">
          <pc:chgData name="Patrick El-Azem" userId="e9a1393194618efd" providerId="LiveId" clId="{0E83E319-DD06-42C9-950A-41FC9BC8C8A8}" dt="2018-05-15T16:48:21.849" v="6291" actId="2696"/>
          <pc:sldLayoutMkLst>
            <pc:docMk/>
            <pc:sldMasterMk cId="1113884534" sldId="2147484889"/>
            <pc:sldLayoutMk cId="2784125301" sldId="2147484891"/>
          </pc:sldLayoutMkLst>
        </pc:sldLayoutChg>
        <pc:sldLayoutChg chg="del">
          <pc:chgData name="Patrick El-Azem" userId="e9a1393194618efd" providerId="LiveId" clId="{0E83E319-DD06-42C9-950A-41FC9BC8C8A8}" dt="2018-05-15T16:48:21.849" v="6292" actId="2696"/>
          <pc:sldLayoutMkLst>
            <pc:docMk/>
            <pc:sldMasterMk cId="1113884534" sldId="2147484889"/>
            <pc:sldLayoutMk cId="1635486506" sldId="2147484892"/>
          </pc:sldLayoutMkLst>
        </pc:sldLayoutChg>
        <pc:sldLayoutChg chg="del">
          <pc:chgData name="Patrick El-Azem" userId="e9a1393194618efd" providerId="LiveId" clId="{0E83E319-DD06-42C9-950A-41FC9BC8C8A8}" dt="2018-05-15T16:48:21.865" v="6293" actId="2696"/>
          <pc:sldLayoutMkLst>
            <pc:docMk/>
            <pc:sldMasterMk cId="1113884534" sldId="2147484889"/>
            <pc:sldLayoutMk cId="166452556" sldId="2147484893"/>
          </pc:sldLayoutMkLst>
        </pc:sldLayoutChg>
        <pc:sldLayoutChg chg="del">
          <pc:chgData name="Patrick El-Azem" userId="e9a1393194618efd" providerId="LiveId" clId="{0E83E319-DD06-42C9-950A-41FC9BC8C8A8}" dt="2018-05-15T16:48:21.880" v="6294" actId="2696"/>
          <pc:sldLayoutMkLst>
            <pc:docMk/>
            <pc:sldMasterMk cId="1113884534" sldId="2147484889"/>
            <pc:sldLayoutMk cId="3657616066" sldId="2147484894"/>
          </pc:sldLayoutMkLst>
        </pc:sldLayoutChg>
        <pc:sldLayoutChg chg="del">
          <pc:chgData name="Patrick El-Azem" userId="e9a1393194618efd" providerId="LiveId" clId="{0E83E319-DD06-42C9-950A-41FC9BC8C8A8}" dt="2018-05-15T16:48:21.880" v="6295" actId="2696"/>
          <pc:sldLayoutMkLst>
            <pc:docMk/>
            <pc:sldMasterMk cId="1113884534" sldId="2147484889"/>
            <pc:sldLayoutMk cId="2484959455" sldId="2147484895"/>
          </pc:sldLayoutMkLst>
        </pc:sldLayoutChg>
        <pc:sldLayoutChg chg="del">
          <pc:chgData name="Patrick El-Azem" userId="e9a1393194618efd" providerId="LiveId" clId="{0E83E319-DD06-42C9-950A-41FC9BC8C8A8}" dt="2018-05-15T16:48:21.896" v="6296" actId="2696"/>
          <pc:sldLayoutMkLst>
            <pc:docMk/>
            <pc:sldMasterMk cId="1113884534" sldId="2147484889"/>
            <pc:sldLayoutMk cId="2630242839" sldId="2147484896"/>
          </pc:sldLayoutMkLst>
        </pc:sldLayoutChg>
        <pc:sldLayoutChg chg="del">
          <pc:chgData name="Patrick El-Azem" userId="e9a1393194618efd" providerId="LiveId" clId="{0E83E319-DD06-42C9-950A-41FC9BC8C8A8}" dt="2018-05-15T16:48:21.896" v="6297" actId="2696"/>
          <pc:sldLayoutMkLst>
            <pc:docMk/>
            <pc:sldMasterMk cId="1113884534" sldId="2147484889"/>
            <pc:sldLayoutMk cId="400714554" sldId="2147484897"/>
          </pc:sldLayoutMkLst>
        </pc:sldLayoutChg>
        <pc:sldLayoutChg chg="del">
          <pc:chgData name="Patrick El-Azem" userId="e9a1393194618efd" providerId="LiveId" clId="{0E83E319-DD06-42C9-950A-41FC9BC8C8A8}" dt="2018-05-15T16:48:21.927" v="6298" actId="2696"/>
          <pc:sldLayoutMkLst>
            <pc:docMk/>
            <pc:sldMasterMk cId="1113884534" sldId="2147484889"/>
            <pc:sldLayoutMk cId="1821993065" sldId="2147484898"/>
          </pc:sldLayoutMkLst>
        </pc:sldLayoutChg>
        <pc:sldLayoutChg chg="del">
          <pc:chgData name="Patrick El-Azem" userId="e9a1393194618efd" providerId="LiveId" clId="{0E83E319-DD06-42C9-950A-41FC9BC8C8A8}" dt="2018-05-15T16:48:21.927" v="6299" actId="2696"/>
          <pc:sldLayoutMkLst>
            <pc:docMk/>
            <pc:sldMasterMk cId="1113884534" sldId="2147484889"/>
            <pc:sldLayoutMk cId="97095774" sldId="2147484899"/>
          </pc:sldLayoutMkLst>
        </pc:sldLayoutChg>
        <pc:sldLayoutChg chg="del">
          <pc:chgData name="Patrick El-Azem" userId="e9a1393194618efd" providerId="LiveId" clId="{0E83E319-DD06-42C9-950A-41FC9BC8C8A8}" dt="2018-05-15T16:48:21.943" v="6300" actId="2696"/>
          <pc:sldLayoutMkLst>
            <pc:docMk/>
            <pc:sldMasterMk cId="1113884534" sldId="2147484889"/>
            <pc:sldLayoutMk cId="2768252591" sldId="2147484900"/>
          </pc:sldLayoutMkLst>
        </pc:sldLayoutChg>
        <pc:sldLayoutChg chg="del">
          <pc:chgData name="Patrick El-Azem" userId="e9a1393194618efd" providerId="LiveId" clId="{0E83E319-DD06-42C9-950A-41FC9BC8C8A8}" dt="2018-05-15T16:48:21.943" v="6301" actId="2696"/>
          <pc:sldLayoutMkLst>
            <pc:docMk/>
            <pc:sldMasterMk cId="1113884534" sldId="2147484889"/>
            <pc:sldLayoutMk cId="1046706869" sldId="2147484901"/>
          </pc:sldLayoutMkLst>
        </pc:sldLayoutChg>
        <pc:sldLayoutChg chg="del">
          <pc:chgData name="Patrick El-Azem" userId="e9a1393194618efd" providerId="LiveId" clId="{0E83E319-DD06-42C9-950A-41FC9BC8C8A8}" dt="2018-05-15T16:48:21.958" v="6302" actId="2696"/>
          <pc:sldLayoutMkLst>
            <pc:docMk/>
            <pc:sldMasterMk cId="1113884534" sldId="2147484889"/>
            <pc:sldLayoutMk cId="1012281758" sldId="2147484902"/>
          </pc:sldLayoutMkLst>
        </pc:sldLayoutChg>
        <pc:sldLayoutChg chg="del">
          <pc:chgData name="Patrick El-Azem" userId="e9a1393194618efd" providerId="LiveId" clId="{0E83E319-DD06-42C9-950A-41FC9BC8C8A8}" dt="2018-05-15T16:48:21.974" v="6303" actId="2696"/>
          <pc:sldLayoutMkLst>
            <pc:docMk/>
            <pc:sldMasterMk cId="1113884534" sldId="2147484889"/>
            <pc:sldLayoutMk cId="1317106295" sldId="2147484903"/>
          </pc:sldLayoutMkLst>
        </pc:sldLayoutChg>
        <pc:sldLayoutChg chg="del">
          <pc:chgData name="Patrick El-Azem" userId="e9a1393194618efd" providerId="LiveId" clId="{0E83E319-DD06-42C9-950A-41FC9BC8C8A8}" dt="2018-05-15T16:48:21.990" v="6304" actId="2696"/>
          <pc:sldLayoutMkLst>
            <pc:docMk/>
            <pc:sldMasterMk cId="1113884534" sldId="2147484889"/>
            <pc:sldLayoutMk cId="565217663" sldId="2147484904"/>
          </pc:sldLayoutMkLst>
        </pc:sldLayoutChg>
        <pc:sldLayoutChg chg="del">
          <pc:chgData name="Patrick El-Azem" userId="e9a1393194618efd" providerId="LiveId" clId="{0E83E319-DD06-42C9-950A-41FC9BC8C8A8}" dt="2018-05-15T16:48:21.990" v="6305" actId="2696"/>
          <pc:sldLayoutMkLst>
            <pc:docMk/>
            <pc:sldMasterMk cId="1113884534" sldId="2147484889"/>
            <pc:sldLayoutMk cId="2712912160" sldId="2147484905"/>
          </pc:sldLayoutMkLst>
        </pc:sldLayoutChg>
        <pc:sldLayoutChg chg="del">
          <pc:chgData name="Patrick El-Azem" userId="e9a1393194618efd" providerId="LiveId" clId="{0E83E319-DD06-42C9-950A-41FC9BC8C8A8}" dt="2018-05-15T16:48:22.005" v="6306" actId="2696"/>
          <pc:sldLayoutMkLst>
            <pc:docMk/>
            <pc:sldMasterMk cId="1113884534" sldId="2147484889"/>
            <pc:sldLayoutMk cId="3217102335" sldId="2147484906"/>
          </pc:sldLayoutMkLst>
        </pc:sldLayoutChg>
        <pc:sldLayoutChg chg="del">
          <pc:chgData name="Patrick El-Azem" userId="e9a1393194618efd" providerId="LiveId" clId="{0E83E319-DD06-42C9-950A-41FC9BC8C8A8}" dt="2018-05-15T16:48:22.021" v="6307" actId="2696"/>
          <pc:sldLayoutMkLst>
            <pc:docMk/>
            <pc:sldMasterMk cId="1113884534" sldId="2147484889"/>
            <pc:sldLayoutMk cId="683104507" sldId="2147484907"/>
          </pc:sldLayoutMkLst>
        </pc:sldLayoutChg>
        <pc:sldLayoutChg chg="del">
          <pc:chgData name="Patrick El-Azem" userId="e9a1393194618efd" providerId="LiveId" clId="{0E83E319-DD06-42C9-950A-41FC9BC8C8A8}" dt="2018-05-15T16:48:22.037" v="6308" actId="2696"/>
          <pc:sldLayoutMkLst>
            <pc:docMk/>
            <pc:sldMasterMk cId="1113884534" sldId="2147484889"/>
            <pc:sldLayoutMk cId="3792075961" sldId="2147484908"/>
          </pc:sldLayoutMkLst>
        </pc:sldLayoutChg>
        <pc:sldLayoutChg chg="del">
          <pc:chgData name="Patrick El-Azem" userId="e9a1393194618efd" providerId="LiveId" clId="{0E83E319-DD06-42C9-950A-41FC9BC8C8A8}" dt="2018-05-15T16:48:22.037" v="6309" actId="2696"/>
          <pc:sldLayoutMkLst>
            <pc:docMk/>
            <pc:sldMasterMk cId="1113884534" sldId="2147484889"/>
            <pc:sldLayoutMk cId="3457971823" sldId="2147484909"/>
          </pc:sldLayoutMkLst>
        </pc:sldLayoutChg>
        <pc:sldLayoutChg chg="del">
          <pc:chgData name="Patrick El-Azem" userId="e9a1393194618efd" providerId="LiveId" clId="{0E83E319-DD06-42C9-950A-41FC9BC8C8A8}" dt="2018-05-15T16:48:22.052" v="6310" actId="2696"/>
          <pc:sldLayoutMkLst>
            <pc:docMk/>
            <pc:sldMasterMk cId="1113884534" sldId="2147484889"/>
            <pc:sldLayoutMk cId="2528667282" sldId="2147484910"/>
          </pc:sldLayoutMkLst>
        </pc:sldLayoutChg>
        <pc:sldLayoutChg chg="del">
          <pc:chgData name="Patrick El-Azem" userId="e9a1393194618efd" providerId="LiveId" clId="{0E83E319-DD06-42C9-950A-41FC9BC8C8A8}" dt="2018-05-15T16:48:22.068" v="6311" actId="2696"/>
          <pc:sldLayoutMkLst>
            <pc:docMk/>
            <pc:sldMasterMk cId="1113884534" sldId="2147484889"/>
            <pc:sldLayoutMk cId="1390301729" sldId="2147484911"/>
          </pc:sldLayoutMkLst>
        </pc:sldLayoutChg>
        <pc:sldLayoutChg chg="del">
          <pc:chgData name="Patrick El-Azem" userId="e9a1393194618efd" providerId="LiveId" clId="{0E83E319-DD06-42C9-950A-41FC9BC8C8A8}" dt="2018-05-15T16:48:22.068" v="6312" actId="2696"/>
          <pc:sldLayoutMkLst>
            <pc:docMk/>
            <pc:sldMasterMk cId="1113884534" sldId="2147484889"/>
            <pc:sldLayoutMk cId="4061791306" sldId="2147484912"/>
          </pc:sldLayoutMkLst>
        </pc:sldLayoutChg>
        <pc:sldLayoutChg chg="del">
          <pc:chgData name="Patrick El-Azem" userId="e9a1393194618efd" providerId="LiveId" clId="{0E83E319-DD06-42C9-950A-41FC9BC8C8A8}" dt="2018-05-15T16:48:22.083" v="6313" actId="2696"/>
          <pc:sldLayoutMkLst>
            <pc:docMk/>
            <pc:sldMasterMk cId="1113884534" sldId="2147484889"/>
            <pc:sldLayoutMk cId="335114199" sldId="2147484913"/>
          </pc:sldLayoutMkLst>
        </pc:sldLayoutChg>
        <pc:sldLayoutChg chg="del">
          <pc:chgData name="Patrick El-Azem" userId="e9a1393194618efd" providerId="LiveId" clId="{0E83E319-DD06-42C9-950A-41FC9BC8C8A8}" dt="2018-05-15T16:48:22.083" v="6314" actId="2696"/>
          <pc:sldLayoutMkLst>
            <pc:docMk/>
            <pc:sldMasterMk cId="1113884534" sldId="2147484889"/>
            <pc:sldLayoutMk cId="4139172239" sldId="2147484914"/>
          </pc:sldLayoutMkLst>
        </pc:sldLayoutChg>
      </pc:sldMasterChg>
      <pc:sldMasterChg chg="del delSldLayout">
        <pc:chgData name="Patrick El-Azem" userId="e9a1393194618efd" providerId="LiveId" clId="{0E83E319-DD06-42C9-950A-41FC9BC8C8A8}" dt="2018-05-15T16:48:25.896" v="6335" actId="2696"/>
        <pc:sldMasterMkLst>
          <pc:docMk/>
          <pc:sldMasterMk cId="3713322041" sldId="2147484915"/>
        </pc:sldMasterMkLst>
        <pc:sldLayoutChg chg="del">
          <pc:chgData name="Patrick El-Azem" userId="e9a1393194618efd" providerId="LiveId" clId="{0E83E319-DD06-42C9-950A-41FC9BC8C8A8}" dt="2018-05-15T16:48:25.724" v="6316" actId="2696"/>
          <pc:sldLayoutMkLst>
            <pc:docMk/>
            <pc:sldMasterMk cId="3713322041" sldId="2147484915"/>
            <pc:sldLayoutMk cId="1124203650" sldId="2147484916"/>
          </pc:sldLayoutMkLst>
        </pc:sldLayoutChg>
        <pc:sldLayoutChg chg="del">
          <pc:chgData name="Patrick El-Azem" userId="e9a1393194618efd" providerId="LiveId" clId="{0E83E319-DD06-42C9-950A-41FC9BC8C8A8}" dt="2018-05-15T16:48:25.740" v="6317" actId="2696"/>
          <pc:sldLayoutMkLst>
            <pc:docMk/>
            <pc:sldMasterMk cId="3713322041" sldId="2147484915"/>
            <pc:sldLayoutMk cId="3725213406" sldId="2147484917"/>
          </pc:sldLayoutMkLst>
        </pc:sldLayoutChg>
        <pc:sldLayoutChg chg="del">
          <pc:chgData name="Patrick El-Azem" userId="e9a1393194618efd" providerId="LiveId" clId="{0E83E319-DD06-42C9-950A-41FC9BC8C8A8}" dt="2018-05-15T16:48:25.755" v="6318" actId="2696"/>
          <pc:sldLayoutMkLst>
            <pc:docMk/>
            <pc:sldMasterMk cId="3713322041" sldId="2147484915"/>
            <pc:sldLayoutMk cId="825484704" sldId="2147484918"/>
          </pc:sldLayoutMkLst>
        </pc:sldLayoutChg>
        <pc:sldLayoutChg chg="del">
          <pc:chgData name="Patrick El-Azem" userId="e9a1393194618efd" providerId="LiveId" clId="{0E83E319-DD06-42C9-950A-41FC9BC8C8A8}" dt="2018-05-15T16:48:25.755" v="6319" actId="2696"/>
          <pc:sldLayoutMkLst>
            <pc:docMk/>
            <pc:sldMasterMk cId="3713322041" sldId="2147484915"/>
            <pc:sldLayoutMk cId="535644297" sldId="2147484919"/>
          </pc:sldLayoutMkLst>
        </pc:sldLayoutChg>
        <pc:sldLayoutChg chg="del">
          <pc:chgData name="Patrick El-Azem" userId="e9a1393194618efd" providerId="LiveId" clId="{0E83E319-DD06-42C9-950A-41FC9BC8C8A8}" dt="2018-05-15T16:48:25.771" v="6320" actId="2696"/>
          <pc:sldLayoutMkLst>
            <pc:docMk/>
            <pc:sldMasterMk cId="3713322041" sldId="2147484915"/>
            <pc:sldLayoutMk cId="2533306773" sldId="2147484920"/>
          </pc:sldLayoutMkLst>
        </pc:sldLayoutChg>
        <pc:sldLayoutChg chg="del">
          <pc:chgData name="Patrick El-Azem" userId="e9a1393194618efd" providerId="LiveId" clId="{0E83E319-DD06-42C9-950A-41FC9BC8C8A8}" dt="2018-05-15T16:48:25.771" v="6321" actId="2696"/>
          <pc:sldLayoutMkLst>
            <pc:docMk/>
            <pc:sldMasterMk cId="3713322041" sldId="2147484915"/>
            <pc:sldLayoutMk cId="4227903690" sldId="2147484921"/>
          </pc:sldLayoutMkLst>
        </pc:sldLayoutChg>
        <pc:sldLayoutChg chg="del">
          <pc:chgData name="Patrick El-Azem" userId="e9a1393194618efd" providerId="LiveId" clId="{0E83E319-DD06-42C9-950A-41FC9BC8C8A8}" dt="2018-05-15T16:48:25.787" v="6322" actId="2696"/>
          <pc:sldLayoutMkLst>
            <pc:docMk/>
            <pc:sldMasterMk cId="3713322041" sldId="2147484915"/>
            <pc:sldLayoutMk cId="58661125" sldId="2147484922"/>
          </pc:sldLayoutMkLst>
        </pc:sldLayoutChg>
        <pc:sldLayoutChg chg="del">
          <pc:chgData name="Patrick El-Azem" userId="e9a1393194618efd" providerId="LiveId" clId="{0E83E319-DD06-42C9-950A-41FC9BC8C8A8}" dt="2018-05-15T16:48:25.787" v="6323" actId="2696"/>
          <pc:sldLayoutMkLst>
            <pc:docMk/>
            <pc:sldMasterMk cId="3713322041" sldId="2147484915"/>
            <pc:sldLayoutMk cId="1134034024" sldId="2147484923"/>
          </pc:sldLayoutMkLst>
        </pc:sldLayoutChg>
        <pc:sldLayoutChg chg="del">
          <pc:chgData name="Patrick El-Azem" userId="e9a1393194618efd" providerId="LiveId" clId="{0E83E319-DD06-42C9-950A-41FC9BC8C8A8}" dt="2018-05-15T16:48:25.802" v="6324" actId="2696"/>
          <pc:sldLayoutMkLst>
            <pc:docMk/>
            <pc:sldMasterMk cId="3713322041" sldId="2147484915"/>
            <pc:sldLayoutMk cId="238110222" sldId="2147484924"/>
          </pc:sldLayoutMkLst>
        </pc:sldLayoutChg>
        <pc:sldLayoutChg chg="del">
          <pc:chgData name="Patrick El-Azem" userId="e9a1393194618efd" providerId="LiveId" clId="{0E83E319-DD06-42C9-950A-41FC9BC8C8A8}" dt="2018-05-15T16:48:25.802" v="6325" actId="2696"/>
          <pc:sldLayoutMkLst>
            <pc:docMk/>
            <pc:sldMasterMk cId="3713322041" sldId="2147484915"/>
            <pc:sldLayoutMk cId="2160715687" sldId="2147484925"/>
          </pc:sldLayoutMkLst>
        </pc:sldLayoutChg>
        <pc:sldLayoutChg chg="del">
          <pc:chgData name="Patrick El-Azem" userId="e9a1393194618efd" providerId="LiveId" clId="{0E83E319-DD06-42C9-950A-41FC9BC8C8A8}" dt="2018-05-15T16:48:25.818" v="6326" actId="2696"/>
          <pc:sldLayoutMkLst>
            <pc:docMk/>
            <pc:sldMasterMk cId="3713322041" sldId="2147484915"/>
            <pc:sldLayoutMk cId="37663265" sldId="2147484926"/>
          </pc:sldLayoutMkLst>
        </pc:sldLayoutChg>
        <pc:sldLayoutChg chg="del">
          <pc:chgData name="Patrick El-Azem" userId="e9a1393194618efd" providerId="LiveId" clId="{0E83E319-DD06-42C9-950A-41FC9BC8C8A8}" dt="2018-05-15T16:48:25.818" v="6327" actId="2696"/>
          <pc:sldLayoutMkLst>
            <pc:docMk/>
            <pc:sldMasterMk cId="3713322041" sldId="2147484915"/>
            <pc:sldLayoutMk cId="3977009829" sldId="2147484927"/>
          </pc:sldLayoutMkLst>
        </pc:sldLayoutChg>
        <pc:sldLayoutChg chg="del">
          <pc:chgData name="Patrick El-Azem" userId="e9a1393194618efd" providerId="LiveId" clId="{0E83E319-DD06-42C9-950A-41FC9BC8C8A8}" dt="2018-05-15T16:48:25.834" v="6328" actId="2696"/>
          <pc:sldLayoutMkLst>
            <pc:docMk/>
            <pc:sldMasterMk cId="3713322041" sldId="2147484915"/>
            <pc:sldLayoutMk cId="3494134480" sldId="2147484928"/>
          </pc:sldLayoutMkLst>
        </pc:sldLayoutChg>
        <pc:sldLayoutChg chg="del">
          <pc:chgData name="Patrick El-Azem" userId="e9a1393194618efd" providerId="LiveId" clId="{0E83E319-DD06-42C9-950A-41FC9BC8C8A8}" dt="2018-05-15T16:48:25.834" v="6329" actId="2696"/>
          <pc:sldLayoutMkLst>
            <pc:docMk/>
            <pc:sldMasterMk cId="3713322041" sldId="2147484915"/>
            <pc:sldLayoutMk cId="1984898356" sldId="2147484929"/>
          </pc:sldLayoutMkLst>
        </pc:sldLayoutChg>
        <pc:sldLayoutChg chg="del">
          <pc:chgData name="Patrick El-Azem" userId="e9a1393194618efd" providerId="LiveId" clId="{0E83E319-DD06-42C9-950A-41FC9BC8C8A8}" dt="2018-05-15T16:48:25.849" v="6330" actId="2696"/>
          <pc:sldLayoutMkLst>
            <pc:docMk/>
            <pc:sldMasterMk cId="3713322041" sldId="2147484915"/>
            <pc:sldLayoutMk cId="4195716311" sldId="2147484930"/>
          </pc:sldLayoutMkLst>
        </pc:sldLayoutChg>
        <pc:sldLayoutChg chg="del">
          <pc:chgData name="Patrick El-Azem" userId="e9a1393194618efd" providerId="LiveId" clId="{0E83E319-DD06-42C9-950A-41FC9BC8C8A8}" dt="2018-05-15T16:48:25.865" v="6331" actId="2696"/>
          <pc:sldLayoutMkLst>
            <pc:docMk/>
            <pc:sldMasterMk cId="3713322041" sldId="2147484915"/>
            <pc:sldLayoutMk cId="3991537487" sldId="2147484931"/>
          </pc:sldLayoutMkLst>
        </pc:sldLayoutChg>
        <pc:sldLayoutChg chg="del">
          <pc:chgData name="Patrick El-Azem" userId="e9a1393194618efd" providerId="LiveId" clId="{0E83E319-DD06-42C9-950A-41FC9BC8C8A8}" dt="2018-05-15T16:48:25.865" v="6332" actId="2696"/>
          <pc:sldLayoutMkLst>
            <pc:docMk/>
            <pc:sldMasterMk cId="3713322041" sldId="2147484915"/>
            <pc:sldLayoutMk cId="1334987947" sldId="2147484932"/>
          </pc:sldLayoutMkLst>
        </pc:sldLayoutChg>
        <pc:sldLayoutChg chg="del">
          <pc:chgData name="Patrick El-Azem" userId="e9a1393194618efd" providerId="LiveId" clId="{0E83E319-DD06-42C9-950A-41FC9BC8C8A8}" dt="2018-05-15T16:48:25.880" v="6333" actId="2696"/>
          <pc:sldLayoutMkLst>
            <pc:docMk/>
            <pc:sldMasterMk cId="3713322041" sldId="2147484915"/>
            <pc:sldLayoutMk cId="3540377097" sldId="2147484933"/>
          </pc:sldLayoutMkLst>
        </pc:sldLayoutChg>
        <pc:sldLayoutChg chg="del">
          <pc:chgData name="Patrick El-Azem" userId="e9a1393194618efd" providerId="LiveId" clId="{0E83E319-DD06-42C9-950A-41FC9BC8C8A8}" dt="2018-05-15T16:48:25.880" v="6334" actId="2696"/>
          <pc:sldLayoutMkLst>
            <pc:docMk/>
            <pc:sldMasterMk cId="3713322041" sldId="2147484915"/>
            <pc:sldLayoutMk cId="1542182770" sldId="2147484934"/>
          </pc:sldLayoutMkLst>
        </pc:sldLayoutChg>
      </pc:sldMasterChg>
      <pc:sldMasterChg chg="del delSldLayout">
        <pc:chgData name="Patrick El-Azem" userId="e9a1393194618efd" providerId="LiveId" clId="{0E83E319-DD06-42C9-950A-41FC9BC8C8A8}" dt="2018-05-15T16:48:31.146" v="6355" actId="2696"/>
        <pc:sldMasterMkLst>
          <pc:docMk/>
          <pc:sldMasterMk cId="3318536496" sldId="2147484935"/>
        </pc:sldMasterMkLst>
        <pc:sldLayoutChg chg="del">
          <pc:chgData name="Patrick El-Azem" userId="e9a1393194618efd" providerId="LiveId" clId="{0E83E319-DD06-42C9-950A-41FC9BC8C8A8}" dt="2018-05-15T16:48:29.177" v="6336" actId="2696"/>
          <pc:sldLayoutMkLst>
            <pc:docMk/>
            <pc:sldMasterMk cId="3318536496" sldId="2147484935"/>
            <pc:sldLayoutMk cId="3665989714" sldId="2147484936"/>
          </pc:sldLayoutMkLst>
        </pc:sldLayoutChg>
        <pc:sldLayoutChg chg="del">
          <pc:chgData name="Patrick El-Azem" userId="e9a1393194618efd" providerId="LiveId" clId="{0E83E319-DD06-42C9-950A-41FC9BC8C8A8}" dt="2018-05-15T16:48:29.177" v="6337" actId="2696"/>
          <pc:sldLayoutMkLst>
            <pc:docMk/>
            <pc:sldMasterMk cId="3318536496" sldId="2147484935"/>
            <pc:sldLayoutMk cId="704294203" sldId="2147484937"/>
          </pc:sldLayoutMkLst>
        </pc:sldLayoutChg>
        <pc:sldLayoutChg chg="del">
          <pc:chgData name="Patrick El-Azem" userId="e9a1393194618efd" providerId="LiveId" clId="{0E83E319-DD06-42C9-950A-41FC9BC8C8A8}" dt="2018-05-15T16:48:29.177" v="6338" actId="2696"/>
          <pc:sldLayoutMkLst>
            <pc:docMk/>
            <pc:sldMasterMk cId="3318536496" sldId="2147484935"/>
            <pc:sldLayoutMk cId="1469256864" sldId="2147484938"/>
          </pc:sldLayoutMkLst>
        </pc:sldLayoutChg>
        <pc:sldLayoutChg chg="del">
          <pc:chgData name="Patrick El-Azem" userId="e9a1393194618efd" providerId="LiveId" clId="{0E83E319-DD06-42C9-950A-41FC9BC8C8A8}" dt="2018-05-15T16:48:29.193" v="6339" actId="2696"/>
          <pc:sldLayoutMkLst>
            <pc:docMk/>
            <pc:sldMasterMk cId="3318536496" sldId="2147484935"/>
            <pc:sldLayoutMk cId="1740781375" sldId="2147484939"/>
          </pc:sldLayoutMkLst>
        </pc:sldLayoutChg>
        <pc:sldLayoutChg chg="del">
          <pc:chgData name="Patrick El-Azem" userId="e9a1393194618efd" providerId="LiveId" clId="{0E83E319-DD06-42C9-950A-41FC9BC8C8A8}" dt="2018-05-15T16:48:29.193" v="6340" actId="2696"/>
          <pc:sldLayoutMkLst>
            <pc:docMk/>
            <pc:sldMasterMk cId="3318536496" sldId="2147484935"/>
            <pc:sldLayoutMk cId="849036198" sldId="2147484940"/>
          </pc:sldLayoutMkLst>
        </pc:sldLayoutChg>
        <pc:sldLayoutChg chg="del">
          <pc:chgData name="Patrick El-Azem" userId="e9a1393194618efd" providerId="LiveId" clId="{0E83E319-DD06-42C9-950A-41FC9BC8C8A8}" dt="2018-05-15T16:48:29.209" v="6341" actId="2696"/>
          <pc:sldLayoutMkLst>
            <pc:docMk/>
            <pc:sldMasterMk cId="3318536496" sldId="2147484935"/>
            <pc:sldLayoutMk cId="2018221530" sldId="2147484941"/>
          </pc:sldLayoutMkLst>
        </pc:sldLayoutChg>
        <pc:sldLayoutChg chg="del">
          <pc:chgData name="Patrick El-Azem" userId="e9a1393194618efd" providerId="LiveId" clId="{0E83E319-DD06-42C9-950A-41FC9BC8C8A8}" dt="2018-05-15T16:48:29.209" v="6342" actId="2696"/>
          <pc:sldLayoutMkLst>
            <pc:docMk/>
            <pc:sldMasterMk cId="3318536496" sldId="2147484935"/>
            <pc:sldLayoutMk cId="2049070350" sldId="2147484942"/>
          </pc:sldLayoutMkLst>
        </pc:sldLayoutChg>
        <pc:sldLayoutChg chg="del">
          <pc:chgData name="Patrick El-Azem" userId="e9a1393194618efd" providerId="LiveId" clId="{0E83E319-DD06-42C9-950A-41FC9BC8C8A8}" dt="2018-05-15T16:48:29.224" v="6343" actId="2696"/>
          <pc:sldLayoutMkLst>
            <pc:docMk/>
            <pc:sldMasterMk cId="3318536496" sldId="2147484935"/>
            <pc:sldLayoutMk cId="2832130626" sldId="2147484943"/>
          </pc:sldLayoutMkLst>
        </pc:sldLayoutChg>
        <pc:sldLayoutChg chg="del">
          <pc:chgData name="Patrick El-Azem" userId="e9a1393194618efd" providerId="LiveId" clId="{0E83E319-DD06-42C9-950A-41FC9BC8C8A8}" dt="2018-05-15T16:48:29.224" v="6344" actId="2696"/>
          <pc:sldLayoutMkLst>
            <pc:docMk/>
            <pc:sldMasterMk cId="3318536496" sldId="2147484935"/>
            <pc:sldLayoutMk cId="810793121" sldId="2147484944"/>
          </pc:sldLayoutMkLst>
        </pc:sldLayoutChg>
        <pc:sldLayoutChg chg="del">
          <pc:chgData name="Patrick El-Azem" userId="e9a1393194618efd" providerId="LiveId" clId="{0E83E319-DD06-42C9-950A-41FC9BC8C8A8}" dt="2018-05-15T16:48:29.240" v="6345" actId="2696"/>
          <pc:sldLayoutMkLst>
            <pc:docMk/>
            <pc:sldMasterMk cId="3318536496" sldId="2147484935"/>
            <pc:sldLayoutMk cId="3782080164" sldId="2147484945"/>
          </pc:sldLayoutMkLst>
        </pc:sldLayoutChg>
        <pc:sldLayoutChg chg="del">
          <pc:chgData name="Patrick El-Azem" userId="e9a1393194618efd" providerId="LiveId" clId="{0E83E319-DD06-42C9-950A-41FC9BC8C8A8}" dt="2018-05-15T16:48:29.240" v="6346" actId="2696"/>
          <pc:sldLayoutMkLst>
            <pc:docMk/>
            <pc:sldMasterMk cId="3318536496" sldId="2147484935"/>
            <pc:sldLayoutMk cId="277754165" sldId="2147484946"/>
          </pc:sldLayoutMkLst>
        </pc:sldLayoutChg>
        <pc:sldLayoutChg chg="del">
          <pc:chgData name="Patrick El-Azem" userId="e9a1393194618efd" providerId="LiveId" clId="{0E83E319-DD06-42C9-950A-41FC9BC8C8A8}" dt="2018-05-15T16:48:29.255" v="6347" actId="2696"/>
          <pc:sldLayoutMkLst>
            <pc:docMk/>
            <pc:sldMasterMk cId="3318536496" sldId="2147484935"/>
            <pc:sldLayoutMk cId="2539128549" sldId="2147484947"/>
          </pc:sldLayoutMkLst>
        </pc:sldLayoutChg>
        <pc:sldLayoutChg chg="del">
          <pc:chgData name="Patrick El-Azem" userId="e9a1393194618efd" providerId="LiveId" clId="{0E83E319-DD06-42C9-950A-41FC9BC8C8A8}" dt="2018-05-15T16:48:29.677" v="6348" actId="2696"/>
          <pc:sldLayoutMkLst>
            <pc:docMk/>
            <pc:sldMasterMk cId="3318536496" sldId="2147484935"/>
            <pc:sldLayoutMk cId="1149277974" sldId="2147484948"/>
          </pc:sldLayoutMkLst>
        </pc:sldLayoutChg>
        <pc:sldLayoutChg chg="del">
          <pc:chgData name="Patrick El-Azem" userId="e9a1393194618efd" providerId="LiveId" clId="{0E83E319-DD06-42C9-950A-41FC9BC8C8A8}" dt="2018-05-15T16:48:30.068" v="6349" actId="2696"/>
          <pc:sldLayoutMkLst>
            <pc:docMk/>
            <pc:sldMasterMk cId="3318536496" sldId="2147484935"/>
            <pc:sldLayoutMk cId="3861209375" sldId="2147484949"/>
          </pc:sldLayoutMkLst>
        </pc:sldLayoutChg>
        <pc:sldLayoutChg chg="del">
          <pc:chgData name="Patrick El-Azem" userId="e9a1393194618efd" providerId="LiveId" clId="{0E83E319-DD06-42C9-950A-41FC9BC8C8A8}" dt="2018-05-15T16:48:30.614" v="6350" actId="2696"/>
          <pc:sldLayoutMkLst>
            <pc:docMk/>
            <pc:sldMasterMk cId="3318536496" sldId="2147484935"/>
            <pc:sldLayoutMk cId="422333507" sldId="2147484950"/>
          </pc:sldLayoutMkLst>
        </pc:sldLayoutChg>
        <pc:sldLayoutChg chg="del">
          <pc:chgData name="Patrick El-Azem" userId="e9a1393194618efd" providerId="LiveId" clId="{0E83E319-DD06-42C9-950A-41FC9BC8C8A8}" dt="2018-05-15T16:48:31.130" v="6351" actId="2696"/>
          <pc:sldLayoutMkLst>
            <pc:docMk/>
            <pc:sldMasterMk cId="3318536496" sldId="2147484935"/>
            <pc:sldLayoutMk cId="372351327" sldId="2147484951"/>
          </pc:sldLayoutMkLst>
        </pc:sldLayoutChg>
        <pc:sldLayoutChg chg="del">
          <pc:chgData name="Patrick El-Azem" userId="e9a1393194618efd" providerId="LiveId" clId="{0E83E319-DD06-42C9-950A-41FC9BC8C8A8}" dt="2018-05-15T16:48:31.130" v="6352" actId="2696"/>
          <pc:sldLayoutMkLst>
            <pc:docMk/>
            <pc:sldMasterMk cId="3318536496" sldId="2147484935"/>
            <pc:sldLayoutMk cId="227277770" sldId="2147484952"/>
          </pc:sldLayoutMkLst>
        </pc:sldLayoutChg>
        <pc:sldLayoutChg chg="del">
          <pc:chgData name="Patrick El-Azem" userId="e9a1393194618efd" providerId="LiveId" clId="{0E83E319-DD06-42C9-950A-41FC9BC8C8A8}" dt="2018-05-15T16:48:31.130" v="6353" actId="2696"/>
          <pc:sldLayoutMkLst>
            <pc:docMk/>
            <pc:sldMasterMk cId="3318536496" sldId="2147484935"/>
            <pc:sldLayoutMk cId="3003211035" sldId="2147484953"/>
          </pc:sldLayoutMkLst>
        </pc:sldLayoutChg>
        <pc:sldLayoutChg chg="del">
          <pc:chgData name="Patrick El-Azem" userId="e9a1393194618efd" providerId="LiveId" clId="{0E83E319-DD06-42C9-950A-41FC9BC8C8A8}" dt="2018-05-15T16:48:31.146" v="6354" actId="2696"/>
          <pc:sldLayoutMkLst>
            <pc:docMk/>
            <pc:sldMasterMk cId="3318536496" sldId="2147484935"/>
            <pc:sldLayoutMk cId="1187614479" sldId="2147484954"/>
          </pc:sldLayoutMkLst>
        </pc:sldLayoutChg>
      </pc:sldMasterChg>
      <pc:sldMasterChg chg="del delSldLayout">
        <pc:chgData name="Patrick El-Azem" userId="e9a1393194618efd" providerId="LiveId" clId="{0E83E319-DD06-42C9-950A-41FC9BC8C8A8}" dt="2018-05-15T16:48:34.565" v="6388" actId="2696"/>
        <pc:sldMasterMkLst>
          <pc:docMk/>
          <pc:sldMasterMk cId="399256971" sldId="2147484955"/>
        </pc:sldMasterMkLst>
        <pc:sldLayoutChg chg="del">
          <pc:chgData name="Patrick El-Azem" userId="e9a1393194618efd" providerId="LiveId" clId="{0E83E319-DD06-42C9-950A-41FC9BC8C8A8}" dt="2018-05-15T16:48:34.284" v="6356" actId="2696"/>
          <pc:sldLayoutMkLst>
            <pc:docMk/>
            <pc:sldMasterMk cId="399256971" sldId="2147484955"/>
            <pc:sldLayoutMk cId="3861499275" sldId="2147484956"/>
          </pc:sldLayoutMkLst>
        </pc:sldLayoutChg>
        <pc:sldLayoutChg chg="del">
          <pc:chgData name="Patrick El-Azem" userId="e9a1393194618efd" providerId="LiveId" clId="{0E83E319-DD06-42C9-950A-41FC9BC8C8A8}" dt="2018-05-15T16:48:34.284" v="6357" actId="2696"/>
          <pc:sldLayoutMkLst>
            <pc:docMk/>
            <pc:sldMasterMk cId="399256971" sldId="2147484955"/>
            <pc:sldLayoutMk cId="1230597132" sldId="2147484957"/>
          </pc:sldLayoutMkLst>
        </pc:sldLayoutChg>
        <pc:sldLayoutChg chg="del">
          <pc:chgData name="Patrick El-Azem" userId="e9a1393194618efd" providerId="LiveId" clId="{0E83E319-DD06-42C9-950A-41FC9BC8C8A8}" dt="2018-05-15T16:48:34.299" v="6358" actId="2696"/>
          <pc:sldLayoutMkLst>
            <pc:docMk/>
            <pc:sldMasterMk cId="399256971" sldId="2147484955"/>
            <pc:sldLayoutMk cId="3551626289" sldId="2147484958"/>
          </pc:sldLayoutMkLst>
        </pc:sldLayoutChg>
        <pc:sldLayoutChg chg="del">
          <pc:chgData name="Patrick El-Azem" userId="e9a1393194618efd" providerId="LiveId" clId="{0E83E319-DD06-42C9-950A-41FC9BC8C8A8}" dt="2018-05-15T16:48:34.299" v="6359" actId="2696"/>
          <pc:sldLayoutMkLst>
            <pc:docMk/>
            <pc:sldMasterMk cId="399256971" sldId="2147484955"/>
            <pc:sldLayoutMk cId="1087794526" sldId="2147484959"/>
          </pc:sldLayoutMkLst>
        </pc:sldLayoutChg>
        <pc:sldLayoutChg chg="del">
          <pc:chgData name="Patrick El-Azem" userId="e9a1393194618efd" providerId="LiveId" clId="{0E83E319-DD06-42C9-950A-41FC9BC8C8A8}" dt="2018-05-15T16:48:34.315" v="6360" actId="2696"/>
          <pc:sldLayoutMkLst>
            <pc:docMk/>
            <pc:sldMasterMk cId="399256971" sldId="2147484955"/>
            <pc:sldLayoutMk cId="3002324005" sldId="2147484960"/>
          </pc:sldLayoutMkLst>
        </pc:sldLayoutChg>
        <pc:sldLayoutChg chg="del">
          <pc:chgData name="Patrick El-Azem" userId="e9a1393194618efd" providerId="LiveId" clId="{0E83E319-DD06-42C9-950A-41FC9BC8C8A8}" dt="2018-05-15T16:48:34.315" v="6361" actId="2696"/>
          <pc:sldLayoutMkLst>
            <pc:docMk/>
            <pc:sldMasterMk cId="399256971" sldId="2147484955"/>
            <pc:sldLayoutMk cId="2008588006" sldId="2147484961"/>
          </pc:sldLayoutMkLst>
        </pc:sldLayoutChg>
        <pc:sldLayoutChg chg="del">
          <pc:chgData name="Patrick El-Azem" userId="e9a1393194618efd" providerId="LiveId" clId="{0E83E319-DD06-42C9-950A-41FC9BC8C8A8}" dt="2018-05-15T16:48:34.331" v="6362" actId="2696"/>
          <pc:sldLayoutMkLst>
            <pc:docMk/>
            <pc:sldMasterMk cId="399256971" sldId="2147484955"/>
            <pc:sldLayoutMk cId="1749419232" sldId="2147484962"/>
          </pc:sldLayoutMkLst>
        </pc:sldLayoutChg>
        <pc:sldLayoutChg chg="del">
          <pc:chgData name="Patrick El-Azem" userId="e9a1393194618efd" providerId="LiveId" clId="{0E83E319-DD06-42C9-950A-41FC9BC8C8A8}" dt="2018-05-15T16:48:34.331" v="6363" actId="2696"/>
          <pc:sldLayoutMkLst>
            <pc:docMk/>
            <pc:sldMasterMk cId="399256971" sldId="2147484955"/>
            <pc:sldLayoutMk cId="4086245686" sldId="2147484963"/>
          </pc:sldLayoutMkLst>
        </pc:sldLayoutChg>
        <pc:sldLayoutChg chg="del">
          <pc:chgData name="Patrick El-Azem" userId="e9a1393194618efd" providerId="LiveId" clId="{0E83E319-DD06-42C9-950A-41FC9BC8C8A8}" dt="2018-05-15T16:48:34.346" v="6364" actId="2696"/>
          <pc:sldLayoutMkLst>
            <pc:docMk/>
            <pc:sldMasterMk cId="399256971" sldId="2147484955"/>
            <pc:sldLayoutMk cId="2233710116" sldId="2147484964"/>
          </pc:sldLayoutMkLst>
        </pc:sldLayoutChg>
        <pc:sldLayoutChg chg="del">
          <pc:chgData name="Patrick El-Azem" userId="e9a1393194618efd" providerId="LiveId" clId="{0E83E319-DD06-42C9-950A-41FC9BC8C8A8}" dt="2018-05-15T16:48:34.362" v="6365" actId="2696"/>
          <pc:sldLayoutMkLst>
            <pc:docMk/>
            <pc:sldMasterMk cId="399256971" sldId="2147484955"/>
            <pc:sldLayoutMk cId="2678739123" sldId="2147484965"/>
          </pc:sldLayoutMkLst>
        </pc:sldLayoutChg>
        <pc:sldLayoutChg chg="del">
          <pc:chgData name="Patrick El-Azem" userId="e9a1393194618efd" providerId="LiveId" clId="{0E83E319-DD06-42C9-950A-41FC9BC8C8A8}" dt="2018-05-15T16:48:34.362" v="6366" actId="2696"/>
          <pc:sldLayoutMkLst>
            <pc:docMk/>
            <pc:sldMasterMk cId="399256971" sldId="2147484955"/>
            <pc:sldLayoutMk cId="2846076778" sldId="2147484966"/>
          </pc:sldLayoutMkLst>
        </pc:sldLayoutChg>
        <pc:sldLayoutChg chg="del">
          <pc:chgData name="Patrick El-Azem" userId="e9a1393194618efd" providerId="LiveId" clId="{0E83E319-DD06-42C9-950A-41FC9BC8C8A8}" dt="2018-05-15T16:48:34.393" v="6367" actId="2696"/>
          <pc:sldLayoutMkLst>
            <pc:docMk/>
            <pc:sldMasterMk cId="399256971" sldId="2147484955"/>
            <pc:sldLayoutMk cId="3619868049" sldId="2147484967"/>
          </pc:sldLayoutMkLst>
        </pc:sldLayoutChg>
        <pc:sldLayoutChg chg="del">
          <pc:chgData name="Patrick El-Azem" userId="e9a1393194618efd" providerId="LiveId" clId="{0E83E319-DD06-42C9-950A-41FC9BC8C8A8}" dt="2018-05-15T16:48:34.393" v="6368" actId="2696"/>
          <pc:sldLayoutMkLst>
            <pc:docMk/>
            <pc:sldMasterMk cId="399256971" sldId="2147484955"/>
            <pc:sldLayoutMk cId="1988318059" sldId="2147484968"/>
          </pc:sldLayoutMkLst>
        </pc:sldLayoutChg>
        <pc:sldLayoutChg chg="del">
          <pc:chgData name="Patrick El-Azem" userId="e9a1393194618efd" providerId="LiveId" clId="{0E83E319-DD06-42C9-950A-41FC9BC8C8A8}" dt="2018-05-15T16:48:34.409" v="6369" actId="2696"/>
          <pc:sldLayoutMkLst>
            <pc:docMk/>
            <pc:sldMasterMk cId="399256971" sldId="2147484955"/>
            <pc:sldLayoutMk cId="645370896" sldId="2147484969"/>
          </pc:sldLayoutMkLst>
        </pc:sldLayoutChg>
        <pc:sldLayoutChg chg="del">
          <pc:chgData name="Patrick El-Azem" userId="e9a1393194618efd" providerId="LiveId" clId="{0E83E319-DD06-42C9-950A-41FC9BC8C8A8}" dt="2018-05-15T16:48:34.409" v="6370" actId="2696"/>
          <pc:sldLayoutMkLst>
            <pc:docMk/>
            <pc:sldMasterMk cId="399256971" sldId="2147484955"/>
            <pc:sldLayoutMk cId="2981583802" sldId="2147484970"/>
          </pc:sldLayoutMkLst>
        </pc:sldLayoutChg>
        <pc:sldLayoutChg chg="del">
          <pc:chgData name="Patrick El-Azem" userId="e9a1393194618efd" providerId="LiveId" clId="{0E83E319-DD06-42C9-950A-41FC9BC8C8A8}" dt="2018-05-15T16:48:34.424" v="6371" actId="2696"/>
          <pc:sldLayoutMkLst>
            <pc:docMk/>
            <pc:sldMasterMk cId="399256971" sldId="2147484955"/>
            <pc:sldLayoutMk cId="1846703775" sldId="2147484971"/>
          </pc:sldLayoutMkLst>
        </pc:sldLayoutChg>
        <pc:sldLayoutChg chg="del">
          <pc:chgData name="Patrick El-Azem" userId="e9a1393194618efd" providerId="LiveId" clId="{0E83E319-DD06-42C9-950A-41FC9BC8C8A8}" dt="2018-05-15T16:48:34.424" v="6372" actId="2696"/>
          <pc:sldLayoutMkLst>
            <pc:docMk/>
            <pc:sldMasterMk cId="399256971" sldId="2147484955"/>
            <pc:sldLayoutMk cId="3769107124" sldId="2147484972"/>
          </pc:sldLayoutMkLst>
        </pc:sldLayoutChg>
        <pc:sldLayoutChg chg="del">
          <pc:chgData name="Patrick El-Azem" userId="e9a1393194618efd" providerId="LiveId" clId="{0E83E319-DD06-42C9-950A-41FC9BC8C8A8}" dt="2018-05-15T16:48:34.440" v="6373" actId="2696"/>
          <pc:sldLayoutMkLst>
            <pc:docMk/>
            <pc:sldMasterMk cId="399256971" sldId="2147484955"/>
            <pc:sldLayoutMk cId="565254125" sldId="2147484973"/>
          </pc:sldLayoutMkLst>
        </pc:sldLayoutChg>
        <pc:sldLayoutChg chg="del">
          <pc:chgData name="Patrick El-Azem" userId="e9a1393194618efd" providerId="LiveId" clId="{0E83E319-DD06-42C9-950A-41FC9BC8C8A8}" dt="2018-05-15T16:48:34.440" v="6374" actId="2696"/>
          <pc:sldLayoutMkLst>
            <pc:docMk/>
            <pc:sldMasterMk cId="399256971" sldId="2147484955"/>
            <pc:sldLayoutMk cId="3233514662" sldId="2147484974"/>
          </pc:sldLayoutMkLst>
        </pc:sldLayoutChg>
        <pc:sldLayoutChg chg="del">
          <pc:chgData name="Patrick El-Azem" userId="e9a1393194618efd" providerId="LiveId" clId="{0E83E319-DD06-42C9-950A-41FC9BC8C8A8}" dt="2018-05-15T16:48:34.456" v="6375" actId="2696"/>
          <pc:sldLayoutMkLst>
            <pc:docMk/>
            <pc:sldMasterMk cId="399256971" sldId="2147484955"/>
            <pc:sldLayoutMk cId="199740286" sldId="2147484975"/>
          </pc:sldLayoutMkLst>
        </pc:sldLayoutChg>
        <pc:sldLayoutChg chg="del">
          <pc:chgData name="Patrick El-Azem" userId="e9a1393194618efd" providerId="LiveId" clId="{0E83E319-DD06-42C9-950A-41FC9BC8C8A8}" dt="2018-05-15T16:48:34.456" v="6376" actId="2696"/>
          <pc:sldLayoutMkLst>
            <pc:docMk/>
            <pc:sldMasterMk cId="399256971" sldId="2147484955"/>
            <pc:sldLayoutMk cId="593079838" sldId="2147484976"/>
          </pc:sldLayoutMkLst>
        </pc:sldLayoutChg>
        <pc:sldLayoutChg chg="del">
          <pc:chgData name="Patrick El-Azem" userId="e9a1393194618efd" providerId="LiveId" clId="{0E83E319-DD06-42C9-950A-41FC9BC8C8A8}" dt="2018-05-15T16:48:34.471" v="6377" actId="2696"/>
          <pc:sldLayoutMkLst>
            <pc:docMk/>
            <pc:sldMasterMk cId="399256971" sldId="2147484955"/>
            <pc:sldLayoutMk cId="3172013409" sldId="2147484977"/>
          </pc:sldLayoutMkLst>
        </pc:sldLayoutChg>
        <pc:sldLayoutChg chg="del">
          <pc:chgData name="Patrick El-Azem" userId="e9a1393194618efd" providerId="LiveId" clId="{0E83E319-DD06-42C9-950A-41FC9BC8C8A8}" dt="2018-05-15T16:48:34.471" v="6378" actId="2696"/>
          <pc:sldLayoutMkLst>
            <pc:docMk/>
            <pc:sldMasterMk cId="399256971" sldId="2147484955"/>
            <pc:sldLayoutMk cId="4082393551" sldId="2147484978"/>
          </pc:sldLayoutMkLst>
        </pc:sldLayoutChg>
        <pc:sldLayoutChg chg="del">
          <pc:chgData name="Patrick El-Azem" userId="e9a1393194618efd" providerId="LiveId" clId="{0E83E319-DD06-42C9-950A-41FC9BC8C8A8}" dt="2018-05-15T16:48:34.487" v="6379" actId="2696"/>
          <pc:sldLayoutMkLst>
            <pc:docMk/>
            <pc:sldMasterMk cId="399256971" sldId="2147484955"/>
            <pc:sldLayoutMk cId="622370688" sldId="2147484979"/>
          </pc:sldLayoutMkLst>
        </pc:sldLayoutChg>
        <pc:sldLayoutChg chg="del">
          <pc:chgData name="Patrick El-Azem" userId="e9a1393194618efd" providerId="LiveId" clId="{0E83E319-DD06-42C9-950A-41FC9BC8C8A8}" dt="2018-05-15T16:48:34.503" v="6380" actId="2696"/>
          <pc:sldLayoutMkLst>
            <pc:docMk/>
            <pc:sldMasterMk cId="399256971" sldId="2147484955"/>
            <pc:sldLayoutMk cId="3494425895" sldId="2147484980"/>
          </pc:sldLayoutMkLst>
        </pc:sldLayoutChg>
        <pc:sldLayoutChg chg="del">
          <pc:chgData name="Patrick El-Azem" userId="e9a1393194618efd" providerId="LiveId" clId="{0E83E319-DD06-42C9-950A-41FC9BC8C8A8}" dt="2018-05-15T16:48:34.503" v="6381" actId="2696"/>
          <pc:sldLayoutMkLst>
            <pc:docMk/>
            <pc:sldMasterMk cId="399256971" sldId="2147484955"/>
            <pc:sldLayoutMk cId="4161247229" sldId="2147484981"/>
          </pc:sldLayoutMkLst>
        </pc:sldLayoutChg>
        <pc:sldLayoutChg chg="del">
          <pc:chgData name="Patrick El-Azem" userId="e9a1393194618efd" providerId="LiveId" clId="{0E83E319-DD06-42C9-950A-41FC9BC8C8A8}" dt="2018-05-15T16:48:34.518" v="6382" actId="2696"/>
          <pc:sldLayoutMkLst>
            <pc:docMk/>
            <pc:sldMasterMk cId="399256971" sldId="2147484955"/>
            <pc:sldLayoutMk cId="4114588933" sldId="2147484982"/>
          </pc:sldLayoutMkLst>
        </pc:sldLayoutChg>
        <pc:sldLayoutChg chg="del">
          <pc:chgData name="Patrick El-Azem" userId="e9a1393194618efd" providerId="LiveId" clId="{0E83E319-DD06-42C9-950A-41FC9BC8C8A8}" dt="2018-05-15T16:48:34.534" v="6383" actId="2696"/>
          <pc:sldLayoutMkLst>
            <pc:docMk/>
            <pc:sldMasterMk cId="399256971" sldId="2147484955"/>
            <pc:sldLayoutMk cId="1051843132" sldId="2147484983"/>
          </pc:sldLayoutMkLst>
        </pc:sldLayoutChg>
        <pc:sldLayoutChg chg="del">
          <pc:chgData name="Patrick El-Azem" userId="e9a1393194618efd" providerId="LiveId" clId="{0E83E319-DD06-42C9-950A-41FC9BC8C8A8}" dt="2018-05-15T16:48:34.534" v="6384" actId="2696"/>
          <pc:sldLayoutMkLst>
            <pc:docMk/>
            <pc:sldMasterMk cId="399256971" sldId="2147484955"/>
            <pc:sldLayoutMk cId="3239963036" sldId="2147484984"/>
          </pc:sldLayoutMkLst>
        </pc:sldLayoutChg>
        <pc:sldLayoutChg chg="del">
          <pc:chgData name="Patrick El-Azem" userId="e9a1393194618efd" providerId="LiveId" clId="{0E83E319-DD06-42C9-950A-41FC9BC8C8A8}" dt="2018-05-15T16:48:34.549" v="6385" actId="2696"/>
          <pc:sldLayoutMkLst>
            <pc:docMk/>
            <pc:sldMasterMk cId="399256971" sldId="2147484955"/>
            <pc:sldLayoutMk cId="4083583833" sldId="2147484985"/>
          </pc:sldLayoutMkLst>
        </pc:sldLayoutChg>
        <pc:sldLayoutChg chg="del">
          <pc:chgData name="Patrick El-Azem" userId="e9a1393194618efd" providerId="LiveId" clId="{0E83E319-DD06-42C9-950A-41FC9BC8C8A8}" dt="2018-05-15T16:48:34.549" v="6386" actId="2696"/>
          <pc:sldLayoutMkLst>
            <pc:docMk/>
            <pc:sldMasterMk cId="399256971" sldId="2147484955"/>
            <pc:sldLayoutMk cId="437982149" sldId="2147484986"/>
          </pc:sldLayoutMkLst>
        </pc:sldLayoutChg>
        <pc:sldLayoutChg chg="del">
          <pc:chgData name="Patrick El-Azem" userId="e9a1393194618efd" providerId="LiveId" clId="{0E83E319-DD06-42C9-950A-41FC9BC8C8A8}" dt="2018-05-15T16:48:34.565" v="6387" actId="2696"/>
          <pc:sldLayoutMkLst>
            <pc:docMk/>
            <pc:sldMasterMk cId="399256971" sldId="2147484955"/>
            <pc:sldLayoutMk cId="201132235" sldId="2147484987"/>
          </pc:sldLayoutMkLst>
        </pc:sldLayoutChg>
      </pc:sldMasterChg>
      <pc:sldMasterChg chg="del delSldLayout">
        <pc:chgData name="Patrick El-Azem" userId="e9a1393194618efd" providerId="LiveId" clId="{0E83E319-DD06-42C9-950A-41FC9BC8C8A8}" dt="2018-05-15T16:48:38.595" v="6407" actId="2696"/>
        <pc:sldMasterMkLst>
          <pc:docMk/>
          <pc:sldMasterMk cId="3772008529" sldId="2147484998"/>
        </pc:sldMasterMkLst>
        <pc:sldLayoutChg chg="del">
          <pc:chgData name="Patrick El-Azem" userId="e9a1393194618efd" providerId="LiveId" clId="{0E83E319-DD06-42C9-950A-41FC9BC8C8A8}" dt="2018-05-15T16:48:38.470" v="6389" actId="2696"/>
          <pc:sldLayoutMkLst>
            <pc:docMk/>
            <pc:sldMasterMk cId="3772008529" sldId="2147484998"/>
            <pc:sldLayoutMk cId="2394890445" sldId="2147484999"/>
          </pc:sldLayoutMkLst>
        </pc:sldLayoutChg>
        <pc:sldLayoutChg chg="del">
          <pc:chgData name="Patrick El-Azem" userId="e9a1393194618efd" providerId="LiveId" clId="{0E83E319-DD06-42C9-950A-41FC9BC8C8A8}" dt="2018-05-15T16:48:38.470" v="6390" actId="2696"/>
          <pc:sldLayoutMkLst>
            <pc:docMk/>
            <pc:sldMasterMk cId="3772008529" sldId="2147484998"/>
            <pc:sldLayoutMk cId="2370411262" sldId="2147485000"/>
          </pc:sldLayoutMkLst>
        </pc:sldLayoutChg>
        <pc:sldLayoutChg chg="del">
          <pc:chgData name="Patrick El-Azem" userId="e9a1393194618efd" providerId="LiveId" clId="{0E83E319-DD06-42C9-950A-41FC9BC8C8A8}" dt="2018-05-15T16:48:38.470" v="6391" actId="2696"/>
          <pc:sldLayoutMkLst>
            <pc:docMk/>
            <pc:sldMasterMk cId="3772008529" sldId="2147484998"/>
            <pc:sldLayoutMk cId="2042106388" sldId="2147485001"/>
          </pc:sldLayoutMkLst>
        </pc:sldLayoutChg>
        <pc:sldLayoutChg chg="del">
          <pc:chgData name="Patrick El-Azem" userId="e9a1393194618efd" providerId="LiveId" clId="{0E83E319-DD06-42C9-950A-41FC9BC8C8A8}" dt="2018-05-15T16:48:38.486" v="6392" actId="2696"/>
          <pc:sldLayoutMkLst>
            <pc:docMk/>
            <pc:sldMasterMk cId="3772008529" sldId="2147484998"/>
            <pc:sldLayoutMk cId="2511887526" sldId="2147485002"/>
          </pc:sldLayoutMkLst>
        </pc:sldLayoutChg>
        <pc:sldLayoutChg chg="del">
          <pc:chgData name="Patrick El-Azem" userId="e9a1393194618efd" providerId="LiveId" clId="{0E83E319-DD06-42C9-950A-41FC9BC8C8A8}" dt="2018-05-15T16:48:38.486" v="6393" actId="2696"/>
          <pc:sldLayoutMkLst>
            <pc:docMk/>
            <pc:sldMasterMk cId="3772008529" sldId="2147484998"/>
            <pc:sldLayoutMk cId="2992721161" sldId="2147485003"/>
          </pc:sldLayoutMkLst>
        </pc:sldLayoutChg>
        <pc:sldLayoutChg chg="del">
          <pc:chgData name="Patrick El-Azem" userId="e9a1393194618efd" providerId="LiveId" clId="{0E83E319-DD06-42C9-950A-41FC9BC8C8A8}" dt="2018-05-15T16:48:38.502" v="6394" actId="2696"/>
          <pc:sldLayoutMkLst>
            <pc:docMk/>
            <pc:sldMasterMk cId="3772008529" sldId="2147484998"/>
            <pc:sldLayoutMk cId="4006915569" sldId="2147485004"/>
          </pc:sldLayoutMkLst>
        </pc:sldLayoutChg>
        <pc:sldLayoutChg chg="del">
          <pc:chgData name="Patrick El-Azem" userId="e9a1393194618efd" providerId="LiveId" clId="{0E83E319-DD06-42C9-950A-41FC9BC8C8A8}" dt="2018-05-15T16:48:38.502" v="6395" actId="2696"/>
          <pc:sldLayoutMkLst>
            <pc:docMk/>
            <pc:sldMasterMk cId="3772008529" sldId="2147484998"/>
            <pc:sldLayoutMk cId="2364535437" sldId="2147485005"/>
          </pc:sldLayoutMkLst>
        </pc:sldLayoutChg>
        <pc:sldLayoutChg chg="del">
          <pc:chgData name="Patrick El-Azem" userId="e9a1393194618efd" providerId="LiveId" clId="{0E83E319-DD06-42C9-950A-41FC9BC8C8A8}" dt="2018-05-15T16:48:38.502" v="6396" actId="2696"/>
          <pc:sldLayoutMkLst>
            <pc:docMk/>
            <pc:sldMasterMk cId="3772008529" sldId="2147484998"/>
            <pc:sldLayoutMk cId="1325924231" sldId="2147485006"/>
          </pc:sldLayoutMkLst>
        </pc:sldLayoutChg>
        <pc:sldLayoutChg chg="del">
          <pc:chgData name="Patrick El-Azem" userId="e9a1393194618efd" providerId="LiveId" clId="{0E83E319-DD06-42C9-950A-41FC9BC8C8A8}" dt="2018-05-15T16:48:38.517" v="6397" actId="2696"/>
          <pc:sldLayoutMkLst>
            <pc:docMk/>
            <pc:sldMasterMk cId="3772008529" sldId="2147484998"/>
            <pc:sldLayoutMk cId="1759227164" sldId="2147485007"/>
          </pc:sldLayoutMkLst>
        </pc:sldLayoutChg>
        <pc:sldLayoutChg chg="del">
          <pc:chgData name="Patrick El-Azem" userId="e9a1393194618efd" providerId="LiveId" clId="{0E83E319-DD06-42C9-950A-41FC9BC8C8A8}" dt="2018-05-15T16:48:38.517" v="6398" actId="2696"/>
          <pc:sldLayoutMkLst>
            <pc:docMk/>
            <pc:sldMasterMk cId="3772008529" sldId="2147484998"/>
            <pc:sldLayoutMk cId="1509191315" sldId="2147485008"/>
          </pc:sldLayoutMkLst>
        </pc:sldLayoutChg>
        <pc:sldLayoutChg chg="del">
          <pc:chgData name="Patrick El-Azem" userId="e9a1393194618efd" providerId="LiveId" clId="{0E83E319-DD06-42C9-950A-41FC9BC8C8A8}" dt="2018-05-15T16:48:38.533" v="6399" actId="2696"/>
          <pc:sldLayoutMkLst>
            <pc:docMk/>
            <pc:sldMasterMk cId="3772008529" sldId="2147484998"/>
            <pc:sldLayoutMk cId="1991487488" sldId="2147485009"/>
          </pc:sldLayoutMkLst>
        </pc:sldLayoutChg>
        <pc:sldLayoutChg chg="del">
          <pc:chgData name="Patrick El-Azem" userId="e9a1393194618efd" providerId="LiveId" clId="{0E83E319-DD06-42C9-950A-41FC9BC8C8A8}" dt="2018-05-15T16:48:38.533" v="6400" actId="2696"/>
          <pc:sldLayoutMkLst>
            <pc:docMk/>
            <pc:sldMasterMk cId="3772008529" sldId="2147484998"/>
            <pc:sldLayoutMk cId="2636869429" sldId="2147485010"/>
          </pc:sldLayoutMkLst>
        </pc:sldLayoutChg>
        <pc:sldLayoutChg chg="del">
          <pc:chgData name="Patrick El-Azem" userId="e9a1393194618efd" providerId="LiveId" clId="{0E83E319-DD06-42C9-950A-41FC9BC8C8A8}" dt="2018-05-15T16:48:38.548" v="6401" actId="2696"/>
          <pc:sldLayoutMkLst>
            <pc:docMk/>
            <pc:sldMasterMk cId="3772008529" sldId="2147484998"/>
            <pc:sldLayoutMk cId="816096265" sldId="2147485011"/>
          </pc:sldLayoutMkLst>
        </pc:sldLayoutChg>
        <pc:sldLayoutChg chg="del">
          <pc:chgData name="Patrick El-Azem" userId="e9a1393194618efd" providerId="LiveId" clId="{0E83E319-DD06-42C9-950A-41FC9BC8C8A8}" dt="2018-05-15T16:48:38.548" v="6402" actId="2696"/>
          <pc:sldLayoutMkLst>
            <pc:docMk/>
            <pc:sldMasterMk cId="3772008529" sldId="2147484998"/>
            <pc:sldLayoutMk cId="479614929" sldId="2147485012"/>
          </pc:sldLayoutMkLst>
        </pc:sldLayoutChg>
        <pc:sldLayoutChg chg="del">
          <pc:chgData name="Patrick El-Azem" userId="e9a1393194618efd" providerId="LiveId" clId="{0E83E319-DD06-42C9-950A-41FC9BC8C8A8}" dt="2018-05-15T16:48:38.564" v="6403" actId="2696"/>
          <pc:sldLayoutMkLst>
            <pc:docMk/>
            <pc:sldMasterMk cId="3772008529" sldId="2147484998"/>
            <pc:sldLayoutMk cId="1828177577" sldId="2147485013"/>
          </pc:sldLayoutMkLst>
        </pc:sldLayoutChg>
        <pc:sldLayoutChg chg="del">
          <pc:chgData name="Patrick El-Azem" userId="e9a1393194618efd" providerId="LiveId" clId="{0E83E319-DD06-42C9-950A-41FC9BC8C8A8}" dt="2018-05-15T16:48:38.564" v="6404" actId="2696"/>
          <pc:sldLayoutMkLst>
            <pc:docMk/>
            <pc:sldMasterMk cId="3772008529" sldId="2147484998"/>
            <pc:sldLayoutMk cId="4085792694" sldId="2147485014"/>
          </pc:sldLayoutMkLst>
        </pc:sldLayoutChg>
        <pc:sldLayoutChg chg="del">
          <pc:chgData name="Patrick El-Azem" userId="e9a1393194618efd" providerId="LiveId" clId="{0E83E319-DD06-42C9-950A-41FC9BC8C8A8}" dt="2018-05-15T16:48:38.564" v="6405" actId="2696"/>
          <pc:sldLayoutMkLst>
            <pc:docMk/>
            <pc:sldMasterMk cId="3772008529" sldId="2147484998"/>
            <pc:sldLayoutMk cId="3473703212" sldId="2147485015"/>
          </pc:sldLayoutMkLst>
        </pc:sldLayoutChg>
        <pc:sldLayoutChg chg="del">
          <pc:chgData name="Patrick El-Azem" userId="e9a1393194618efd" providerId="LiveId" clId="{0E83E319-DD06-42C9-950A-41FC9BC8C8A8}" dt="2018-05-15T16:48:38.580" v="6406" actId="2696"/>
          <pc:sldLayoutMkLst>
            <pc:docMk/>
            <pc:sldMasterMk cId="3772008529" sldId="2147484998"/>
            <pc:sldLayoutMk cId="420342739" sldId="2147485017"/>
          </pc:sldLayoutMkLst>
        </pc:sldLayoutChg>
      </pc:sldMasterChg>
      <pc:sldMasterChg chg="del delSldLayout">
        <pc:chgData name="Patrick El-Azem" userId="e9a1393194618efd" providerId="LiveId" clId="{0E83E319-DD06-42C9-950A-41FC9BC8C8A8}" dt="2018-05-15T16:48:42.922" v="6428" actId="2696"/>
        <pc:sldMasterMkLst>
          <pc:docMk/>
          <pc:sldMasterMk cId="1324305708" sldId="2147485018"/>
        </pc:sldMasterMkLst>
        <pc:sldLayoutChg chg="del">
          <pc:chgData name="Patrick El-Azem" userId="e9a1393194618efd" providerId="LiveId" clId="{0E83E319-DD06-42C9-950A-41FC9BC8C8A8}" dt="2018-05-15T16:48:42.813" v="6408" actId="2696"/>
          <pc:sldLayoutMkLst>
            <pc:docMk/>
            <pc:sldMasterMk cId="1324305708" sldId="2147485018"/>
            <pc:sldLayoutMk cId="1975532570" sldId="2147485019"/>
          </pc:sldLayoutMkLst>
        </pc:sldLayoutChg>
        <pc:sldLayoutChg chg="del">
          <pc:chgData name="Patrick El-Azem" userId="e9a1393194618efd" providerId="LiveId" clId="{0E83E319-DD06-42C9-950A-41FC9BC8C8A8}" dt="2018-05-15T16:48:42.813" v="6409" actId="2696"/>
          <pc:sldLayoutMkLst>
            <pc:docMk/>
            <pc:sldMasterMk cId="1324305708" sldId="2147485018"/>
            <pc:sldLayoutMk cId="3337914879" sldId="2147485020"/>
          </pc:sldLayoutMkLst>
        </pc:sldLayoutChg>
        <pc:sldLayoutChg chg="del">
          <pc:chgData name="Patrick El-Azem" userId="e9a1393194618efd" providerId="LiveId" clId="{0E83E319-DD06-42C9-950A-41FC9BC8C8A8}" dt="2018-05-15T16:48:42.829" v="6410" actId="2696"/>
          <pc:sldLayoutMkLst>
            <pc:docMk/>
            <pc:sldMasterMk cId="1324305708" sldId="2147485018"/>
            <pc:sldLayoutMk cId="3281355500" sldId="2147485021"/>
          </pc:sldLayoutMkLst>
        </pc:sldLayoutChg>
        <pc:sldLayoutChg chg="del">
          <pc:chgData name="Patrick El-Azem" userId="e9a1393194618efd" providerId="LiveId" clId="{0E83E319-DD06-42C9-950A-41FC9BC8C8A8}" dt="2018-05-15T16:48:42.829" v="6411" actId="2696"/>
          <pc:sldLayoutMkLst>
            <pc:docMk/>
            <pc:sldMasterMk cId="1324305708" sldId="2147485018"/>
            <pc:sldLayoutMk cId="3685371407" sldId="2147485022"/>
          </pc:sldLayoutMkLst>
        </pc:sldLayoutChg>
        <pc:sldLayoutChg chg="del">
          <pc:chgData name="Patrick El-Azem" userId="e9a1393194618efd" providerId="LiveId" clId="{0E83E319-DD06-42C9-950A-41FC9BC8C8A8}" dt="2018-05-15T16:48:42.829" v="6412" actId="2696"/>
          <pc:sldLayoutMkLst>
            <pc:docMk/>
            <pc:sldMasterMk cId="1324305708" sldId="2147485018"/>
            <pc:sldLayoutMk cId="1613256426" sldId="2147485023"/>
          </pc:sldLayoutMkLst>
        </pc:sldLayoutChg>
        <pc:sldLayoutChg chg="del">
          <pc:chgData name="Patrick El-Azem" userId="e9a1393194618efd" providerId="LiveId" clId="{0E83E319-DD06-42C9-950A-41FC9BC8C8A8}" dt="2018-05-15T16:48:42.844" v="6413" actId="2696"/>
          <pc:sldLayoutMkLst>
            <pc:docMk/>
            <pc:sldMasterMk cId="1324305708" sldId="2147485018"/>
            <pc:sldLayoutMk cId="2759993295" sldId="2147485024"/>
          </pc:sldLayoutMkLst>
        </pc:sldLayoutChg>
        <pc:sldLayoutChg chg="del">
          <pc:chgData name="Patrick El-Azem" userId="e9a1393194618efd" providerId="LiveId" clId="{0E83E319-DD06-42C9-950A-41FC9BC8C8A8}" dt="2018-05-15T16:48:42.844" v="6414" actId="2696"/>
          <pc:sldLayoutMkLst>
            <pc:docMk/>
            <pc:sldMasterMk cId="1324305708" sldId="2147485018"/>
            <pc:sldLayoutMk cId="2953105036" sldId="2147485025"/>
          </pc:sldLayoutMkLst>
        </pc:sldLayoutChg>
        <pc:sldLayoutChg chg="del">
          <pc:chgData name="Patrick El-Azem" userId="e9a1393194618efd" providerId="LiveId" clId="{0E83E319-DD06-42C9-950A-41FC9BC8C8A8}" dt="2018-05-15T16:48:42.844" v="6415" actId="2696"/>
          <pc:sldLayoutMkLst>
            <pc:docMk/>
            <pc:sldMasterMk cId="1324305708" sldId="2147485018"/>
            <pc:sldLayoutMk cId="908973293" sldId="2147485026"/>
          </pc:sldLayoutMkLst>
        </pc:sldLayoutChg>
        <pc:sldLayoutChg chg="del">
          <pc:chgData name="Patrick El-Azem" userId="e9a1393194618efd" providerId="LiveId" clId="{0E83E319-DD06-42C9-950A-41FC9BC8C8A8}" dt="2018-05-15T16:48:42.860" v="6416" actId="2696"/>
          <pc:sldLayoutMkLst>
            <pc:docMk/>
            <pc:sldMasterMk cId="1324305708" sldId="2147485018"/>
            <pc:sldLayoutMk cId="2275063226" sldId="2147485027"/>
          </pc:sldLayoutMkLst>
        </pc:sldLayoutChg>
        <pc:sldLayoutChg chg="del">
          <pc:chgData name="Patrick El-Azem" userId="e9a1393194618efd" providerId="LiveId" clId="{0E83E319-DD06-42C9-950A-41FC9BC8C8A8}" dt="2018-05-15T16:48:42.860" v="6417" actId="2696"/>
          <pc:sldLayoutMkLst>
            <pc:docMk/>
            <pc:sldMasterMk cId="1324305708" sldId="2147485018"/>
            <pc:sldLayoutMk cId="1361912140" sldId="2147485028"/>
          </pc:sldLayoutMkLst>
        </pc:sldLayoutChg>
        <pc:sldLayoutChg chg="del">
          <pc:chgData name="Patrick El-Azem" userId="e9a1393194618efd" providerId="LiveId" clId="{0E83E319-DD06-42C9-950A-41FC9BC8C8A8}" dt="2018-05-15T16:48:42.860" v="6418" actId="2696"/>
          <pc:sldLayoutMkLst>
            <pc:docMk/>
            <pc:sldMasterMk cId="1324305708" sldId="2147485018"/>
            <pc:sldLayoutMk cId="1119941147" sldId="2147485029"/>
          </pc:sldLayoutMkLst>
        </pc:sldLayoutChg>
        <pc:sldLayoutChg chg="del">
          <pc:chgData name="Patrick El-Azem" userId="e9a1393194618efd" providerId="LiveId" clId="{0E83E319-DD06-42C9-950A-41FC9BC8C8A8}" dt="2018-05-15T16:48:42.876" v="6419" actId="2696"/>
          <pc:sldLayoutMkLst>
            <pc:docMk/>
            <pc:sldMasterMk cId="1324305708" sldId="2147485018"/>
            <pc:sldLayoutMk cId="1524970782" sldId="2147485030"/>
          </pc:sldLayoutMkLst>
        </pc:sldLayoutChg>
        <pc:sldLayoutChg chg="del">
          <pc:chgData name="Patrick El-Azem" userId="e9a1393194618efd" providerId="LiveId" clId="{0E83E319-DD06-42C9-950A-41FC9BC8C8A8}" dt="2018-05-15T16:48:42.876" v="6420" actId="2696"/>
          <pc:sldLayoutMkLst>
            <pc:docMk/>
            <pc:sldMasterMk cId="1324305708" sldId="2147485018"/>
            <pc:sldLayoutMk cId="960257018" sldId="2147485031"/>
          </pc:sldLayoutMkLst>
        </pc:sldLayoutChg>
        <pc:sldLayoutChg chg="del">
          <pc:chgData name="Patrick El-Azem" userId="e9a1393194618efd" providerId="LiveId" clId="{0E83E319-DD06-42C9-950A-41FC9BC8C8A8}" dt="2018-05-15T16:48:42.876" v="6421" actId="2696"/>
          <pc:sldLayoutMkLst>
            <pc:docMk/>
            <pc:sldMasterMk cId="1324305708" sldId="2147485018"/>
            <pc:sldLayoutMk cId="3741081323" sldId="2147485032"/>
          </pc:sldLayoutMkLst>
        </pc:sldLayoutChg>
        <pc:sldLayoutChg chg="del">
          <pc:chgData name="Patrick El-Azem" userId="e9a1393194618efd" providerId="LiveId" clId="{0E83E319-DD06-42C9-950A-41FC9BC8C8A8}" dt="2018-05-15T16:48:42.891" v="6422" actId="2696"/>
          <pc:sldLayoutMkLst>
            <pc:docMk/>
            <pc:sldMasterMk cId="1324305708" sldId="2147485018"/>
            <pc:sldLayoutMk cId="3400365829" sldId="2147485033"/>
          </pc:sldLayoutMkLst>
        </pc:sldLayoutChg>
        <pc:sldLayoutChg chg="del">
          <pc:chgData name="Patrick El-Azem" userId="e9a1393194618efd" providerId="LiveId" clId="{0E83E319-DD06-42C9-950A-41FC9BC8C8A8}" dt="2018-05-15T16:48:42.891" v="6423" actId="2696"/>
          <pc:sldLayoutMkLst>
            <pc:docMk/>
            <pc:sldMasterMk cId="1324305708" sldId="2147485018"/>
            <pc:sldLayoutMk cId="2085337132" sldId="2147485034"/>
          </pc:sldLayoutMkLst>
        </pc:sldLayoutChg>
        <pc:sldLayoutChg chg="del">
          <pc:chgData name="Patrick El-Azem" userId="e9a1393194618efd" providerId="LiveId" clId="{0E83E319-DD06-42C9-950A-41FC9BC8C8A8}" dt="2018-05-15T16:48:42.891" v="6424" actId="2696"/>
          <pc:sldLayoutMkLst>
            <pc:docMk/>
            <pc:sldMasterMk cId="1324305708" sldId="2147485018"/>
            <pc:sldLayoutMk cId="1096981590" sldId="2147485035"/>
          </pc:sldLayoutMkLst>
        </pc:sldLayoutChg>
        <pc:sldLayoutChg chg="del">
          <pc:chgData name="Patrick El-Azem" userId="e9a1393194618efd" providerId="LiveId" clId="{0E83E319-DD06-42C9-950A-41FC9BC8C8A8}" dt="2018-05-15T16:48:42.907" v="6425" actId="2696"/>
          <pc:sldLayoutMkLst>
            <pc:docMk/>
            <pc:sldMasterMk cId="1324305708" sldId="2147485018"/>
            <pc:sldLayoutMk cId="3316849429" sldId="2147485036"/>
          </pc:sldLayoutMkLst>
        </pc:sldLayoutChg>
        <pc:sldLayoutChg chg="del">
          <pc:chgData name="Patrick El-Azem" userId="e9a1393194618efd" providerId="LiveId" clId="{0E83E319-DD06-42C9-950A-41FC9BC8C8A8}" dt="2018-05-15T16:48:42.907" v="6426" actId="2696"/>
          <pc:sldLayoutMkLst>
            <pc:docMk/>
            <pc:sldMasterMk cId="1324305708" sldId="2147485018"/>
            <pc:sldLayoutMk cId="1902498670" sldId="2147485037"/>
          </pc:sldLayoutMkLst>
        </pc:sldLayoutChg>
        <pc:sldLayoutChg chg="del">
          <pc:chgData name="Patrick El-Azem" userId="e9a1393194618efd" providerId="LiveId" clId="{0E83E319-DD06-42C9-950A-41FC9BC8C8A8}" dt="2018-05-15T16:48:42.907" v="6427" actId="2696"/>
          <pc:sldLayoutMkLst>
            <pc:docMk/>
            <pc:sldMasterMk cId="1324305708" sldId="2147485018"/>
            <pc:sldLayoutMk cId="509275204" sldId="2147485038"/>
          </pc:sldLayoutMkLst>
        </pc:sldLayoutChg>
      </pc:sldMasterChg>
      <pc:sldMasterChg chg="del delSldLayout">
        <pc:chgData name="Patrick El-Azem" userId="e9a1393194618efd" providerId="LiveId" clId="{0E83E319-DD06-42C9-950A-41FC9BC8C8A8}" dt="2018-05-15T16:48:46.686" v="6438" actId="2696"/>
        <pc:sldMasterMkLst>
          <pc:docMk/>
          <pc:sldMasterMk cId="2016772853" sldId="2147485039"/>
        </pc:sldMasterMkLst>
        <pc:sldLayoutChg chg="del">
          <pc:chgData name="Patrick El-Azem" userId="e9a1393194618efd" providerId="LiveId" clId="{0E83E319-DD06-42C9-950A-41FC9BC8C8A8}" dt="2018-05-15T16:48:46.593" v="6429" actId="2696"/>
          <pc:sldLayoutMkLst>
            <pc:docMk/>
            <pc:sldMasterMk cId="2016772853" sldId="2147485039"/>
            <pc:sldLayoutMk cId="2350319088" sldId="2147485040"/>
          </pc:sldLayoutMkLst>
        </pc:sldLayoutChg>
        <pc:sldLayoutChg chg="del">
          <pc:chgData name="Patrick El-Azem" userId="e9a1393194618efd" providerId="LiveId" clId="{0E83E319-DD06-42C9-950A-41FC9BC8C8A8}" dt="2018-05-15T16:48:46.608" v="6430" actId="2696"/>
          <pc:sldLayoutMkLst>
            <pc:docMk/>
            <pc:sldMasterMk cId="2016772853" sldId="2147485039"/>
            <pc:sldLayoutMk cId="1557570542" sldId="2147485041"/>
          </pc:sldLayoutMkLst>
        </pc:sldLayoutChg>
        <pc:sldLayoutChg chg="del">
          <pc:chgData name="Patrick El-Azem" userId="e9a1393194618efd" providerId="LiveId" clId="{0E83E319-DD06-42C9-950A-41FC9BC8C8A8}" dt="2018-05-15T16:48:46.624" v="6431" actId="2696"/>
          <pc:sldLayoutMkLst>
            <pc:docMk/>
            <pc:sldMasterMk cId="2016772853" sldId="2147485039"/>
            <pc:sldLayoutMk cId="2603087031" sldId="2147485042"/>
          </pc:sldLayoutMkLst>
        </pc:sldLayoutChg>
        <pc:sldLayoutChg chg="del">
          <pc:chgData name="Patrick El-Azem" userId="e9a1393194618efd" providerId="LiveId" clId="{0E83E319-DD06-42C9-950A-41FC9BC8C8A8}" dt="2018-05-15T16:48:46.624" v="6432" actId="2696"/>
          <pc:sldLayoutMkLst>
            <pc:docMk/>
            <pc:sldMasterMk cId="2016772853" sldId="2147485039"/>
            <pc:sldLayoutMk cId="3711422358" sldId="2147485043"/>
          </pc:sldLayoutMkLst>
        </pc:sldLayoutChg>
        <pc:sldLayoutChg chg="del">
          <pc:chgData name="Patrick El-Azem" userId="e9a1393194618efd" providerId="LiveId" clId="{0E83E319-DD06-42C9-950A-41FC9BC8C8A8}" dt="2018-05-15T16:48:46.624" v="6433" actId="2696"/>
          <pc:sldLayoutMkLst>
            <pc:docMk/>
            <pc:sldMasterMk cId="2016772853" sldId="2147485039"/>
            <pc:sldLayoutMk cId="1105949802" sldId="2147485044"/>
          </pc:sldLayoutMkLst>
        </pc:sldLayoutChg>
        <pc:sldLayoutChg chg="del">
          <pc:chgData name="Patrick El-Azem" userId="e9a1393194618efd" providerId="LiveId" clId="{0E83E319-DD06-42C9-950A-41FC9BC8C8A8}" dt="2018-05-15T16:48:46.655" v="6434" actId="2696"/>
          <pc:sldLayoutMkLst>
            <pc:docMk/>
            <pc:sldMasterMk cId="2016772853" sldId="2147485039"/>
            <pc:sldLayoutMk cId="2527432024" sldId="2147485045"/>
          </pc:sldLayoutMkLst>
        </pc:sldLayoutChg>
        <pc:sldLayoutChg chg="del">
          <pc:chgData name="Patrick El-Azem" userId="e9a1393194618efd" providerId="LiveId" clId="{0E83E319-DD06-42C9-950A-41FC9BC8C8A8}" dt="2018-05-15T16:48:46.655" v="6435" actId="2696"/>
          <pc:sldLayoutMkLst>
            <pc:docMk/>
            <pc:sldMasterMk cId="2016772853" sldId="2147485039"/>
            <pc:sldLayoutMk cId="3155501900" sldId="2147485046"/>
          </pc:sldLayoutMkLst>
        </pc:sldLayoutChg>
        <pc:sldLayoutChg chg="del">
          <pc:chgData name="Patrick El-Azem" userId="e9a1393194618efd" providerId="LiveId" clId="{0E83E319-DD06-42C9-950A-41FC9BC8C8A8}" dt="2018-05-15T16:48:46.671" v="6436" actId="2696"/>
          <pc:sldLayoutMkLst>
            <pc:docMk/>
            <pc:sldMasterMk cId="2016772853" sldId="2147485039"/>
            <pc:sldLayoutMk cId="602485842" sldId="2147485047"/>
          </pc:sldLayoutMkLst>
        </pc:sldLayoutChg>
        <pc:sldLayoutChg chg="del">
          <pc:chgData name="Patrick El-Azem" userId="e9a1393194618efd" providerId="LiveId" clId="{0E83E319-DD06-42C9-950A-41FC9BC8C8A8}" dt="2018-05-15T16:48:46.671" v="6437" actId="2696"/>
          <pc:sldLayoutMkLst>
            <pc:docMk/>
            <pc:sldMasterMk cId="2016772853" sldId="2147485039"/>
            <pc:sldLayoutMk cId="2237009439" sldId="2147485048"/>
          </pc:sldLayoutMkLst>
        </pc:sldLayoutChg>
      </pc:sldMasterChg>
      <pc:sldMasterChg chg="del delSldLayout">
        <pc:chgData name="Patrick El-Azem" userId="e9a1393194618efd" providerId="LiveId" clId="{0E83E319-DD06-42C9-950A-41FC9BC8C8A8}" dt="2018-05-15T16:48:50.857" v="6458" actId="2696"/>
        <pc:sldMasterMkLst>
          <pc:docMk/>
          <pc:sldMasterMk cId="1871214241" sldId="2147485049"/>
        </pc:sldMasterMkLst>
        <pc:sldLayoutChg chg="del">
          <pc:chgData name="Patrick El-Azem" userId="e9a1393194618efd" providerId="LiveId" clId="{0E83E319-DD06-42C9-950A-41FC9BC8C8A8}" dt="2018-05-15T16:48:50.748" v="6439" actId="2696"/>
          <pc:sldLayoutMkLst>
            <pc:docMk/>
            <pc:sldMasterMk cId="1871214241" sldId="2147485049"/>
            <pc:sldLayoutMk cId="735751300" sldId="2147485050"/>
          </pc:sldLayoutMkLst>
        </pc:sldLayoutChg>
        <pc:sldLayoutChg chg="del">
          <pc:chgData name="Patrick El-Azem" userId="e9a1393194618efd" providerId="LiveId" clId="{0E83E319-DD06-42C9-950A-41FC9BC8C8A8}" dt="2018-05-15T16:48:50.748" v="6440" actId="2696"/>
          <pc:sldLayoutMkLst>
            <pc:docMk/>
            <pc:sldMasterMk cId="1871214241" sldId="2147485049"/>
            <pc:sldLayoutMk cId="1678263384" sldId="2147485051"/>
          </pc:sldLayoutMkLst>
        </pc:sldLayoutChg>
        <pc:sldLayoutChg chg="del">
          <pc:chgData name="Patrick El-Azem" userId="e9a1393194618efd" providerId="LiveId" clId="{0E83E319-DD06-42C9-950A-41FC9BC8C8A8}" dt="2018-05-15T16:48:50.763" v="6441" actId="2696"/>
          <pc:sldLayoutMkLst>
            <pc:docMk/>
            <pc:sldMasterMk cId="1871214241" sldId="2147485049"/>
            <pc:sldLayoutMk cId="1052837946" sldId="2147485052"/>
          </pc:sldLayoutMkLst>
        </pc:sldLayoutChg>
        <pc:sldLayoutChg chg="del">
          <pc:chgData name="Patrick El-Azem" userId="e9a1393194618efd" providerId="LiveId" clId="{0E83E319-DD06-42C9-950A-41FC9BC8C8A8}" dt="2018-05-15T16:48:50.763" v="6442" actId="2696"/>
          <pc:sldLayoutMkLst>
            <pc:docMk/>
            <pc:sldMasterMk cId="1871214241" sldId="2147485049"/>
            <pc:sldLayoutMk cId="3785338991" sldId="2147485053"/>
          </pc:sldLayoutMkLst>
        </pc:sldLayoutChg>
        <pc:sldLayoutChg chg="del">
          <pc:chgData name="Patrick El-Azem" userId="e9a1393194618efd" providerId="LiveId" clId="{0E83E319-DD06-42C9-950A-41FC9BC8C8A8}" dt="2018-05-15T16:48:50.763" v="6443" actId="2696"/>
          <pc:sldLayoutMkLst>
            <pc:docMk/>
            <pc:sldMasterMk cId="1871214241" sldId="2147485049"/>
            <pc:sldLayoutMk cId="2489939889" sldId="2147485054"/>
          </pc:sldLayoutMkLst>
        </pc:sldLayoutChg>
        <pc:sldLayoutChg chg="del">
          <pc:chgData name="Patrick El-Azem" userId="e9a1393194618efd" providerId="LiveId" clId="{0E83E319-DD06-42C9-950A-41FC9BC8C8A8}" dt="2018-05-15T16:48:50.779" v="6444" actId="2696"/>
          <pc:sldLayoutMkLst>
            <pc:docMk/>
            <pc:sldMasterMk cId="1871214241" sldId="2147485049"/>
            <pc:sldLayoutMk cId="4287005358" sldId="2147485055"/>
          </pc:sldLayoutMkLst>
        </pc:sldLayoutChg>
        <pc:sldLayoutChg chg="del">
          <pc:chgData name="Patrick El-Azem" userId="e9a1393194618efd" providerId="LiveId" clId="{0E83E319-DD06-42C9-950A-41FC9BC8C8A8}" dt="2018-05-15T16:48:50.795" v="6445" actId="2696"/>
          <pc:sldLayoutMkLst>
            <pc:docMk/>
            <pc:sldMasterMk cId="1871214241" sldId="2147485049"/>
            <pc:sldLayoutMk cId="2493110982" sldId="2147485056"/>
          </pc:sldLayoutMkLst>
        </pc:sldLayoutChg>
        <pc:sldLayoutChg chg="del">
          <pc:chgData name="Patrick El-Azem" userId="e9a1393194618efd" providerId="LiveId" clId="{0E83E319-DD06-42C9-950A-41FC9BC8C8A8}" dt="2018-05-15T16:48:50.795" v="6446" actId="2696"/>
          <pc:sldLayoutMkLst>
            <pc:docMk/>
            <pc:sldMasterMk cId="1871214241" sldId="2147485049"/>
            <pc:sldLayoutMk cId="101611077" sldId="2147485057"/>
          </pc:sldLayoutMkLst>
        </pc:sldLayoutChg>
        <pc:sldLayoutChg chg="del">
          <pc:chgData name="Patrick El-Azem" userId="e9a1393194618efd" providerId="LiveId" clId="{0E83E319-DD06-42C9-950A-41FC9BC8C8A8}" dt="2018-05-15T16:48:50.795" v="6447" actId="2696"/>
          <pc:sldLayoutMkLst>
            <pc:docMk/>
            <pc:sldMasterMk cId="1871214241" sldId="2147485049"/>
            <pc:sldLayoutMk cId="3412342695" sldId="2147485058"/>
          </pc:sldLayoutMkLst>
        </pc:sldLayoutChg>
        <pc:sldLayoutChg chg="del">
          <pc:chgData name="Patrick El-Azem" userId="e9a1393194618efd" providerId="LiveId" clId="{0E83E319-DD06-42C9-950A-41FC9BC8C8A8}" dt="2018-05-15T16:48:50.810" v="6448" actId="2696"/>
          <pc:sldLayoutMkLst>
            <pc:docMk/>
            <pc:sldMasterMk cId="1871214241" sldId="2147485049"/>
            <pc:sldLayoutMk cId="3639358809" sldId="2147485059"/>
          </pc:sldLayoutMkLst>
        </pc:sldLayoutChg>
        <pc:sldLayoutChg chg="del">
          <pc:chgData name="Patrick El-Azem" userId="e9a1393194618efd" providerId="LiveId" clId="{0E83E319-DD06-42C9-950A-41FC9BC8C8A8}" dt="2018-05-15T16:48:50.810" v="6449" actId="2696"/>
          <pc:sldLayoutMkLst>
            <pc:docMk/>
            <pc:sldMasterMk cId="1871214241" sldId="2147485049"/>
            <pc:sldLayoutMk cId="3766619026" sldId="2147485060"/>
          </pc:sldLayoutMkLst>
        </pc:sldLayoutChg>
        <pc:sldLayoutChg chg="del">
          <pc:chgData name="Patrick El-Azem" userId="e9a1393194618efd" providerId="LiveId" clId="{0E83E319-DD06-42C9-950A-41FC9BC8C8A8}" dt="2018-05-15T16:48:50.810" v="6450" actId="2696"/>
          <pc:sldLayoutMkLst>
            <pc:docMk/>
            <pc:sldMasterMk cId="1871214241" sldId="2147485049"/>
            <pc:sldLayoutMk cId="3608782278" sldId="2147485061"/>
          </pc:sldLayoutMkLst>
        </pc:sldLayoutChg>
        <pc:sldLayoutChg chg="del">
          <pc:chgData name="Patrick El-Azem" userId="e9a1393194618efd" providerId="LiveId" clId="{0E83E319-DD06-42C9-950A-41FC9BC8C8A8}" dt="2018-05-15T16:48:50.826" v="6451" actId="2696"/>
          <pc:sldLayoutMkLst>
            <pc:docMk/>
            <pc:sldMasterMk cId="1871214241" sldId="2147485049"/>
            <pc:sldLayoutMk cId="699230904" sldId="2147485062"/>
          </pc:sldLayoutMkLst>
        </pc:sldLayoutChg>
        <pc:sldLayoutChg chg="del">
          <pc:chgData name="Patrick El-Azem" userId="e9a1393194618efd" providerId="LiveId" clId="{0E83E319-DD06-42C9-950A-41FC9BC8C8A8}" dt="2018-05-15T16:48:50.826" v="6452" actId="2696"/>
          <pc:sldLayoutMkLst>
            <pc:docMk/>
            <pc:sldMasterMk cId="1871214241" sldId="2147485049"/>
            <pc:sldLayoutMk cId="1833665129" sldId="2147485063"/>
          </pc:sldLayoutMkLst>
        </pc:sldLayoutChg>
        <pc:sldLayoutChg chg="del">
          <pc:chgData name="Patrick El-Azem" userId="e9a1393194618efd" providerId="LiveId" clId="{0E83E319-DD06-42C9-950A-41FC9BC8C8A8}" dt="2018-05-15T16:48:50.826" v="6453" actId="2696"/>
          <pc:sldLayoutMkLst>
            <pc:docMk/>
            <pc:sldMasterMk cId="1871214241" sldId="2147485049"/>
            <pc:sldLayoutMk cId="3009623535" sldId="2147485064"/>
          </pc:sldLayoutMkLst>
        </pc:sldLayoutChg>
        <pc:sldLayoutChg chg="del">
          <pc:chgData name="Patrick El-Azem" userId="e9a1393194618efd" providerId="LiveId" clId="{0E83E319-DD06-42C9-950A-41FC9BC8C8A8}" dt="2018-05-15T16:48:50.842" v="6454" actId="2696"/>
          <pc:sldLayoutMkLst>
            <pc:docMk/>
            <pc:sldMasterMk cId="1871214241" sldId="2147485049"/>
            <pc:sldLayoutMk cId="393591504" sldId="2147485065"/>
          </pc:sldLayoutMkLst>
        </pc:sldLayoutChg>
        <pc:sldLayoutChg chg="del">
          <pc:chgData name="Patrick El-Azem" userId="e9a1393194618efd" providerId="LiveId" clId="{0E83E319-DD06-42C9-950A-41FC9BC8C8A8}" dt="2018-05-15T16:48:50.842" v="6455" actId="2696"/>
          <pc:sldLayoutMkLst>
            <pc:docMk/>
            <pc:sldMasterMk cId="1871214241" sldId="2147485049"/>
            <pc:sldLayoutMk cId="850053777" sldId="2147485066"/>
          </pc:sldLayoutMkLst>
        </pc:sldLayoutChg>
        <pc:sldLayoutChg chg="del">
          <pc:chgData name="Patrick El-Azem" userId="e9a1393194618efd" providerId="LiveId" clId="{0E83E319-DD06-42C9-950A-41FC9BC8C8A8}" dt="2018-05-15T16:48:50.842" v="6456" actId="2696"/>
          <pc:sldLayoutMkLst>
            <pc:docMk/>
            <pc:sldMasterMk cId="1871214241" sldId="2147485049"/>
            <pc:sldLayoutMk cId="2504147994" sldId="2147485067"/>
          </pc:sldLayoutMkLst>
        </pc:sldLayoutChg>
        <pc:sldLayoutChg chg="del">
          <pc:chgData name="Patrick El-Azem" userId="e9a1393194618efd" providerId="LiveId" clId="{0E83E319-DD06-42C9-950A-41FC9BC8C8A8}" dt="2018-05-15T16:48:50.857" v="6457" actId="2696"/>
          <pc:sldLayoutMkLst>
            <pc:docMk/>
            <pc:sldMasterMk cId="1871214241" sldId="2147485049"/>
            <pc:sldLayoutMk cId="687471621" sldId="2147485068"/>
          </pc:sldLayoutMkLst>
        </pc:sldLayoutChg>
      </pc:sldMasterChg>
      <pc:sldMasterChg chg="del delSldLayout">
        <pc:chgData name="Patrick El-Azem" userId="e9a1393194618efd" providerId="LiveId" clId="{0E83E319-DD06-42C9-950A-41FC9BC8C8A8}" dt="2018-05-15T16:55:26.273" v="6523" actId="2696"/>
        <pc:sldMasterMkLst>
          <pc:docMk/>
          <pc:sldMasterMk cId="263747801" sldId="2147485069"/>
        </pc:sldMasterMkLst>
        <pc:sldLayoutChg chg="del">
          <pc:chgData name="Patrick El-Azem" userId="e9a1393194618efd" providerId="LiveId" clId="{0E83E319-DD06-42C9-950A-41FC9BC8C8A8}" dt="2018-05-15T16:55:26.086" v="6492" actId="2696"/>
          <pc:sldLayoutMkLst>
            <pc:docMk/>
            <pc:sldMasterMk cId="263747801" sldId="2147485069"/>
            <pc:sldLayoutMk cId="1914947414" sldId="2147485070"/>
          </pc:sldLayoutMkLst>
        </pc:sldLayoutChg>
        <pc:sldLayoutChg chg="del">
          <pc:chgData name="Patrick El-Azem" userId="e9a1393194618efd" providerId="LiveId" clId="{0E83E319-DD06-42C9-950A-41FC9BC8C8A8}" dt="2018-05-15T16:55:26.101" v="6493" actId="2696"/>
          <pc:sldLayoutMkLst>
            <pc:docMk/>
            <pc:sldMasterMk cId="263747801" sldId="2147485069"/>
            <pc:sldLayoutMk cId="2938820322" sldId="2147485071"/>
          </pc:sldLayoutMkLst>
        </pc:sldLayoutChg>
        <pc:sldLayoutChg chg="del">
          <pc:chgData name="Patrick El-Azem" userId="e9a1393194618efd" providerId="LiveId" clId="{0E83E319-DD06-42C9-950A-41FC9BC8C8A8}" dt="2018-05-15T16:55:26.117" v="6494" actId="2696"/>
          <pc:sldLayoutMkLst>
            <pc:docMk/>
            <pc:sldMasterMk cId="263747801" sldId="2147485069"/>
            <pc:sldLayoutMk cId="1095980410" sldId="2147485072"/>
          </pc:sldLayoutMkLst>
        </pc:sldLayoutChg>
        <pc:sldLayoutChg chg="del">
          <pc:chgData name="Patrick El-Azem" userId="e9a1393194618efd" providerId="LiveId" clId="{0E83E319-DD06-42C9-950A-41FC9BC8C8A8}" dt="2018-05-15T16:55:26.117" v="6495" actId="2696"/>
          <pc:sldLayoutMkLst>
            <pc:docMk/>
            <pc:sldMasterMk cId="263747801" sldId="2147485069"/>
            <pc:sldLayoutMk cId="3753137050" sldId="2147485073"/>
          </pc:sldLayoutMkLst>
        </pc:sldLayoutChg>
        <pc:sldLayoutChg chg="del">
          <pc:chgData name="Patrick El-Azem" userId="e9a1393194618efd" providerId="LiveId" clId="{0E83E319-DD06-42C9-950A-41FC9BC8C8A8}" dt="2018-05-15T16:55:26.117" v="6496" actId="2696"/>
          <pc:sldLayoutMkLst>
            <pc:docMk/>
            <pc:sldMasterMk cId="263747801" sldId="2147485069"/>
            <pc:sldLayoutMk cId="4275832159" sldId="2147485074"/>
          </pc:sldLayoutMkLst>
        </pc:sldLayoutChg>
        <pc:sldLayoutChg chg="del">
          <pc:chgData name="Patrick El-Azem" userId="e9a1393194618efd" providerId="LiveId" clId="{0E83E319-DD06-42C9-950A-41FC9BC8C8A8}" dt="2018-05-15T16:55:26.117" v="6497" actId="2696"/>
          <pc:sldLayoutMkLst>
            <pc:docMk/>
            <pc:sldMasterMk cId="263747801" sldId="2147485069"/>
            <pc:sldLayoutMk cId="3632856075" sldId="2147485075"/>
          </pc:sldLayoutMkLst>
        </pc:sldLayoutChg>
        <pc:sldLayoutChg chg="del">
          <pc:chgData name="Patrick El-Azem" userId="e9a1393194618efd" providerId="LiveId" clId="{0E83E319-DD06-42C9-950A-41FC9BC8C8A8}" dt="2018-05-15T16:55:26.117" v="6498" actId="2696"/>
          <pc:sldLayoutMkLst>
            <pc:docMk/>
            <pc:sldMasterMk cId="263747801" sldId="2147485069"/>
            <pc:sldLayoutMk cId="2658931604" sldId="2147485076"/>
          </pc:sldLayoutMkLst>
        </pc:sldLayoutChg>
        <pc:sldLayoutChg chg="del">
          <pc:chgData name="Patrick El-Azem" userId="e9a1393194618efd" providerId="LiveId" clId="{0E83E319-DD06-42C9-950A-41FC9BC8C8A8}" dt="2018-05-15T16:55:26.132" v="6499" actId="2696"/>
          <pc:sldLayoutMkLst>
            <pc:docMk/>
            <pc:sldMasterMk cId="263747801" sldId="2147485069"/>
            <pc:sldLayoutMk cId="3340716055" sldId="2147485077"/>
          </pc:sldLayoutMkLst>
        </pc:sldLayoutChg>
        <pc:sldLayoutChg chg="del">
          <pc:chgData name="Patrick El-Azem" userId="e9a1393194618efd" providerId="LiveId" clId="{0E83E319-DD06-42C9-950A-41FC9BC8C8A8}" dt="2018-05-15T16:55:26.132" v="6500" actId="2696"/>
          <pc:sldLayoutMkLst>
            <pc:docMk/>
            <pc:sldMasterMk cId="263747801" sldId="2147485069"/>
            <pc:sldLayoutMk cId="1721951204" sldId="2147485078"/>
          </pc:sldLayoutMkLst>
        </pc:sldLayoutChg>
        <pc:sldLayoutChg chg="del">
          <pc:chgData name="Patrick El-Azem" userId="e9a1393194618efd" providerId="LiveId" clId="{0E83E319-DD06-42C9-950A-41FC9BC8C8A8}" dt="2018-05-15T16:55:26.132" v="6501" actId="2696"/>
          <pc:sldLayoutMkLst>
            <pc:docMk/>
            <pc:sldMasterMk cId="263747801" sldId="2147485069"/>
            <pc:sldLayoutMk cId="541511141" sldId="2147485079"/>
          </pc:sldLayoutMkLst>
        </pc:sldLayoutChg>
        <pc:sldLayoutChg chg="del">
          <pc:chgData name="Patrick El-Azem" userId="e9a1393194618efd" providerId="LiveId" clId="{0E83E319-DD06-42C9-950A-41FC9BC8C8A8}" dt="2018-05-15T16:55:26.132" v="6502" actId="2696"/>
          <pc:sldLayoutMkLst>
            <pc:docMk/>
            <pc:sldMasterMk cId="263747801" sldId="2147485069"/>
            <pc:sldLayoutMk cId="1208537111" sldId="2147485080"/>
          </pc:sldLayoutMkLst>
        </pc:sldLayoutChg>
        <pc:sldLayoutChg chg="del">
          <pc:chgData name="Patrick El-Azem" userId="e9a1393194618efd" providerId="LiveId" clId="{0E83E319-DD06-42C9-950A-41FC9BC8C8A8}" dt="2018-05-15T16:55:26.132" v="6503" actId="2696"/>
          <pc:sldLayoutMkLst>
            <pc:docMk/>
            <pc:sldMasterMk cId="263747801" sldId="2147485069"/>
            <pc:sldLayoutMk cId="1739485724" sldId="2147485081"/>
          </pc:sldLayoutMkLst>
        </pc:sldLayoutChg>
        <pc:sldLayoutChg chg="del">
          <pc:chgData name="Patrick El-Azem" userId="e9a1393194618efd" providerId="LiveId" clId="{0E83E319-DD06-42C9-950A-41FC9BC8C8A8}" dt="2018-05-15T16:55:26.132" v="6504" actId="2696"/>
          <pc:sldLayoutMkLst>
            <pc:docMk/>
            <pc:sldMasterMk cId="263747801" sldId="2147485069"/>
            <pc:sldLayoutMk cId="55146533" sldId="2147485082"/>
          </pc:sldLayoutMkLst>
        </pc:sldLayoutChg>
        <pc:sldLayoutChg chg="del">
          <pc:chgData name="Patrick El-Azem" userId="e9a1393194618efd" providerId="LiveId" clId="{0E83E319-DD06-42C9-950A-41FC9BC8C8A8}" dt="2018-05-15T16:55:26.148" v="6505" actId="2696"/>
          <pc:sldLayoutMkLst>
            <pc:docMk/>
            <pc:sldMasterMk cId="263747801" sldId="2147485069"/>
            <pc:sldLayoutMk cId="4176037338" sldId="2147485083"/>
          </pc:sldLayoutMkLst>
        </pc:sldLayoutChg>
        <pc:sldLayoutChg chg="del">
          <pc:chgData name="Patrick El-Azem" userId="e9a1393194618efd" providerId="LiveId" clId="{0E83E319-DD06-42C9-950A-41FC9BC8C8A8}" dt="2018-05-15T16:55:26.148" v="6506" actId="2696"/>
          <pc:sldLayoutMkLst>
            <pc:docMk/>
            <pc:sldMasterMk cId="263747801" sldId="2147485069"/>
            <pc:sldLayoutMk cId="4103094830" sldId="2147485084"/>
          </pc:sldLayoutMkLst>
        </pc:sldLayoutChg>
        <pc:sldLayoutChg chg="del">
          <pc:chgData name="Patrick El-Azem" userId="e9a1393194618efd" providerId="LiveId" clId="{0E83E319-DD06-42C9-950A-41FC9BC8C8A8}" dt="2018-05-15T16:55:26.164" v="6507" actId="2696"/>
          <pc:sldLayoutMkLst>
            <pc:docMk/>
            <pc:sldMasterMk cId="263747801" sldId="2147485069"/>
            <pc:sldLayoutMk cId="946849340" sldId="2147485085"/>
          </pc:sldLayoutMkLst>
        </pc:sldLayoutChg>
        <pc:sldLayoutChg chg="del">
          <pc:chgData name="Patrick El-Azem" userId="e9a1393194618efd" providerId="LiveId" clId="{0E83E319-DD06-42C9-950A-41FC9BC8C8A8}" dt="2018-05-15T16:55:26.179" v="6508" actId="2696"/>
          <pc:sldLayoutMkLst>
            <pc:docMk/>
            <pc:sldMasterMk cId="263747801" sldId="2147485069"/>
            <pc:sldLayoutMk cId="1221540262" sldId="2147485086"/>
          </pc:sldLayoutMkLst>
        </pc:sldLayoutChg>
        <pc:sldLayoutChg chg="del">
          <pc:chgData name="Patrick El-Azem" userId="e9a1393194618efd" providerId="LiveId" clId="{0E83E319-DD06-42C9-950A-41FC9BC8C8A8}" dt="2018-05-15T16:55:26.195" v="6509" actId="2696"/>
          <pc:sldLayoutMkLst>
            <pc:docMk/>
            <pc:sldMasterMk cId="263747801" sldId="2147485069"/>
            <pc:sldLayoutMk cId="3471627902" sldId="2147485087"/>
          </pc:sldLayoutMkLst>
        </pc:sldLayoutChg>
        <pc:sldLayoutChg chg="del">
          <pc:chgData name="Patrick El-Azem" userId="e9a1393194618efd" providerId="LiveId" clId="{0E83E319-DD06-42C9-950A-41FC9BC8C8A8}" dt="2018-05-15T16:55:26.211" v="6510" actId="2696"/>
          <pc:sldLayoutMkLst>
            <pc:docMk/>
            <pc:sldMasterMk cId="263747801" sldId="2147485069"/>
            <pc:sldLayoutMk cId="3731862689" sldId="2147485088"/>
          </pc:sldLayoutMkLst>
        </pc:sldLayoutChg>
        <pc:sldLayoutChg chg="del">
          <pc:chgData name="Patrick El-Azem" userId="e9a1393194618efd" providerId="LiveId" clId="{0E83E319-DD06-42C9-950A-41FC9BC8C8A8}" dt="2018-05-15T16:55:26.211" v="6511" actId="2696"/>
          <pc:sldLayoutMkLst>
            <pc:docMk/>
            <pc:sldMasterMk cId="263747801" sldId="2147485069"/>
            <pc:sldLayoutMk cId="1235981738" sldId="2147485090"/>
          </pc:sldLayoutMkLst>
        </pc:sldLayoutChg>
        <pc:sldLayoutChg chg="del">
          <pc:chgData name="Patrick El-Azem" userId="e9a1393194618efd" providerId="LiveId" clId="{0E83E319-DD06-42C9-950A-41FC9BC8C8A8}" dt="2018-05-15T16:55:26.211" v="6512" actId="2696"/>
          <pc:sldLayoutMkLst>
            <pc:docMk/>
            <pc:sldMasterMk cId="263747801" sldId="2147485069"/>
            <pc:sldLayoutMk cId="2317945706" sldId="2147485091"/>
          </pc:sldLayoutMkLst>
        </pc:sldLayoutChg>
        <pc:sldLayoutChg chg="del">
          <pc:chgData name="Patrick El-Azem" userId="e9a1393194618efd" providerId="LiveId" clId="{0E83E319-DD06-42C9-950A-41FC9BC8C8A8}" dt="2018-05-15T16:55:26.211" v="6513" actId="2696"/>
          <pc:sldLayoutMkLst>
            <pc:docMk/>
            <pc:sldMasterMk cId="263747801" sldId="2147485069"/>
            <pc:sldLayoutMk cId="3113688557" sldId="2147485092"/>
          </pc:sldLayoutMkLst>
        </pc:sldLayoutChg>
        <pc:sldLayoutChg chg="del">
          <pc:chgData name="Patrick El-Azem" userId="e9a1393194618efd" providerId="LiveId" clId="{0E83E319-DD06-42C9-950A-41FC9BC8C8A8}" dt="2018-05-15T16:55:26.226" v="6514" actId="2696"/>
          <pc:sldLayoutMkLst>
            <pc:docMk/>
            <pc:sldMasterMk cId="263747801" sldId="2147485069"/>
            <pc:sldLayoutMk cId="1465584255" sldId="2147485093"/>
          </pc:sldLayoutMkLst>
        </pc:sldLayoutChg>
        <pc:sldLayoutChg chg="del">
          <pc:chgData name="Patrick El-Azem" userId="e9a1393194618efd" providerId="LiveId" clId="{0E83E319-DD06-42C9-950A-41FC9BC8C8A8}" dt="2018-05-15T16:55:26.242" v="6515" actId="2696"/>
          <pc:sldLayoutMkLst>
            <pc:docMk/>
            <pc:sldMasterMk cId="263747801" sldId="2147485069"/>
            <pc:sldLayoutMk cId="3167056627" sldId="2147485094"/>
          </pc:sldLayoutMkLst>
        </pc:sldLayoutChg>
        <pc:sldLayoutChg chg="del">
          <pc:chgData name="Patrick El-Azem" userId="e9a1393194618efd" providerId="LiveId" clId="{0E83E319-DD06-42C9-950A-41FC9BC8C8A8}" dt="2018-05-15T16:55:26.242" v="6516" actId="2696"/>
          <pc:sldLayoutMkLst>
            <pc:docMk/>
            <pc:sldMasterMk cId="263747801" sldId="2147485069"/>
            <pc:sldLayoutMk cId="3100462984" sldId="2147485095"/>
          </pc:sldLayoutMkLst>
        </pc:sldLayoutChg>
        <pc:sldLayoutChg chg="del">
          <pc:chgData name="Patrick El-Azem" userId="e9a1393194618efd" providerId="LiveId" clId="{0E83E319-DD06-42C9-950A-41FC9BC8C8A8}" dt="2018-05-15T16:55:26.257" v="6517" actId="2696"/>
          <pc:sldLayoutMkLst>
            <pc:docMk/>
            <pc:sldMasterMk cId="263747801" sldId="2147485069"/>
            <pc:sldLayoutMk cId="1351899195" sldId="2147485096"/>
          </pc:sldLayoutMkLst>
        </pc:sldLayoutChg>
        <pc:sldLayoutChg chg="del">
          <pc:chgData name="Patrick El-Azem" userId="e9a1393194618efd" providerId="LiveId" clId="{0E83E319-DD06-42C9-950A-41FC9BC8C8A8}" dt="2018-05-15T16:55:26.257" v="6518" actId="2696"/>
          <pc:sldLayoutMkLst>
            <pc:docMk/>
            <pc:sldMasterMk cId="263747801" sldId="2147485069"/>
            <pc:sldLayoutMk cId="3502157960" sldId="2147485097"/>
          </pc:sldLayoutMkLst>
        </pc:sldLayoutChg>
        <pc:sldLayoutChg chg="del">
          <pc:chgData name="Patrick El-Azem" userId="e9a1393194618efd" providerId="LiveId" clId="{0E83E319-DD06-42C9-950A-41FC9BC8C8A8}" dt="2018-05-15T16:55:26.257" v="6519" actId="2696"/>
          <pc:sldLayoutMkLst>
            <pc:docMk/>
            <pc:sldMasterMk cId="263747801" sldId="2147485069"/>
            <pc:sldLayoutMk cId="2267769597" sldId="2147485098"/>
          </pc:sldLayoutMkLst>
        </pc:sldLayoutChg>
        <pc:sldLayoutChg chg="del">
          <pc:chgData name="Patrick El-Azem" userId="e9a1393194618efd" providerId="LiveId" clId="{0E83E319-DD06-42C9-950A-41FC9BC8C8A8}" dt="2018-05-15T16:55:26.257" v="6520" actId="2696"/>
          <pc:sldLayoutMkLst>
            <pc:docMk/>
            <pc:sldMasterMk cId="263747801" sldId="2147485069"/>
            <pc:sldLayoutMk cId="3852676874" sldId="2147485099"/>
          </pc:sldLayoutMkLst>
        </pc:sldLayoutChg>
        <pc:sldLayoutChg chg="del">
          <pc:chgData name="Patrick El-Azem" userId="e9a1393194618efd" providerId="LiveId" clId="{0E83E319-DD06-42C9-950A-41FC9BC8C8A8}" dt="2018-05-15T12:55:01.974" v="1162" actId="2696"/>
          <pc:sldLayoutMkLst>
            <pc:docMk/>
            <pc:sldMasterMk cId="263747801" sldId="2147485069"/>
            <pc:sldLayoutMk cId="1800032569" sldId="2147485169"/>
          </pc:sldLayoutMkLst>
        </pc:sldLayoutChg>
        <pc:sldLayoutChg chg="del">
          <pc:chgData name="Patrick El-Azem" userId="e9a1393194618efd" providerId="LiveId" clId="{0E83E319-DD06-42C9-950A-41FC9BC8C8A8}" dt="2018-05-15T16:55:26.257" v="6521" actId="2696"/>
          <pc:sldLayoutMkLst>
            <pc:docMk/>
            <pc:sldMasterMk cId="263747801" sldId="2147485069"/>
            <pc:sldLayoutMk cId="1899844774" sldId="2147485169"/>
          </pc:sldLayoutMkLst>
        </pc:sldLayoutChg>
        <pc:sldLayoutChg chg="del">
          <pc:chgData name="Patrick El-Azem" userId="e9a1393194618efd" providerId="LiveId" clId="{0E83E319-DD06-42C9-950A-41FC9BC8C8A8}" dt="2018-05-15T16:55:26.257" v="6522" actId="2696"/>
          <pc:sldLayoutMkLst>
            <pc:docMk/>
            <pc:sldMasterMk cId="263747801" sldId="2147485069"/>
            <pc:sldLayoutMk cId="1620561448" sldId="2147485170"/>
          </pc:sldLayoutMkLst>
        </pc:sldLayoutChg>
      </pc:sldMasterChg>
      <pc:sldMasterChg chg="del delSldLayout">
        <pc:chgData name="Patrick El-Azem" userId="e9a1393194618efd" providerId="LiveId" clId="{0E83E319-DD06-42C9-950A-41FC9BC8C8A8}" dt="2018-05-15T16:49:04.465" v="6476" actId="2696"/>
        <pc:sldMasterMkLst>
          <pc:docMk/>
          <pc:sldMasterMk cId="3215446572" sldId="2147485100"/>
        </pc:sldMasterMkLst>
        <pc:sldLayoutChg chg="del">
          <pc:chgData name="Patrick El-Azem" userId="e9a1393194618efd" providerId="LiveId" clId="{0E83E319-DD06-42C9-950A-41FC9BC8C8A8}" dt="2018-05-15T16:49:04.371" v="6459" actId="2696"/>
          <pc:sldLayoutMkLst>
            <pc:docMk/>
            <pc:sldMasterMk cId="3215446572" sldId="2147485100"/>
            <pc:sldLayoutMk cId="2529106557" sldId="2147485101"/>
          </pc:sldLayoutMkLst>
        </pc:sldLayoutChg>
        <pc:sldLayoutChg chg="del">
          <pc:chgData name="Patrick El-Azem" userId="e9a1393194618efd" providerId="LiveId" clId="{0E83E319-DD06-42C9-950A-41FC9BC8C8A8}" dt="2018-05-15T16:49:04.371" v="6460" actId="2696"/>
          <pc:sldLayoutMkLst>
            <pc:docMk/>
            <pc:sldMasterMk cId="3215446572" sldId="2147485100"/>
            <pc:sldLayoutMk cId="2613111727" sldId="2147485102"/>
          </pc:sldLayoutMkLst>
        </pc:sldLayoutChg>
        <pc:sldLayoutChg chg="del">
          <pc:chgData name="Patrick El-Azem" userId="e9a1393194618efd" providerId="LiveId" clId="{0E83E319-DD06-42C9-950A-41FC9BC8C8A8}" dt="2018-05-15T16:49:04.371" v="6461" actId="2696"/>
          <pc:sldLayoutMkLst>
            <pc:docMk/>
            <pc:sldMasterMk cId="3215446572" sldId="2147485100"/>
            <pc:sldLayoutMk cId="1963757049" sldId="2147485103"/>
          </pc:sldLayoutMkLst>
        </pc:sldLayoutChg>
        <pc:sldLayoutChg chg="del">
          <pc:chgData name="Patrick El-Azem" userId="e9a1393194618efd" providerId="LiveId" clId="{0E83E319-DD06-42C9-950A-41FC9BC8C8A8}" dt="2018-05-15T16:49:04.387" v="6462" actId="2696"/>
          <pc:sldLayoutMkLst>
            <pc:docMk/>
            <pc:sldMasterMk cId="3215446572" sldId="2147485100"/>
            <pc:sldLayoutMk cId="3778117875" sldId="2147485104"/>
          </pc:sldLayoutMkLst>
        </pc:sldLayoutChg>
        <pc:sldLayoutChg chg="del">
          <pc:chgData name="Patrick El-Azem" userId="e9a1393194618efd" providerId="LiveId" clId="{0E83E319-DD06-42C9-950A-41FC9BC8C8A8}" dt="2018-05-15T16:49:04.387" v="6463" actId="2696"/>
          <pc:sldLayoutMkLst>
            <pc:docMk/>
            <pc:sldMasterMk cId="3215446572" sldId="2147485100"/>
            <pc:sldLayoutMk cId="173094505" sldId="2147485105"/>
          </pc:sldLayoutMkLst>
        </pc:sldLayoutChg>
        <pc:sldLayoutChg chg="del">
          <pc:chgData name="Patrick El-Azem" userId="e9a1393194618efd" providerId="LiveId" clId="{0E83E319-DD06-42C9-950A-41FC9BC8C8A8}" dt="2018-05-15T16:49:04.402" v="6464" actId="2696"/>
          <pc:sldLayoutMkLst>
            <pc:docMk/>
            <pc:sldMasterMk cId="3215446572" sldId="2147485100"/>
            <pc:sldLayoutMk cId="18277109" sldId="2147485106"/>
          </pc:sldLayoutMkLst>
        </pc:sldLayoutChg>
        <pc:sldLayoutChg chg="del">
          <pc:chgData name="Patrick El-Azem" userId="e9a1393194618efd" providerId="LiveId" clId="{0E83E319-DD06-42C9-950A-41FC9BC8C8A8}" dt="2018-05-15T16:49:04.402" v="6465" actId="2696"/>
          <pc:sldLayoutMkLst>
            <pc:docMk/>
            <pc:sldMasterMk cId="3215446572" sldId="2147485100"/>
            <pc:sldLayoutMk cId="3440635277" sldId="2147485107"/>
          </pc:sldLayoutMkLst>
        </pc:sldLayoutChg>
        <pc:sldLayoutChg chg="del">
          <pc:chgData name="Patrick El-Azem" userId="e9a1393194618efd" providerId="LiveId" clId="{0E83E319-DD06-42C9-950A-41FC9BC8C8A8}" dt="2018-05-15T16:49:04.402" v="6466" actId="2696"/>
          <pc:sldLayoutMkLst>
            <pc:docMk/>
            <pc:sldMasterMk cId="3215446572" sldId="2147485100"/>
            <pc:sldLayoutMk cId="2758049175" sldId="2147485108"/>
          </pc:sldLayoutMkLst>
        </pc:sldLayoutChg>
        <pc:sldLayoutChg chg="del">
          <pc:chgData name="Patrick El-Azem" userId="e9a1393194618efd" providerId="LiveId" clId="{0E83E319-DD06-42C9-950A-41FC9BC8C8A8}" dt="2018-05-15T16:49:04.418" v="6467" actId="2696"/>
          <pc:sldLayoutMkLst>
            <pc:docMk/>
            <pc:sldMasterMk cId="3215446572" sldId="2147485100"/>
            <pc:sldLayoutMk cId="4154461481" sldId="2147485109"/>
          </pc:sldLayoutMkLst>
        </pc:sldLayoutChg>
        <pc:sldLayoutChg chg="del">
          <pc:chgData name="Patrick El-Azem" userId="e9a1393194618efd" providerId="LiveId" clId="{0E83E319-DD06-42C9-950A-41FC9BC8C8A8}" dt="2018-05-15T16:49:04.418" v="6468" actId="2696"/>
          <pc:sldLayoutMkLst>
            <pc:docMk/>
            <pc:sldMasterMk cId="3215446572" sldId="2147485100"/>
            <pc:sldLayoutMk cId="2713418577" sldId="2147485110"/>
          </pc:sldLayoutMkLst>
        </pc:sldLayoutChg>
        <pc:sldLayoutChg chg="del">
          <pc:chgData name="Patrick El-Azem" userId="e9a1393194618efd" providerId="LiveId" clId="{0E83E319-DD06-42C9-950A-41FC9BC8C8A8}" dt="2018-05-15T16:49:04.418" v="6469" actId="2696"/>
          <pc:sldLayoutMkLst>
            <pc:docMk/>
            <pc:sldMasterMk cId="3215446572" sldId="2147485100"/>
            <pc:sldLayoutMk cId="3816408784" sldId="2147485111"/>
          </pc:sldLayoutMkLst>
        </pc:sldLayoutChg>
        <pc:sldLayoutChg chg="del">
          <pc:chgData name="Patrick El-Azem" userId="e9a1393194618efd" providerId="LiveId" clId="{0E83E319-DD06-42C9-950A-41FC9BC8C8A8}" dt="2018-05-15T16:49:04.433" v="6470" actId="2696"/>
          <pc:sldLayoutMkLst>
            <pc:docMk/>
            <pc:sldMasterMk cId="3215446572" sldId="2147485100"/>
            <pc:sldLayoutMk cId="3028197374" sldId="2147485112"/>
          </pc:sldLayoutMkLst>
        </pc:sldLayoutChg>
        <pc:sldLayoutChg chg="del">
          <pc:chgData name="Patrick El-Azem" userId="e9a1393194618efd" providerId="LiveId" clId="{0E83E319-DD06-42C9-950A-41FC9BC8C8A8}" dt="2018-05-15T16:49:04.433" v="6471" actId="2696"/>
          <pc:sldLayoutMkLst>
            <pc:docMk/>
            <pc:sldMasterMk cId="3215446572" sldId="2147485100"/>
            <pc:sldLayoutMk cId="2835813984" sldId="2147485113"/>
          </pc:sldLayoutMkLst>
        </pc:sldLayoutChg>
        <pc:sldLayoutChg chg="del">
          <pc:chgData name="Patrick El-Azem" userId="e9a1393194618efd" providerId="LiveId" clId="{0E83E319-DD06-42C9-950A-41FC9BC8C8A8}" dt="2018-05-15T16:49:04.433" v="6472" actId="2696"/>
          <pc:sldLayoutMkLst>
            <pc:docMk/>
            <pc:sldMasterMk cId="3215446572" sldId="2147485100"/>
            <pc:sldLayoutMk cId="2380512288" sldId="2147485114"/>
          </pc:sldLayoutMkLst>
        </pc:sldLayoutChg>
        <pc:sldLayoutChg chg="del">
          <pc:chgData name="Patrick El-Azem" userId="e9a1393194618efd" providerId="LiveId" clId="{0E83E319-DD06-42C9-950A-41FC9BC8C8A8}" dt="2018-05-15T16:49:04.449" v="6473" actId="2696"/>
          <pc:sldLayoutMkLst>
            <pc:docMk/>
            <pc:sldMasterMk cId="3215446572" sldId="2147485100"/>
            <pc:sldLayoutMk cId="227349795" sldId="2147485115"/>
          </pc:sldLayoutMkLst>
        </pc:sldLayoutChg>
        <pc:sldLayoutChg chg="del">
          <pc:chgData name="Patrick El-Azem" userId="e9a1393194618efd" providerId="LiveId" clId="{0E83E319-DD06-42C9-950A-41FC9BC8C8A8}" dt="2018-05-15T16:49:04.449" v="6474" actId="2696"/>
          <pc:sldLayoutMkLst>
            <pc:docMk/>
            <pc:sldMasterMk cId="3215446572" sldId="2147485100"/>
            <pc:sldLayoutMk cId="2431123877" sldId="2147485116"/>
          </pc:sldLayoutMkLst>
        </pc:sldLayoutChg>
        <pc:sldLayoutChg chg="del">
          <pc:chgData name="Patrick El-Azem" userId="e9a1393194618efd" providerId="LiveId" clId="{0E83E319-DD06-42C9-950A-41FC9BC8C8A8}" dt="2018-05-15T16:49:04.449" v="6475" actId="2696"/>
          <pc:sldLayoutMkLst>
            <pc:docMk/>
            <pc:sldMasterMk cId="3215446572" sldId="2147485100"/>
            <pc:sldLayoutMk cId="2041778328" sldId="2147485117"/>
          </pc:sldLayoutMkLst>
        </pc:sldLayoutChg>
      </pc:sldMasterChg>
      <pc:sldMasterChg chg="del delSldLayout">
        <pc:chgData name="Patrick El-Azem" userId="e9a1393194618efd" providerId="LiveId" clId="{0E83E319-DD06-42C9-950A-41FC9BC8C8A8}" dt="2018-05-15T16:46:00.339" v="6023" actId="2696"/>
        <pc:sldMasterMkLst>
          <pc:docMk/>
          <pc:sldMasterMk cId="1504832055" sldId="2147485118"/>
        </pc:sldMasterMkLst>
        <pc:sldLayoutChg chg="del">
          <pc:chgData name="Patrick El-Azem" userId="e9a1393194618efd" providerId="LiveId" clId="{0E83E319-DD06-42C9-950A-41FC9BC8C8A8}" dt="2018-05-15T16:46:00.308" v="6005" actId="2696"/>
          <pc:sldLayoutMkLst>
            <pc:docMk/>
            <pc:sldMasterMk cId="1504832055" sldId="2147485118"/>
            <pc:sldLayoutMk cId="821730947" sldId="2147485119"/>
          </pc:sldLayoutMkLst>
        </pc:sldLayoutChg>
        <pc:sldLayoutChg chg="del">
          <pc:chgData name="Patrick El-Azem" userId="e9a1393194618efd" providerId="LiveId" clId="{0E83E319-DD06-42C9-950A-41FC9BC8C8A8}" dt="2018-05-15T16:46:00.308" v="6006" actId="2696"/>
          <pc:sldLayoutMkLst>
            <pc:docMk/>
            <pc:sldMasterMk cId="1504832055" sldId="2147485118"/>
            <pc:sldLayoutMk cId="1183243292" sldId="2147485120"/>
          </pc:sldLayoutMkLst>
        </pc:sldLayoutChg>
        <pc:sldLayoutChg chg="del">
          <pc:chgData name="Patrick El-Azem" userId="e9a1393194618efd" providerId="LiveId" clId="{0E83E319-DD06-42C9-950A-41FC9BC8C8A8}" dt="2018-05-15T16:46:00.308" v="6007" actId="2696"/>
          <pc:sldLayoutMkLst>
            <pc:docMk/>
            <pc:sldMasterMk cId="1504832055" sldId="2147485118"/>
            <pc:sldLayoutMk cId="2005520269" sldId="2147485121"/>
          </pc:sldLayoutMkLst>
        </pc:sldLayoutChg>
        <pc:sldLayoutChg chg="del">
          <pc:chgData name="Patrick El-Azem" userId="e9a1393194618efd" providerId="LiveId" clId="{0E83E319-DD06-42C9-950A-41FC9BC8C8A8}" dt="2018-05-15T16:46:00.308" v="6008" actId="2696"/>
          <pc:sldLayoutMkLst>
            <pc:docMk/>
            <pc:sldMasterMk cId="1504832055" sldId="2147485118"/>
            <pc:sldLayoutMk cId="4047600332" sldId="2147485122"/>
          </pc:sldLayoutMkLst>
        </pc:sldLayoutChg>
        <pc:sldLayoutChg chg="del">
          <pc:chgData name="Patrick El-Azem" userId="e9a1393194618efd" providerId="LiveId" clId="{0E83E319-DD06-42C9-950A-41FC9BC8C8A8}" dt="2018-05-15T16:46:00.308" v="6009" actId="2696"/>
          <pc:sldLayoutMkLst>
            <pc:docMk/>
            <pc:sldMasterMk cId="1504832055" sldId="2147485118"/>
            <pc:sldLayoutMk cId="442542406" sldId="2147485123"/>
          </pc:sldLayoutMkLst>
        </pc:sldLayoutChg>
        <pc:sldLayoutChg chg="del">
          <pc:chgData name="Patrick El-Azem" userId="e9a1393194618efd" providerId="LiveId" clId="{0E83E319-DD06-42C9-950A-41FC9BC8C8A8}" dt="2018-05-15T16:46:00.323" v="6010" actId="2696"/>
          <pc:sldLayoutMkLst>
            <pc:docMk/>
            <pc:sldMasterMk cId="1504832055" sldId="2147485118"/>
            <pc:sldLayoutMk cId="2403920154" sldId="2147485124"/>
          </pc:sldLayoutMkLst>
        </pc:sldLayoutChg>
        <pc:sldLayoutChg chg="del">
          <pc:chgData name="Patrick El-Azem" userId="e9a1393194618efd" providerId="LiveId" clId="{0E83E319-DD06-42C9-950A-41FC9BC8C8A8}" dt="2018-05-15T16:46:00.323" v="6011" actId="2696"/>
          <pc:sldLayoutMkLst>
            <pc:docMk/>
            <pc:sldMasterMk cId="1504832055" sldId="2147485118"/>
            <pc:sldLayoutMk cId="3582611646" sldId="2147485125"/>
          </pc:sldLayoutMkLst>
        </pc:sldLayoutChg>
        <pc:sldLayoutChg chg="del">
          <pc:chgData name="Patrick El-Azem" userId="e9a1393194618efd" providerId="LiveId" clId="{0E83E319-DD06-42C9-950A-41FC9BC8C8A8}" dt="2018-05-15T16:46:00.323" v="6012" actId="2696"/>
          <pc:sldLayoutMkLst>
            <pc:docMk/>
            <pc:sldMasterMk cId="1504832055" sldId="2147485118"/>
            <pc:sldLayoutMk cId="1600284928" sldId="2147485126"/>
          </pc:sldLayoutMkLst>
        </pc:sldLayoutChg>
        <pc:sldLayoutChg chg="del">
          <pc:chgData name="Patrick El-Azem" userId="e9a1393194618efd" providerId="LiveId" clId="{0E83E319-DD06-42C9-950A-41FC9BC8C8A8}" dt="2018-05-15T16:46:00.323" v="6013" actId="2696"/>
          <pc:sldLayoutMkLst>
            <pc:docMk/>
            <pc:sldMasterMk cId="1504832055" sldId="2147485118"/>
            <pc:sldLayoutMk cId="4088374791" sldId="2147485127"/>
          </pc:sldLayoutMkLst>
        </pc:sldLayoutChg>
        <pc:sldLayoutChg chg="del">
          <pc:chgData name="Patrick El-Azem" userId="e9a1393194618efd" providerId="LiveId" clId="{0E83E319-DD06-42C9-950A-41FC9BC8C8A8}" dt="2018-05-15T16:46:00.323" v="6014" actId="2696"/>
          <pc:sldLayoutMkLst>
            <pc:docMk/>
            <pc:sldMasterMk cId="1504832055" sldId="2147485118"/>
            <pc:sldLayoutMk cId="3657274908" sldId="2147485128"/>
          </pc:sldLayoutMkLst>
        </pc:sldLayoutChg>
        <pc:sldLayoutChg chg="del">
          <pc:chgData name="Patrick El-Azem" userId="e9a1393194618efd" providerId="LiveId" clId="{0E83E319-DD06-42C9-950A-41FC9BC8C8A8}" dt="2018-05-15T16:46:00.323" v="6015" actId="2696"/>
          <pc:sldLayoutMkLst>
            <pc:docMk/>
            <pc:sldMasterMk cId="1504832055" sldId="2147485118"/>
            <pc:sldLayoutMk cId="2615021255" sldId="2147485129"/>
          </pc:sldLayoutMkLst>
        </pc:sldLayoutChg>
        <pc:sldLayoutChg chg="del">
          <pc:chgData name="Patrick El-Azem" userId="e9a1393194618efd" providerId="LiveId" clId="{0E83E319-DD06-42C9-950A-41FC9BC8C8A8}" dt="2018-05-15T16:46:00.323" v="6016" actId="2696"/>
          <pc:sldLayoutMkLst>
            <pc:docMk/>
            <pc:sldMasterMk cId="1504832055" sldId="2147485118"/>
            <pc:sldLayoutMk cId="1047732827" sldId="2147485130"/>
          </pc:sldLayoutMkLst>
        </pc:sldLayoutChg>
        <pc:sldLayoutChg chg="del">
          <pc:chgData name="Patrick El-Azem" userId="e9a1393194618efd" providerId="LiveId" clId="{0E83E319-DD06-42C9-950A-41FC9BC8C8A8}" dt="2018-05-15T16:46:00.323" v="6017" actId="2696"/>
          <pc:sldLayoutMkLst>
            <pc:docMk/>
            <pc:sldMasterMk cId="1504832055" sldId="2147485118"/>
            <pc:sldLayoutMk cId="1943547281" sldId="2147485131"/>
          </pc:sldLayoutMkLst>
        </pc:sldLayoutChg>
        <pc:sldLayoutChg chg="del">
          <pc:chgData name="Patrick El-Azem" userId="e9a1393194618efd" providerId="LiveId" clId="{0E83E319-DD06-42C9-950A-41FC9BC8C8A8}" dt="2018-05-15T16:46:00.323" v="6018" actId="2696"/>
          <pc:sldLayoutMkLst>
            <pc:docMk/>
            <pc:sldMasterMk cId="1504832055" sldId="2147485118"/>
            <pc:sldLayoutMk cId="1129510354" sldId="2147485132"/>
          </pc:sldLayoutMkLst>
        </pc:sldLayoutChg>
        <pc:sldLayoutChg chg="del">
          <pc:chgData name="Patrick El-Azem" userId="e9a1393194618efd" providerId="LiveId" clId="{0E83E319-DD06-42C9-950A-41FC9BC8C8A8}" dt="2018-05-15T16:46:00.323" v="6019" actId="2696"/>
          <pc:sldLayoutMkLst>
            <pc:docMk/>
            <pc:sldMasterMk cId="1504832055" sldId="2147485118"/>
            <pc:sldLayoutMk cId="3332006543" sldId="2147485133"/>
          </pc:sldLayoutMkLst>
        </pc:sldLayoutChg>
        <pc:sldLayoutChg chg="del">
          <pc:chgData name="Patrick El-Azem" userId="e9a1393194618efd" providerId="LiveId" clId="{0E83E319-DD06-42C9-950A-41FC9BC8C8A8}" dt="2018-05-15T16:46:00.339" v="6020" actId="2696"/>
          <pc:sldLayoutMkLst>
            <pc:docMk/>
            <pc:sldMasterMk cId="1504832055" sldId="2147485118"/>
            <pc:sldLayoutMk cId="1845328350" sldId="2147485134"/>
          </pc:sldLayoutMkLst>
        </pc:sldLayoutChg>
        <pc:sldLayoutChg chg="del">
          <pc:chgData name="Patrick El-Azem" userId="e9a1393194618efd" providerId="LiveId" clId="{0E83E319-DD06-42C9-950A-41FC9BC8C8A8}" dt="2018-05-15T16:46:00.339" v="6021" actId="2696"/>
          <pc:sldLayoutMkLst>
            <pc:docMk/>
            <pc:sldMasterMk cId="1504832055" sldId="2147485118"/>
            <pc:sldLayoutMk cId="4213887267" sldId="2147485135"/>
          </pc:sldLayoutMkLst>
        </pc:sldLayoutChg>
        <pc:sldLayoutChg chg="del">
          <pc:chgData name="Patrick El-Azem" userId="e9a1393194618efd" providerId="LiveId" clId="{0E83E319-DD06-42C9-950A-41FC9BC8C8A8}" dt="2018-05-15T16:46:00.339" v="6022" actId="2696"/>
          <pc:sldLayoutMkLst>
            <pc:docMk/>
            <pc:sldMasterMk cId="1504832055" sldId="2147485118"/>
            <pc:sldLayoutMk cId="3023247622" sldId="2147485136"/>
          </pc:sldLayoutMkLst>
        </pc:sldLayoutChg>
      </pc:sldMasterChg>
      <pc:sldMasterChg chg="del addSldLayout delSldLayout">
        <pc:chgData name="Patrick El-Azem" userId="e9a1393194618efd" providerId="LiveId" clId="{0E83E319-DD06-42C9-950A-41FC9BC8C8A8}" dt="2018-05-15T16:56:19.386" v="6554" actId="2696"/>
        <pc:sldMasterMkLst>
          <pc:docMk/>
          <pc:sldMasterMk cId="2480279039" sldId="2147485138"/>
        </pc:sldMasterMkLst>
        <pc:sldLayoutChg chg="del">
          <pc:chgData name="Patrick El-Azem" userId="e9a1393194618efd" providerId="LiveId" clId="{0E83E319-DD06-42C9-950A-41FC9BC8C8A8}" dt="2018-05-15T16:56:19.277" v="6524" actId="2696"/>
          <pc:sldLayoutMkLst>
            <pc:docMk/>
            <pc:sldMasterMk cId="2480279039" sldId="2147485138"/>
            <pc:sldLayoutMk cId="287187691" sldId="2147485139"/>
          </pc:sldLayoutMkLst>
        </pc:sldLayoutChg>
        <pc:sldLayoutChg chg="del">
          <pc:chgData name="Patrick El-Azem" userId="e9a1393194618efd" providerId="LiveId" clId="{0E83E319-DD06-42C9-950A-41FC9BC8C8A8}" dt="2018-05-15T16:56:19.277" v="6525" actId="2696"/>
          <pc:sldLayoutMkLst>
            <pc:docMk/>
            <pc:sldMasterMk cId="2480279039" sldId="2147485138"/>
            <pc:sldLayoutMk cId="2936262135" sldId="2147485140"/>
          </pc:sldLayoutMkLst>
        </pc:sldLayoutChg>
        <pc:sldLayoutChg chg="del">
          <pc:chgData name="Patrick El-Azem" userId="e9a1393194618efd" providerId="LiveId" clId="{0E83E319-DD06-42C9-950A-41FC9BC8C8A8}" dt="2018-05-15T16:56:19.277" v="6526" actId="2696"/>
          <pc:sldLayoutMkLst>
            <pc:docMk/>
            <pc:sldMasterMk cId="2480279039" sldId="2147485138"/>
            <pc:sldLayoutMk cId="326081222" sldId="2147485141"/>
          </pc:sldLayoutMkLst>
        </pc:sldLayoutChg>
        <pc:sldLayoutChg chg="del">
          <pc:chgData name="Patrick El-Azem" userId="e9a1393194618efd" providerId="LiveId" clId="{0E83E319-DD06-42C9-950A-41FC9BC8C8A8}" dt="2018-05-15T16:56:19.292" v="6527" actId="2696"/>
          <pc:sldLayoutMkLst>
            <pc:docMk/>
            <pc:sldMasterMk cId="2480279039" sldId="2147485138"/>
            <pc:sldLayoutMk cId="3790347385" sldId="2147485142"/>
          </pc:sldLayoutMkLst>
        </pc:sldLayoutChg>
        <pc:sldLayoutChg chg="del">
          <pc:chgData name="Patrick El-Azem" userId="e9a1393194618efd" providerId="LiveId" clId="{0E83E319-DD06-42C9-950A-41FC9BC8C8A8}" dt="2018-05-15T16:56:19.292" v="6528" actId="2696"/>
          <pc:sldLayoutMkLst>
            <pc:docMk/>
            <pc:sldMasterMk cId="2480279039" sldId="2147485138"/>
            <pc:sldLayoutMk cId="488780838" sldId="2147485143"/>
          </pc:sldLayoutMkLst>
        </pc:sldLayoutChg>
        <pc:sldLayoutChg chg="del">
          <pc:chgData name="Patrick El-Azem" userId="e9a1393194618efd" providerId="LiveId" clId="{0E83E319-DD06-42C9-950A-41FC9BC8C8A8}" dt="2018-05-15T16:56:19.292" v="6529" actId="2696"/>
          <pc:sldLayoutMkLst>
            <pc:docMk/>
            <pc:sldMasterMk cId="2480279039" sldId="2147485138"/>
            <pc:sldLayoutMk cId="3977049786" sldId="2147485144"/>
          </pc:sldLayoutMkLst>
        </pc:sldLayoutChg>
        <pc:sldLayoutChg chg="del">
          <pc:chgData name="Patrick El-Azem" userId="e9a1393194618efd" providerId="LiveId" clId="{0E83E319-DD06-42C9-950A-41FC9BC8C8A8}" dt="2018-05-15T16:56:19.308" v="6530" actId="2696"/>
          <pc:sldLayoutMkLst>
            <pc:docMk/>
            <pc:sldMasterMk cId="2480279039" sldId="2147485138"/>
            <pc:sldLayoutMk cId="1836078521" sldId="2147485145"/>
          </pc:sldLayoutMkLst>
        </pc:sldLayoutChg>
        <pc:sldLayoutChg chg="del">
          <pc:chgData name="Patrick El-Azem" userId="e9a1393194618efd" providerId="LiveId" clId="{0E83E319-DD06-42C9-950A-41FC9BC8C8A8}" dt="2018-05-15T16:56:19.308" v="6531" actId="2696"/>
          <pc:sldLayoutMkLst>
            <pc:docMk/>
            <pc:sldMasterMk cId="2480279039" sldId="2147485138"/>
            <pc:sldLayoutMk cId="891858867" sldId="2147485146"/>
          </pc:sldLayoutMkLst>
        </pc:sldLayoutChg>
        <pc:sldLayoutChg chg="del">
          <pc:chgData name="Patrick El-Azem" userId="e9a1393194618efd" providerId="LiveId" clId="{0E83E319-DD06-42C9-950A-41FC9BC8C8A8}" dt="2018-05-15T16:56:19.308" v="6532" actId="2696"/>
          <pc:sldLayoutMkLst>
            <pc:docMk/>
            <pc:sldMasterMk cId="2480279039" sldId="2147485138"/>
            <pc:sldLayoutMk cId="317513605" sldId="2147485147"/>
          </pc:sldLayoutMkLst>
        </pc:sldLayoutChg>
        <pc:sldLayoutChg chg="del">
          <pc:chgData name="Patrick El-Azem" userId="e9a1393194618efd" providerId="LiveId" clId="{0E83E319-DD06-42C9-950A-41FC9BC8C8A8}" dt="2018-05-15T16:56:19.308" v="6533" actId="2696"/>
          <pc:sldLayoutMkLst>
            <pc:docMk/>
            <pc:sldMasterMk cId="2480279039" sldId="2147485138"/>
            <pc:sldLayoutMk cId="787649632" sldId="2147485148"/>
          </pc:sldLayoutMkLst>
        </pc:sldLayoutChg>
        <pc:sldLayoutChg chg="del">
          <pc:chgData name="Patrick El-Azem" userId="e9a1393194618efd" providerId="LiveId" clId="{0E83E319-DD06-42C9-950A-41FC9BC8C8A8}" dt="2018-05-15T16:56:19.308" v="6534" actId="2696"/>
          <pc:sldLayoutMkLst>
            <pc:docMk/>
            <pc:sldMasterMk cId="2480279039" sldId="2147485138"/>
            <pc:sldLayoutMk cId="3087771189" sldId="2147485149"/>
          </pc:sldLayoutMkLst>
        </pc:sldLayoutChg>
        <pc:sldLayoutChg chg="del">
          <pc:chgData name="Patrick El-Azem" userId="e9a1393194618efd" providerId="LiveId" clId="{0E83E319-DD06-42C9-950A-41FC9BC8C8A8}" dt="2018-05-15T16:56:19.324" v="6535" actId="2696"/>
          <pc:sldLayoutMkLst>
            <pc:docMk/>
            <pc:sldMasterMk cId="2480279039" sldId="2147485138"/>
            <pc:sldLayoutMk cId="2975596356" sldId="2147485150"/>
          </pc:sldLayoutMkLst>
        </pc:sldLayoutChg>
        <pc:sldLayoutChg chg="del">
          <pc:chgData name="Patrick El-Azem" userId="e9a1393194618efd" providerId="LiveId" clId="{0E83E319-DD06-42C9-950A-41FC9BC8C8A8}" dt="2018-05-15T16:56:19.324" v="6536" actId="2696"/>
          <pc:sldLayoutMkLst>
            <pc:docMk/>
            <pc:sldMasterMk cId="2480279039" sldId="2147485138"/>
            <pc:sldLayoutMk cId="3694268130" sldId="2147485151"/>
          </pc:sldLayoutMkLst>
        </pc:sldLayoutChg>
        <pc:sldLayoutChg chg="del">
          <pc:chgData name="Patrick El-Azem" userId="e9a1393194618efd" providerId="LiveId" clId="{0E83E319-DD06-42C9-950A-41FC9BC8C8A8}" dt="2018-05-15T16:56:19.324" v="6537" actId="2696"/>
          <pc:sldLayoutMkLst>
            <pc:docMk/>
            <pc:sldMasterMk cId="2480279039" sldId="2147485138"/>
            <pc:sldLayoutMk cId="194699932" sldId="2147485152"/>
          </pc:sldLayoutMkLst>
        </pc:sldLayoutChg>
        <pc:sldLayoutChg chg="del">
          <pc:chgData name="Patrick El-Azem" userId="e9a1393194618efd" providerId="LiveId" clId="{0E83E319-DD06-42C9-950A-41FC9BC8C8A8}" dt="2018-05-15T16:56:19.339" v="6538" actId="2696"/>
          <pc:sldLayoutMkLst>
            <pc:docMk/>
            <pc:sldMasterMk cId="2480279039" sldId="2147485138"/>
            <pc:sldLayoutMk cId="827286222" sldId="2147485153"/>
          </pc:sldLayoutMkLst>
        </pc:sldLayoutChg>
        <pc:sldLayoutChg chg="del">
          <pc:chgData name="Patrick El-Azem" userId="e9a1393194618efd" providerId="LiveId" clId="{0E83E319-DD06-42C9-950A-41FC9BC8C8A8}" dt="2018-05-15T16:56:19.339" v="6539" actId="2696"/>
          <pc:sldLayoutMkLst>
            <pc:docMk/>
            <pc:sldMasterMk cId="2480279039" sldId="2147485138"/>
            <pc:sldLayoutMk cId="770916648" sldId="2147485154"/>
          </pc:sldLayoutMkLst>
        </pc:sldLayoutChg>
        <pc:sldLayoutChg chg="del">
          <pc:chgData name="Patrick El-Azem" userId="e9a1393194618efd" providerId="LiveId" clId="{0E83E319-DD06-42C9-950A-41FC9BC8C8A8}" dt="2018-05-15T16:56:19.339" v="6540" actId="2696"/>
          <pc:sldLayoutMkLst>
            <pc:docMk/>
            <pc:sldMasterMk cId="2480279039" sldId="2147485138"/>
            <pc:sldLayoutMk cId="2908501144" sldId="2147485155"/>
          </pc:sldLayoutMkLst>
        </pc:sldLayoutChg>
        <pc:sldLayoutChg chg="del">
          <pc:chgData name="Patrick El-Azem" userId="e9a1393194618efd" providerId="LiveId" clId="{0E83E319-DD06-42C9-950A-41FC9BC8C8A8}" dt="2018-05-15T16:56:19.355" v="6541" actId="2696"/>
          <pc:sldLayoutMkLst>
            <pc:docMk/>
            <pc:sldMasterMk cId="2480279039" sldId="2147485138"/>
            <pc:sldLayoutMk cId="1437500824" sldId="2147485156"/>
          </pc:sldLayoutMkLst>
        </pc:sldLayoutChg>
        <pc:sldLayoutChg chg="del">
          <pc:chgData name="Patrick El-Azem" userId="e9a1393194618efd" providerId="LiveId" clId="{0E83E319-DD06-42C9-950A-41FC9BC8C8A8}" dt="2018-05-15T16:56:19.355" v="6542" actId="2696"/>
          <pc:sldLayoutMkLst>
            <pc:docMk/>
            <pc:sldMasterMk cId="2480279039" sldId="2147485138"/>
            <pc:sldLayoutMk cId="2728053407" sldId="2147485157"/>
          </pc:sldLayoutMkLst>
        </pc:sldLayoutChg>
        <pc:sldLayoutChg chg="del">
          <pc:chgData name="Patrick El-Azem" userId="e9a1393194618efd" providerId="LiveId" clId="{0E83E319-DD06-42C9-950A-41FC9BC8C8A8}" dt="2018-05-15T16:56:19.355" v="6543" actId="2696"/>
          <pc:sldLayoutMkLst>
            <pc:docMk/>
            <pc:sldMasterMk cId="2480279039" sldId="2147485138"/>
            <pc:sldLayoutMk cId="1268968332" sldId="2147485158"/>
          </pc:sldLayoutMkLst>
        </pc:sldLayoutChg>
        <pc:sldLayoutChg chg="del">
          <pc:chgData name="Patrick El-Azem" userId="e9a1393194618efd" providerId="LiveId" clId="{0E83E319-DD06-42C9-950A-41FC9BC8C8A8}" dt="2018-05-15T16:56:19.355" v="6544" actId="2696"/>
          <pc:sldLayoutMkLst>
            <pc:docMk/>
            <pc:sldMasterMk cId="2480279039" sldId="2147485138"/>
            <pc:sldLayoutMk cId="3877343091" sldId="2147485159"/>
          </pc:sldLayoutMkLst>
        </pc:sldLayoutChg>
        <pc:sldLayoutChg chg="del">
          <pc:chgData name="Patrick El-Azem" userId="e9a1393194618efd" providerId="LiveId" clId="{0E83E319-DD06-42C9-950A-41FC9BC8C8A8}" dt="2018-05-15T16:56:19.370" v="6546" actId="2696"/>
          <pc:sldLayoutMkLst>
            <pc:docMk/>
            <pc:sldMasterMk cId="2480279039" sldId="2147485138"/>
            <pc:sldLayoutMk cId="383862163" sldId="2147485160"/>
          </pc:sldLayoutMkLst>
        </pc:sldLayoutChg>
        <pc:sldLayoutChg chg="del">
          <pc:chgData name="Patrick El-Azem" userId="e9a1393194618efd" providerId="LiveId" clId="{0E83E319-DD06-42C9-950A-41FC9BC8C8A8}" dt="2018-05-15T16:56:19.370" v="6547" actId="2696"/>
          <pc:sldLayoutMkLst>
            <pc:docMk/>
            <pc:sldMasterMk cId="2480279039" sldId="2147485138"/>
            <pc:sldLayoutMk cId="1708377944" sldId="2147485161"/>
          </pc:sldLayoutMkLst>
        </pc:sldLayoutChg>
        <pc:sldLayoutChg chg="del">
          <pc:chgData name="Patrick El-Azem" userId="e9a1393194618efd" providerId="LiveId" clId="{0E83E319-DD06-42C9-950A-41FC9BC8C8A8}" dt="2018-05-15T16:56:19.370" v="6548" actId="2696"/>
          <pc:sldLayoutMkLst>
            <pc:docMk/>
            <pc:sldMasterMk cId="2480279039" sldId="2147485138"/>
            <pc:sldLayoutMk cId="966103103" sldId="2147485162"/>
          </pc:sldLayoutMkLst>
        </pc:sldLayoutChg>
        <pc:sldLayoutChg chg="del">
          <pc:chgData name="Patrick El-Azem" userId="e9a1393194618efd" providerId="LiveId" clId="{0E83E319-DD06-42C9-950A-41FC9BC8C8A8}" dt="2018-05-15T16:56:19.370" v="6549" actId="2696"/>
          <pc:sldLayoutMkLst>
            <pc:docMk/>
            <pc:sldMasterMk cId="2480279039" sldId="2147485138"/>
            <pc:sldLayoutMk cId="898418414" sldId="2147485163"/>
          </pc:sldLayoutMkLst>
        </pc:sldLayoutChg>
        <pc:sldLayoutChg chg="del">
          <pc:chgData name="Patrick El-Azem" userId="e9a1393194618efd" providerId="LiveId" clId="{0E83E319-DD06-42C9-950A-41FC9BC8C8A8}" dt="2018-05-15T16:56:19.386" v="6550" actId="2696"/>
          <pc:sldLayoutMkLst>
            <pc:docMk/>
            <pc:sldMasterMk cId="2480279039" sldId="2147485138"/>
            <pc:sldLayoutMk cId="4007629077" sldId="2147485164"/>
          </pc:sldLayoutMkLst>
        </pc:sldLayoutChg>
        <pc:sldLayoutChg chg="del">
          <pc:chgData name="Patrick El-Azem" userId="e9a1393194618efd" providerId="LiveId" clId="{0E83E319-DD06-42C9-950A-41FC9BC8C8A8}" dt="2018-05-15T16:56:19.386" v="6551" actId="2696"/>
          <pc:sldLayoutMkLst>
            <pc:docMk/>
            <pc:sldMasterMk cId="2480279039" sldId="2147485138"/>
            <pc:sldLayoutMk cId="941143162" sldId="2147485165"/>
          </pc:sldLayoutMkLst>
        </pc:sldLayoutChg>
        <pc:sldLayoutChg chg="del">
          <pc:chgData name="Patrick El-Azem" userId="e9a1393194618efd" providerId="LiveId" clId="{0E83E319-DD06-42C9-950A-41FC9BC8C8A8}" dt="2018-05-15T16:56:19.386" v="6552" actId="2696"/>
          <pc:sldLayoutMkLst>
            <pc:docMk/>
            <pc:sldMasterMk cId="2480279039" sldId="2147485138"/>
            <pc:sldLayoutMk cId="3792133273" sldId="2147485166"/>
          </pc:sldLayoutMkLst>
        </pc:sldLayoutChg>
        <pc:sldLayoutChg chg="del">
          <pc:chgData name="Patrick El-Azem" userId="e9a1393194618efd" providerId="LiveId" clId="{0E83E319-DD06-42C9-950A-41FC9BC8C8A8}" dt="2018-05-15T16:56:19.386" v="6553" actId="2696"/>
          <pc:sldLayoutMkLst>
            <pc:docMk/>
            <pc:sldMasterMk cId="2480279039" sldId="2147485138"/>
            <pc:sldLayoutMk cId="420218821" sldId="2147485167"/>
          </pc:sldLayoutMkLst>
        </pc:sldLayoutChg>
        <pc:sldLayoutChg chg="add del">
          <pc:chgData name="Patrick El-Azem" userId="e9a1393194618efd" providerId="LiveId" clId="{0E83E319-DD06-42C9-950A-41FC9BC8C8A8}" dt="2018-05-15T16:56:19.355" v="6545" actId="2696"/>
          <pc:sldLayoutMkLst>
            <pc:docMk/>
            <pc:sldMasterMk cId="2480279039" sldId="2147485138"/>
            <pc:sldLayoutMk cId="3736805446" sldId="2147485172"/>
          </pc:sldLayoutMkLst>
        </pc:sldLayoutChg>
      </pc:sldMasterChg>
    </pc:docChg>
  </pc:docChgLst>
  <pc:docChgLst>
    <pc:chgData name="John Ferrari" userId="9b4c5a7a-5dfd-428e-8f07-54940faad3bc" providerId="ADAL" clId="{61661B5B-F891-49CF-9330-1BFF1F99664D}"/>
  </pc:docChgLst>
  <pc:docChgLst>
    <pc:chgData name="John Ferrari" userId="9b4c5a7a-5dfd-428e-8f07-54940faad3bc" providerId="ADAL" clId="{61ED1DE8-2336-43C5-9AE0-0724D7A1F069}"/>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diagrams/_rels/data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5" Type="http://schemas.openxmlformats.org/officeDocument/2006/relationships/image" Target="../media/image20.png"/><Relationship Id="rId4" Type="http://schemas.openxmlformats.org/officeDocument/2006/relationships/image" Target="../media/image19.png"/></Relationships>
</file>

<file path=ppt/diagrams/_rels/data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 Id="rId4" Type="http://schemas.openxmlformats.org/officeDocument/2006/relationships/image" Target="../media/image24.png"/></Relationships>
</file>

<file path=ppt/diagrams/_rels/data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4" Type="http://schemas.openxmlformats.org/officeDocument/2006/relationships/image" Target="../media/image2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5" Type="http://schemas.openxmlformats.org/officeDocument/2006/relationships/image" Target="../media/image20.png"/><Relationship Id="rId4" Type="http://schemas.openxmlformats.org/officeDocument/2006/relationships/image" Target="../media/image1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 Id="rId4" Type="http://schemas.openxmlformats.org/officeDocument/2006/relationships/image" Target="../media/image2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4" Type="http://schemas.openxmlformats.org/officeDocument/2006/relationships/image" Target="../media/image28.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list" qsTypeId="urn:microsoft.com/office/officeart/2005/8/quickstyle/simple5" qsCatId="simple" csTypeId="urn:microsoft.com/office/officeart/2005/8/colors/accent1_1" csCatId="accent1" phldr="1"/>
      <dgm:spPr/>
    </dgm:pt>
    <dgm:pt modelId="{FBFC7BE1-FBB0-4291-8523-674DF58A8C68}">
      <dgm:prSet phldrT="[Text]"/>
      <dgm:spPr/>
      <dgm:t>
        <a:bodyPr/>
        <a:lstStyle/>
        <a:p>
          <a:r>
            <a:rPr lang="en-US" b="1" dirty="0">
              <a:solidFill>
                <a:schemeClr val="accent1"/>
              </a:solidFill>
            </a:rPr>
            <a:t>ARM TEMPLATES</a:t>
          </a:r>
        </a:p>
      </dgm:t>
    </dgm:pt>
    <dgm:pt modelId="{8F05C0C4-8290-4EF3-8350-382C277FF900}" type="parTrans" cxnId="{72CF8DB8-BB3B-4D74-A245-1AB6691A989A}">
      <dgm:prSet/>
      <dgm:spPr/>
      <dgm:t>
        <a:bodyPr/>
        <a:lstStyle/>
        <a:p>
          <a:endParaRPr lang="en-US"/>
        </a:p>
      </dgm:t>
    </dgm:pt>
    <dgm:pt modelId="{CB90D75A-2897-4B63-9649-EF36753511BE}" type="sibTrans" cxnId="{72CF8DB8-BB3B-4D74-A245-1AB6691A989A}">
      <dgm:prSet/>
      <dgm:spPr/>
      <dgm:t>
        <a:bodyPr/>
        <a:lstStyle/>
        <a:p>
          <a:endParaRPr lang="en-US"/>
        </a:p>
      </dgm:t>
    </dgm:pt>
    <dgm:pt modelId="{AB53D60C-9A04-4859-9F1F-EF13C81AE059}">
      <dgm:prSet phldrT="[Text]"/>
      <dgm:spPr/>
      <dgm:t>
        <a:bodyPr/>
        <a:lstStyle/>
        <a:p>
          <a:r>
            <a:rPr lang="en-US" dirty="0"/>
            <a:t>Integration</a:t>
          </a:r>
        </a:p>
      </dgm:t>
    </dgm:pt>
    <dgm:pt modelId="{B7B32105-BFA8-41B5-BA06-1F43799BFD62}" type="parTrans" cxnId="{40A8B503-1183-4CAE-9E9E-5C64561EB7EF}">
      <dgm:prSet/>
      <dgm:spPr/>
      <dgm:t>
        <a:bodyPr/>
        <a:lstStyle/>
        <a:p>
          <a:endParaRPr lang="en-US"/>
        </a:p>
      </dgm:t>
    </dgm:pt>
    <dgm:pt modelId="{76D1B845-9C8E-4D27-93B9-636087830501}" type="sibTrans" cxnId="{40A8B503-1183-4CAE-9E9E-5C64561EB7EF}">
      <dgm:prSet/>
      <dgm:spPr/>
      <dgm:t>
        <a:bodyPr/>
        <a:lstStyle/>
        <a:p>
          <a:endParaRPr lang="en-US"/>
        </a:p>
      </dgm:t>
    </dgm:pt>
    <dgm:pt modelId="{CC3A506B-F115-4354-8010-8A3985F03258}">
      <dgm:prSet phldrT="[Text]"/>
      <dgm:spPr/>
      <dgm:t>
        <a:bodyPr/>
        <a:lstStyle/>
        <a:p>
          <a:r>
            <a:rPr lang="en-US" dirty="0"/>
            <a:t>Declarative config-as-code</a:t>
          </a:r>
        </a:p>
      </dgm:t>
    </dgm:pt>
    <dgm:pt modelId="{392DBDD2-ED9B-49C0-8900-F16D8C8E568A}" type="parTrans" cxnId="{4FF420E7-D9A2-4762-8DD4-AF743884A940}">
      <dgm:prSet/>
      <dgm:spPr/>
      <dgm:t>
        <a:bodyPr/>
        <a:lstStyle/>
        <a:p>
          <a:endParaRPr lang="en-US"/>
        </a:p>
      </dgm:t>
    </dgm:pt>
    <dgm:pt modelId="{FF72E6E7-C60D-4645-85DE-6B5F819665F4}" type="sibTrans" cxnId="{4FF420E7-D9A2-4762-8DD4-AF743884A940}">
      <dgm:prSet/>
      <dgm:spPr/>
      <dgm:t>
        <a:bodyPr/>
        <a:lstStyle/>
        <a:p>
          <a:endParaRPr lang="en-US"/>
        </a:p>
      </dgm:t>
    </dgm:pt>
    <dgm:pt modelId="{C76B6EBC-9E0E-4AF8-A807-E80A287E5BD4}">
      <dgm:prSet phldrT="[Text]"/>
      <dgm:spPr/>
      <dgm:t>
        <a:bodyPr/>
        <a:lstStyle/>
        <a:p>
          <a:r>
            <a:rPr lang="en-US" dirty="0"/>
            <a:t>3</a:t>
          </a:r>
          <a:r>
            <a:rPr lang="en-US" baseline="30000" dirty="0"/>
            <a:t>rd</a:t>
          </a:r>
          <a:r>
            <a:rPr lang="en-US" dirty="0"/>
            <a:t> party automation tools</a:t>
          </a:r>
        </a:p>
      </dgm:t>
    </dgm:pt>
    <dgm:pt modelId="{109A3D41-5373-4DFA-8004-4C4DB8000E7A}" type="parTrans" cxnId="{C3CE2554-D5E5-4F98-951C-E44BE7627461}">
      <dgm:prSet/>
      <dgm:spPr/>
      <dgm:t>
        <a:bodyPr/>
        <a:lstStyle/>
        <a:p>
          <a:endParaRPr lang="en-US"/>
        </a:p>
      </dgm:t>
    </dgm:pt>
    <dgm:pt modelId="{34C4DACF-F1B0-439B-9D3B-FEE14DE456E1}" type="sibTrans" cxnId="{C3CE2554-D5E5-4F98-951C-E44BE7627461}">
      <dgm:prSet/>
      <dgm:spPr/>
      <dgm:t>
        <a:bodyPr/>
        <a:lstStyle/>
        <a:p>
          <a:endParaRPr lang="en-US"/>
        </a:p>
      </dgm:t>
    </dgm:pt>
    <dgm:pt modelId="{1C3D63FD-7381-45C9-82B5-881BDA2D8E1E}">
      <dgm:prSet phldrT="[Text]"/>
      <dgm:spPr/>
      <dgm:t>
        <a:bodyPr/>
        <a:lstStyle/>
        <a:p>
          <a:r>
            <a:rPr lang="en-US" b="1" dirty="0">
              <a:solidFill>
                <a:schemeClr val="accent1"/>
              </a:solidFill>
            </a:rPr>
            <a:t>COMMAND LINE</a:t>
          </a:r>
        </a:p>
      </dgm:t>
    </dgm:pt>
    <dgm:pt modelId="{9D79C46E-52AF-483C-B37D-4159EF9FC531}" type="parTrans" cxnId="{3666C7C6-0CBF-461C-AFC8-C3222ADD9034}">
      <dgm:prSet/>
      <dgm:spPr/>
      <dgm:t>
        <a:bodyPr/>
        <a:lstStyle/>
        <a:p>
          <a:endParaRPr lang="en-US"/>
        </a:p>
      </dgm:t>
    </dgm:pt>
    <dgm:pt modelId="{724CADB8-D7CF-4216-9F29-888B6D054060}" type="sibTrans" cxnId="{3666C7C6-0CBF-461C-AFC8-C3222ADD9034}">
      <dgm:prSet/>
      <dgm:spPr/>
      <dgm:t>
        <a:bodyPr/>
        <a:lstStyle/>
        <a:p>
          <a:endParaRPr lang="en-US"/>
        </a:p>
      </dgm:t>
    </dgm:pt>
    <dgm:pt modelId="{EA433F26-758F-42B0-97BD-8C1CD411AD08}">
      <dgm:prSet phldrT="[Text]"/>
      <dgm:spPr/>
      <dgm:t>
        <a:bodyPr/>
        <a:lstStyle/>
        <a:p>
          <a:r>
            <a:rPr lang="en-US" dirty="0"/>
            <a:t>PowerShell</a:t>
          </a:r>
        </a:p>
      </dgm:t>
    </dgm:pt>
    <dgm:pt modelId="{F46EDD96-D577-4A1F-915F-9EC61DCCD6DE}" type="parTrans" cxnId="{8443AF06-3CB8-4169-9475-4BADBB94998C}">
      <dgm:prSet/>
      <dgm:spPr/>
      <dgm:t>
        <a:bodyPr/>
        <a:lstStyle/>
        <a:p>
          <a:endParaRPr lang="en-US"/>
        </a:p>
      </dgm:t>
    </dgm:pt>
    <dgm:pt modelId="{F4235C1E-923E-4C80-8E44-4C4EA2EDBD94}" type="sibTrans" cxnId="{8443AF06-3CB8-4169-9475-4BADBB94998C}">
      <dgm:prSet/>
      <dgm:spPr/>
      <dgm:t>
        <a:bodyPr/>
        <a:lstStyle/>
        <a:p>
          <a:endParaRPr lang="en-US"/>
        </a:p>
      </dgm:t>
    </dgm:pt>
    <dgm:pt modelId="{9861747C-9E0D-42EA-89D8-412D03CF7E37}">
      <dgm:prSet phldrT="[Text]"/>
      <dgm:spPr/>
      <dgm:t>
        <a:bodyPr/>
        <a:lstStyle/>
        <a:p>
          <a:r>
            <a:rPr lang="en-US" b="1" dirty="0">
              <a:solidFill>
                <a:schemeClr val="accent1"/>
              </a:solidFill>
            </a:rPr>
            <a:t>RESOURCE GROUPS</a:t>
          </a:r>
        </a:p>
      </dgm:t>
    </dgm:pt>
    <dgm:pt modelId="{9C4BD807-54C6-4C44-8FEA-296898BC39F2}" type="parTrans" cxnId="{61636525-3ACE-4DCA-8E3C-F7A4DD622647}">
      <dgm:prSet/>
      <dgm:spPr/>
      <dgm:t>
        <a:bodyPr/>
        <a:lstStyle/>
        <a:p>
          <a:endParaRPr lang="en-US"/>
        </a:p>
      </dgm:t>
    </dgm:pt>
    <dgm:pt modelId="{A627D808-10F4-4721-8336-D401C7628CD6}" type="sibTrans" cxnId="{61636525-3ACE-4DCA-8E3C-F7A4DD622647}">
      <dgm:prSet/>
      <dgm:spPr/>
      <dgm:t>
        <a:bodyPr/>
        <a:lstStyle/>
        <a:p>
          <a:endParaRPr lang="en-US"/>
        </a:p>
      </dgm:t>
    </dgm:pt>
    <dgm:pt modelId="{5A2AB42F-96D5-4A18-8D80-ECDDEA32D589}">
      <dgm:prSet phldrT="[Text]"/>
      <dgm:spPr/>
      <dgm:t>
        <a:bodyPr/>
        <a:lstStyle/>
        <a:p>
          <a:r>
            <a:rPr lang="en-US" dirty="0"/>
            <a:t>Lifecycle management</a:t>
          </a:r>
        </a:p>
      </dgm:t>
    </dgm:pt>
    <dgm:pt modelId="{A2B0789A-DD14-4019-9869-69E1C357DA73}" type="parTrans" cxnId="{6C74254A-FF99-46C1-8FD9-2CEB1B7B230F}">
      <dgm:prSet/>
      <dgm:spPr/>
      <dgm:t>
        <a:bodyPr/>
        <a:lstStyle/>
        <a:p>
          <a:endParaRPr lang="en-US"/>
        </a:p>
      </dgm:t>
    </dgm:pt>
    <dgm:pt modelId="{61777549-CCBA-4FCC-8215-21C4187CE59D}" type="sibTrans" cxnId="{6C74254A-FF99-46C1-8FD9-2CEB1B7B230F}">
      <dgm:prSet/>
      <dgm:spPr/>
      <dgm:t>
        <a:bodyPr/>
        <a:lstStyle/>
        <a:p>
          <a:endParaRPr lang="en-US"/>
        </a:p>
      </dgm:t>
    </dgm:pt>
    <dgm:pt modelId="{7DF8811B-0AFD-4BB0-942F-B4C3C0656EDC}">
      <dgm:prSet/>
      <dgm:spPr/>
      <dgm:t>
        <a:bodyPr/>
        <a:lstStyle/>
        <a:p>
          <a:r>
            <a:rPr lang="en-US" dirty="0"/>
            <a:t>Organization</a:t>
          </a:r>
        </a:p>
      </dgm:t>
    </dgm:pt>
    <dgm:pt modelId="{DE0E60F5-D8BB-4B79-AC05-DE70E9B5F82B}" type="parTrans" cxnId="{C8C206B7-9507-4681-B026-200972040757}">
      <dgm:prSet/>
      <dgm:spPr/>
      <dgm:t>
        <a:bodyPr/>
        <a:lstStyle/>
        <a:p>
          <a:endParaRPr lang="en-US"/>
        </a:p>
      </dgm:t>
    </dgm:pt>
    <dgm:pt modelId="{26554AE8-80F7-4D45-B38D-D0AB66E83CAC}" type="sibTrans" cxnId="{C8C206B7-9507-4681-B026-200972040757}">
      <dgm:prSet/>
      <dgm:spPr/>
      <dgm:t>
        <a:bodyPr/>
        <a:lstStyle/>
        <a:p>
          <a:endParaRPr lang="en-US"/>
        </a:p>
      </dgm:t>
    </dgm:pt>
    <dgm:pt modelId="{FA809047-4FC2-4F9D-B328-A19B2AC93C3D}">
      <dgm:prSet phldrT="[Text]"/>
      <dgm:spPr/>
      <dgm:t>
        <a:bodyPr/>
        <a:lstStyle/>
        <a:p>
          <a:r>
            <a:rPr lang="en-US" dirty="0"/>
            <a:t>Customization</a:t>
          </a:r>
        </a:p>
      </dgm:t>
    </dgm:pt>
    <dgm:pt modelId="{08C12028-5F01-46A9-84CD-54714BBB12E4}" type="parTrans" cxnId="{E32A718B-049C-4019-AC71-25B31E5B882C}">
      <dgm:prSet/>
      <dgm:spPr/>
      <dgm:t>
        <a:bodyPr/>
        <a:lstStyle/>
        <a:p>
          <a:endParaRPr lang="en-US"/>
        </a:p>
      </dgm:t>
    </dgm:pt>
    <dgm:pt modelId="{953CFB9E-4E95-46B3-93E8-4C3AD7082995}" type="sibTrans" cxnId="{E32A718B-049C-4019-AC71-25B31E5B882C}">
      <dgm:prSet/>
      <dgm:spPr/>
      <dgm:t>
        <a:bodyPr/>
        <a:lstStyle/>
        <a:p>
          <a:endParaRPr lang="en-US"/>
        </a:p>
      </dgm:t>
    </dgm:pt>
    <dgm:pt modelId="{65966821-E97B-4184-AD91-1F5A74E7841B}">
      <dgm:prSet phldrT="[Text]"/>
      <dgm:spPr/>
      <dgm:t>
        <a:bodyPr/>
        <a:lstStyle/>
        <a:p>
          <a:r>
            <a:rPr lang="en-US" b="1">
              <a:solidFill>
                <a:schemeClr val="accent1"/>
              </a:solidFill>
            </a:rPr>
            <a:t>REST </a:t>
          </a:r>
          <a:r>
            <a:rPr lang="en-US" b="1" dirty="0">
              <a:solidFill>
                <a:schemeClr val="accent1"/>
              </a:solidFill>
            </a:rPr>
            <a:t>API / SDKS</a:t>
          </a:r>
        </a:p>
      </dgm:t>
    </dgm:pt>
    <dgm:pt modelId="{E537F84B-FBF1-47D9-945D-3C1D44CDDAB1}" type="parTrans" cxnId="{9D40896F-8A6E-4E8B-B310-DD47FAE90CD4}">
      <dgm:prSet/>
      <dgm:spPr/>
      <dgm:t>
        <a:bodyPr/>
        <a:lstStyle/>
        <a:p>
          <a:endParaRPr lang="en-US"/>
        </a:p>
      </dgm:t>
    </dgm:pt>
    <dgm:pt modelId="{E4D0FE02-73AC-454A-96C5-9DD763433800}" type="sibTrans" cxnId="{9D40896F-8A6E-4E8B-B310-DD47FAE90CD4}">
      <dgm:prSet/>
      <dgm:spPr/>
      <dgm:t>
        <a:bodyPr/>
        <a:lstStyle/>
        <a:p>
          <a:endParaRPr lang="en-US"/>
        </a:p>
      </dgm:t>
    </dgm:pt>
    <dgm:pt modelId="{D166B374-A26A-4E68-8233-A844FC696236}">
      <dgm:prSet phldrT="[Text]"/>
      <dgm:spPr/>
      <dgm:t>
        <a:bodyPr/>
        <a:lstStyle/>
        <a:p>
          <a:r>
            <a:rPr lang="en-US" dirty="0"/>
            <a:t>Cross platform Azure CLI</a:t>
          </a:r>
        </a:p>
      </dgm:t>
    </dgm:pt>
    <dgm:pt modelId="{9324D112-45FA-48EF-9A61-A5CF97FEB2F3}" type="parTrans" cxnId="{CCB47A0A-99C3-434E-BC61-456DD5158011}">
      <dgm:prSet/>
      <dgm:spPr/>
      <dgm:t>
        <a:bodyPr/>
        <a:lstStyle/>
        <a:p>
          <a:endParaRPr lang="en-US"/>
        </a:p>
      </dgm:t>
    </dgm:pt>
    <dgm:pt modelId="{934367F3-0E77-4352-A2A7-391D759D0BFB}" type="sibTrans" cxnId="{CCB47A0A-99C3-434E-BC61-456DD5158011}">
      <dgm:prSet/>
      <dgm:spPr/>
      <dgm:t>
        <a:bodyPr/>
        <a:lstStyle/>
        <a:p>
          <a:endParaRPr lang="en-US"/>
        </a:p>
      </dgm:t>
    </dgm:pt>
    <dgm:pt modelId="{2D941860-3630-44E0-A4CD-2739C49BC06D}">
      <dgm:prSet phldrT="[Text]"/>
      <dgm:spPr/>
      <dgm:t>
        <a:bodyPr/>
        <a:lstStyle/>
        <a:p>
          <a:pPr marL="0" lvl="0" algn="l" defTabSz="488950">
            <a:lnSpc>
              <a:spcPct val="90000"/>
            </a:lnSpc>
            <a:spcBef>
              <a:spcPct val="0"/>
            </a:spcBef>
            <a:spcAft>
              <a:spcPct val="35000"/>
            </a:spcAft>
            <a:buNone/>
          </a:pPr>
          <a:r>
            <a:rPr lang="en-US" sz="1100" b="1" kern="1200" dirty="0">
              <a:solidFill>
                <a:schemeClr val="accent1"/>
              </a:solidFill>
            </a:rPr>
            <a:t>PORTAL</a:t>
          </a:r>
        </a:p>
      </dgm:t>
    </dgm:pt>
    <dgm:pt modelId="{4EA22214-FDCB-4B12-BE94-79E8FC4056F6}" type="parTrans" cxnId="{F68C3A5E-8F5A-42B4-B003-99BC09F23BCC}">
      <dgm:prSet/>
      <dgm:spPr/>
      <dgm:t>
        <a:bodyPr/>
        <a:lstStyle/>
        <a:p>
          <a:endParaRPr lang="en-US"/>
        </a:p>
      </dgm:t>
    </dgm:pt>
    <dgm:pt modelId="{48642427-0C9A-4143-9A86-1D87A38FEB42}" type="sibTrans" cxnId="{F68C3A5E-8F5A-42B4-B003-99BC09F23BCC}">
      <dgm:prSet/>
      <dgm:spPr/>
      <dgm:t>
        <a:bodyPr/>
        <a:lstStyle/>
        <a:p>
          <a:endParaRPr lang="en-US"/>
        </a:p>
      </dgm:t>
    </dgm:pt>
    <dgm:pt modelId="{C8AB3ED6-6BE8-4EE6-A4CB-450F7871899D}">
      <dgm:prSet phldrT="[Text]" custT="1"/>
      <dgm:spPr/>
      <dgm:t>
        <a:bodyPr/>
        <a:lstStyle/>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Owner Setup</a:t>
          </a:r>
        </a:p>
      </dgm:t>
    </dgm:pt>
    <dgm:pt modelId="{5D51523D-C0D7-44B0-9C76-C6F11C848F9D}" type="parTrans" cxnId="{F83679D1-C818-429F-B1EA-B5B388E6904F}">
      <dgm:prSet/>
      <dgm:spPr/>
      <dgm:t>
        <a:bodyPr/>
        <a:lstStyle/>
        <a:p>
          <a:endParaRPr lang="en-US"/>
        </a:p>
      </dgm:t>
    </dgm:pt>
    <dgm:pt modelId="{C9E3E641-EA52-4156-8E1D-B5E450634F17}" type="sibTrans" cxnId="{F83679D1-C818-429F-B1EA-B5B388E6904F}">
      <dgm:prSet/>
      <dgm:spPr/>
      <dgm:t>
        <a:bodyPr/>
        <a:lstStyle/>
        <a:p>
          <a:endParaRPr lang="en-US"/>
        </a:p>
      </dgm:t>
    </dgm:pt>
    <dgm:pt modelId="{86299A24-CB69-4702-A370-0FE3848832D3}">
      <dgm:prSet phldrT="[Text]" custT="1"/>
      <dgm:spPr/>
      <dgm:t>
        <a:bodyPr/>
        <a:lstStyle/>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Management plane</a:t>
          </a:r>
        </a:p>
      </dgm:t>
    </dgm:pt>
    <dgm:pt modelId="{8632203C-FF36-4F16-AA66-A041CE457437}" type="parTrans" cxnId="{663E60C8-2F02-4C4A-B185-245A6D658B67}">
      <dgm:prSet/>
      <dgm:spPr/>
      <dgm:t>
        <a:bodyPr/>
        <a:lstStyle/>
        <a:p>
          <a:endParaRPr lang="en-US"/>
        </a:p>
      </dgm:t>
    </dgm:pt>
    <dgm:pt modelId="{9F9D6D86-9C37-4F5E-90AB-61C421841B42}" type="sibTrans" cxnId="{663E60C8-2F02-4C4A-B185-245A6D658B67}">
      <dgm:prSet/>
      <dgm:spPr/>
      <dgm:t>
        <a:bodyPr/>
        <a:lstStyle/>
        <a:p>
          <a:endParaRPr lang="en-US"/>
        </a:p>
      </dgm:t>
    </dgm:pt>
    <dgm:pt modelId="{0EC3B6B9-B436-465A-8992-A00DF6D528C4}" type="pres">
      <dgm:prSet presAssocID="{9C436FA6-C4B3-4297-B941-7DC33619251A}" presName="Name0" presStyleCnt="0">
        <dgm:presLayoutVars>
          <dgm:dir/>
          <dgm:resizeHandles val="exact"/>
        </dgm:presLayoutVars>
      </dgm:prSet>
      <dgm:spPr/>
    </dgm:pt>
    <dgm:pt modelId="{671BCC65-647B-4B46-BAED-59D899BE816C}" type="pres">
      <dgm:prSet presAssocID="{65966821-E97B-4184-AD91-1F5A74E7841B}" presName="composite" presStyleCnt="0"/>
      <dgm:spPr/>
    </dgm:pt>
    <dgm:pt modelId="{F07E51C6-9F7C-4614-99BA-32C4368A23C1}" type="pres">
      <dgm:prSet presAssocID="{65966821-E97B-4184-AD91-1F5A74E7841B}" presName="rect1" presStyleLbl="trAlignAcc1" presStyleIdx="0" presStyleCnt="5">
        <dgm:presLayoutVars>
          <dgm:bulletEnabled val="1"/>
        </dgm:presLayoutVars>
      </dgm:prSet>
      <dgm:spPr/>
    </dgm:pt>
    <dgm:pt modelId="{287D23DB-7D23-42A2-9EF9-E36A4467ED86}" type="pres">
      <dgm:prSet presAssocID="{65966821-E97B-4184-AD91-1F5A74E7841B}" presName="rect2"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8483DDC9-8C50-4A4A-88EC-3872D8C6191F}" type="pres">
      <dgm:prSet presAssocID="{E4D0FE02-73AC-454A-96C5-9DD763433800}" presName="sibTrans" presStyleCnt="0"/>
      <dgm:spPr/>
    </dgm:pt>
    <dgm:pt modelId="{F7BC0B99-8F7A-4C2F-9FE0-9406FF9EA633}" type="pres">
      <dgm:prSet presAssocID="{2D941860-3630-44E0-A4CD-2739C49BC06D}" presName="composite" presStyleCnt="0"/>
      <dgm:spPr/>
    </dgm:pt>
    <dgm:pt modelId="{25332A07-ACC5-4569-ACAE-0DE8CBCFDCFD}" type="pres">
      <dgm:prSet presAssocID="{2D941860-3630-44E0-A4CD-2739C49BC06D}" presName="rect1" presStyleLbl="trAlignAcc1" presStyleIdx="1" presStyleCnt="5">
        <dgm:presLayoutVars>
          <dgm:bulletEnabled val="1"/>
        </dgm:presLayoutVars>
      </dgm:prSet>
      <dgm:spPr/>
    </dgm:pt>
    <dgm:pt modelId="{00864889-5FCA-47A1-ACC8-33F4DF3AD39D}" type="pres">
      <dgm:prSet presAssocID="{2D941860-3630-44E0-A4CD-2739C49BC06D}" presName="rect2"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dgm:spPr>
    </dgm:pt>
    <dgm:pt modelId="{36CFB055-6AB5-412D-A4FD-18C4A58792D2}" type="pres">
      <dgm:prSet presAssocID="{48642427-0C9A-4143-9A86-1D87A38FEB42}" presName="sibTrans" presStyleCnt="0"/>
      <dgm:spPr/>
    </dgm:pt>
    <dgm:pt modelId="{A025E6ED-F378-4DED-A163-92A6C84B1246}" type="pres">
      <dgm:prSet presAssocID="{FBFC7BE1-FBB0-4291-8523-674DF58A8C68}" presName="composite" presStyleCnt="0"/>
      <dgm:spPr/>
    </dgm:pt>
    <dgm:pt modelId="{4BEF1A48-89B6-470E-83A2-F72D50D08D6D}" type="pres">
      <dgm:prSet presAssocID="{FBFC7BE1-FBB0-4291-8523-674DF58A8C68}" presName="rect1" presStyleLbl="trAlignAcc1" presStyleIdx="2" presStyleCnt="5">
        <dgm:presLayoutVars>
          <dgm:bulletEnabled val="1"/>
        </dgm:presLayoutVars>
      </dgm:prSet>
      <dgm:spPr/>
    </dgm:pt>
    <dgm:pt modelId="{058B2B7A-9017-4CF7-8822-9F26E82B3EC6}" type="pres">
      <dgm:prSet presAssocID="{FBFC7BE1-FBB0-4291-8523-674DF58A8C68}" presName="rect2"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dgm:spPr>
    </dgm:pt>
    <dgm:pt modelId="{41A5B85D-7447-4F00-BFC3-F9759367F2FD}" type="pres">
      <dgm:prSet presAssocID="{CB90D75A-2897-4B63-9649-EF36753511BE}" presName="sibTrans" presStyleCnt="0"/>
      <dgm:spPr/>
    </dgm:pt>
    <dgm:pt modelId="{743704F9-23E8-4A23-86C6-B8494662CC15}" type="pres">
      <dgm:prSet presAssocID="{1C3D63FD-7381-45C9-82B5-881BDA2D8E1E}" presName="composite" presStyleCnt="0"/>
      <dgm:spPr/>
    </dgm:pt>
    <dgm:pt modelId="{60037AE0-B65F-43D8-9E12-71CD01C3CAFD}" type="pres">
      <dgm:prSet presAssocID="{1C3D63FD-7381-45C9-82B5-881BDA2D8E1E}" presName="rect1" presStyleLbl="trAlignAcc1" presStyleIdx="3" presStyleCnt="5">
        <dgm:presLayoutVars>
          <dgm:bulletEnabled val="1"/>
        </dgm:presLayoutVars>
      </dgm:prSet>
      <dgm:spPr/>
    </dgm:pt>
    <dgm:pt modelId="{6C291C59-B91B-4313-BC48-FE8D8F4C1FB3}" type="pres">
      <dgm:prSet presAssocID="{1C3D63FD-7381-45C9-82B5-881BDA2D8E1E}" presName="rect2"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pt>
    <dgm:pt modelId="{E30460AF-A172-4D2A-8DF3-C9C86AD3702B}" type="pres">
      <dgm:prSet presAssocID="{724CADB8-D7CF-4216-9F29-888B6D054060}" presName="sibTrans" presStyleCnt="0"/>
      <dgm:spPr/>
    </dgm:pt>
    <dgm:pt modelId="{A6BA68E5-F6BC-4D51-9F6A-25433055B948}" type="pres">
      <dgm:prSet presAssocID="{9861747C-9E0D-42EA-89D8-412D03CF7E37}" presName="composite" presStyleCnt="0"/>
      <dgm:spPr/>
    </dgm:pt>
    <dgm:pt modelId="{56D28519-16BA-479F-8457-A1CCAFFCCFC9}" type="pres">
      <dgm:prSet presAssocID="{9861747C-9E0D-42EA-89D8-412D03CF7E37}" presName="rect1" presStyleLbl="trAlignAcc1" presStyleIdx="4" presStyleCnt="5">
        <dgm:presLayoutVars>
          <dgm:bulletEnabled val="1"/>
        </dgm:presLayoutVars>
      </dgm:prSet>
      <dgm:spPr/>
    </dgm:pt>
    <dgm:pt modelId="{768832B2-F877-4FA3-9345-EB93B2B0EFB4}" type="pres">
      <dgm:prSet presAssocID="{9861747C-9E0D-42EA-89D8-412D03CF7E37}" presName="rect2"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dgm:spPr>
    </dgm:pt>
  </dgm:ptLst>
  <dgm:cxnLst>
    <dgm:cxn modelId="{40A8B503-1183-4CAE-9E9E-5C64561EB7EF}" srcId="{65966821-E97B-4184-AD91-1F5A74E7841B}" destId="{AB53D60C-9A04-4859-9F1F-EF13C81AE059}" srcOrd="0" destOrd="0" parTransId="{B7B32105-BFA8-41B5-BA06-1F43799BFD62}" sibTransId="{76D1B845-9C8E-4D27-93B9-636087830501}"/>
    <dgm:cxn modelId="{8443AF06-3CB8-4169-9475-4BADBB94998C}" srcId="{1C3D63FD-7381-45C9-82B5-881BDA2D8E1E}" destId="{EA433F26-758F-42B0-97BD-8C1CD411AD08}" srcOrd="0" destOrd="0" parTransId="{F46EDD96-D577-4A1F-915F-9EC61DCCD6DE}" sibTransId="{F4235C1E-923E-4C80-8E44-4C4EA2EDBD94}"/>
    <dgm:cxn modelId="{CCB47A0A-99C3-434E-BC61-456DD5158011}" srcId="{1C3D63FD-7381-45C9-82B5-881BDA2D8E1E}" destId="{D166B374-A26A-4E68-8233-A844FC696236}" srcOrd="1" destOrd="0" parTransId="{9324D112-45FA-48EF-9A61-A5CF97FEB2F3}" sibTransId="{934367F3-0E77-4352-A2A7-391D759D0BFB}"/>
    <dgm:cxn modelId="{448E100C-F95F-49B3-926B-60666FDD381B}" type="presOf" srcId="{7DF8811B-0AFD-4BB0-942F-B4C3C0656EDC}" destId="{56D28519-16BA-479F-8457-A1CCAFFCCFC9}" srcOrd="0" destOrd="2" presId="urn:microsoft.com/office/officeart/2008/layout/PictureStrips"/>
    <dgm:cxn modelId="{34347910-8FB9-4A32-99B0-BF3F41747F0B}" type="presOf" srcId="{9861747C-9E0D-42EA-89D8-412D03CF7E37}" destId="{56D28519-16BA-479F-8457-A1CCAFFCCFC9}" srcOrd="0" destOrd="0" presId="urn:microsoft.com/office/officeart/2008/layout/PictureStrips"/>
    <dgm:cxn modelId="{61636525-3ACE-4DCA-8E3C-F7A4DD622647}" srcId="{9C436FA6-C4B3-4297-B941-7DC33619251A}" destId="{9861747C-9E0D-42EA-89D8-412D03CF7E37}" srcOrd="4" destOrd="0" parTransId="{9C4BD807-54C6-4C44-8FEA-296898BC39F2}" sibTransId="{A627D808-10F4-4721-8336-D401C7628CD6}"/>
    <dgm:cxn modelId="{194DE72F-FD48-49E1-BA6F-2B714FABD23F}" type="presOf" srcId="{C76B6EBC-9E0E-4AF8-A807-E80A287E5BD4}" destId="{4BEF1A48-89B6-470E-83A2-F72D50D08D6D}" srcOrd="0" destOrd="2" presId="urn:microsoft.com/office/officeart/2008/layout/PictureStrips"/>
    <dgm:cxn modelId="{E385CF35-EAF5-4633-969E-2DC4B0622B5C}" type="presOf" srcId="{9C436FA6-C4B3-4297-B941-7DC33619251A}" destId="{0EC3B6B9-B436-465A-8992-A00DF6D528C4}" srcOrd="0" destOrd="0" presId="urn:microsoft.com/office/officeart/2008/layout/PictureStrips"/>
    <dgm:cxn modelId="{875D473B-8484-4BF5-B255-B72ECE73F5F7}" type="presOf" srcId="{C8AB3ED6-6BE8-4EE6-A4CB-450F7871899D}" destId="{25332A07-ACC5-4569-ACAE-0DE8CBCFDCFD}" srcOrd="0" destOrd="1" presId="urn:microsoft.com/office/officeart/2008/layout/PictureStrips"/>
    <dgm:cxn modelId="{F68C3A5E-8F5A-42B4-B003-99BC09F23BCC}" srcId="{9C436FA6-C4B3-4297-B941-7DC33619251A}" destId="{2D941860-3630-44E0-A4CD-2739C49BC06D}" srcOrd="1" destOrd="0" parTransId="{4EA22214-FDCB-4B12-BE94-79E8FC4056F6}" sibTransId="{48642427-0C9A-4143-9A86-1D87A38FEB42}"/>
    <dgm:cxn modelId="{C8190D43-9088-466D-86E0-88097B91BE65}" type="presOf" srcId="{FA809047-4FC2-4F9D-B328-A19B2AC93C3D}" destId="{F07E51C6-9F7C-4614-99BA-32C4368A23C1}" srcOrd="0" destOrd="2" presId="urn:microsoft.com/office/officeart/2008/layout/PictureStrips"/>
    <dgm:cxn modelId="{6C74254A-FF99-46C1-8FD9-2CEB1B7B230F}" srcId="{9861747C-9E0D-42EA-89D8-412D03CF7E37}" destId="{5A2AB42F-96D5-4A18-8D80-ECDDEA32D589}" srcOrd="0" destOrd="0" parTransId="{A2B0789A-DD14-4019-9869-69E1C357DA73}" sibTransId="{61777549-CCBA-4FCC-8215-21C4187CE59D}"/>
    <dgm:cxn modelId="{CE22254D-3D0A-486E-A601-16FA5BD95EAD}" type="presOf" srcId="{2D941860-3630-44E0-A4CD-2739C49BC06D}" destId="{25332A07-ACC5-4569-ACAE-0DE8CBCFDCFD}" srcOrd="0" destOrd="0" presId="urn:microsoft.com/office/officeart/2008/layout/PictureStrips"/>
    <dgm:cxn modelId="{9D40896F-8A6E-4E8B-B310-DD47FAE90CD4}" srcId="{9C436FA6-C4B3-4297-B941-7DC33619251A}" destId="{65966821-E97B-4184-AD91-1F5A74E7841B}" srcOrd="0" destOrd="0" parTransId="{E537F84B-FBF1-47D9-945D-3C1D44CDDAB1}" sibTransId="{E4D0FE02-73AC-454A-96C5-9DD763433800}"/>
    <dgm:cxn modelId="{01916C53-3DBC-43F1-BFE4-3423DCB19B30}" type="presOf" srcId="{1C3D63FD-7381-45C9-82B5-881BDA2D8E1E}" destId="{60037AE0-B65F-43D8-9E12-71CD01C3CAFD}" srcOrd="0" destOrd="0" presId="urn:microsoft.com/office/officeart/2008/layout/PictureStrips"/>
    <dgm:cxn modelId="{C3CE2554-D5E5-4F98-951C-E44BE7627461}" srcId="{FBFC7BE1-FBB0-4291-8523-674DF58A8C68}" destId="{C76B6EBC-9E0E-4AF8-A807-E80A287E5BD4}" srcOrd="1" destOrd="0" parTransId="{109A3D41-5373-4DFA-8004-4C4DB8000E7A}" sibTransId="{34C4DACF-F1B0-439B-9D3B-FEE14DE456E1}"/>
    <dgm:cxn modelId="{C3C6767C-0A62-43F6-84E5-B07241A2313A}" type="presOf" srcId="{86299A24-CB69-4702-A370-0FE3848832D3}" destId="{25332A07-ACC5-4569-ACAE-0DE8CBCFDCFD}" srcOrd="0" destOrd="2" presId="urn:microsoft.com/office/officeart/2008/layout/PictureStrips"/>
    <dgm:cxn modelId="{E32A718B-049C-4019-AC71-25B31E5B882C}" srcId="{65966821-E97B-4184-AD91-1F5A74E7841B}" destId="{FA809047-4FC2-4F9D-B328-A19B2AC93C3D}" srcOrd="1" destOrd="0" parTransId="{08C12028-5F01-46A9-84CD-54714BBB12E4}" sibTransId="{953CFB9E-4E95-46B3-93E8-4C3AD7082995}"/>
    <dgm:cxn modelId="{4028419A-5D7B-4E94-8056-CA1BE15EBE2A}" type="presOf" srcId="{D166B374-A26A-4E68-8233-A844FC696236}" destId="{60037AE0-B65F-43D8-9E12-71CD01C3CAFD}" srcOrd="0" destOrd="2" presId="urn:microsoft.com/office/officeart/2008/layout/PictureStrips"/>
    <dgm:cxn modelId="{C8C206B7-9507-4681-B026-200972040757}" srcId="{9861747C-9E0D-42EA-89D8-412D03CF7E37}" destId="{7DF8811B-0AFD-4BB0-942F-B4C3C0656EDC}" srcOrd="1" destOrd="0" parTransId="{DE0E60F5-D8BB-4B79-AC05-DE70E9B5F82B}" sibTransId="{26554AE8-80F7-4D45-B38D-D0AB66E83CAC}"/>
    <dgm:cxn modelId="{72CF8DB8-BB3B-4D74-A245-1AB6691A989A}" srcId="{9C436FA6-C4B3-4297-B941-7DC33619251A}" destId="{FBFC7BE1-FBB0-4291-8523-674DF58A8C68}" srcOrd="2" destOrd="0" parTransId="{8F05C0C4-8290-4EF3-8350-382C277FF900}" sibTransId="{CB90D75A-2897-4B63-9649-EF36753511BE}"/>
    <dgm:cxn modelId="{3666C7C6-0CBF-461C-AFC8-C3222ADD9034}" srcId="{9C436FA6-C4B3-4297-B941-7DC33619251A}" destId="{1C3D63FD-7381-45C9-82B5-881BDA2D8E1E}" srcOrd="3" destOrd="0" parTransId="{9D79C46E-52AF-483C-B37D-4159EF9FC531}" sibTransId="{724CADB8-D7CF-4216-9F29-888B6D054060}"/>
    <dgm:cxn modelId="{663E60C8-2F02-4C4A-B185-245A6D658B67}" srcId="{2D941860-3630-44E0-A4CD-2739C49BC06D}" destId="{86299A24-CB69-4702-A370-0FE3848832D3}" srcOrd="1" destOrd="0" parTransId="{8632203C-FF36-4F16-AA66-A041CE457437}" sibTransId="{9F9D6D86-9C37-4F5E-90AB-61C421841B42}"/>
    <dgm:cxn modelId="{51A59AC8-FF56-46CC-B7C7-EFC4AA712052}" type="presOf" srcId="{FBFC7BE1-FBB0-4291-8523-674DF58A8C68}" destId="{4BEF1A48-89B6-470E-83A2-F72D50D08D6D}" srcOrd="0" destOrd="0" presId="urn:microsoft.com/office/officeart/2008/layout/PictureStrips"/>
    <dgm:cxn modelId="{F83679D1-C818-429F-B1EA-B5B388E6904F}" srcId="{2D941860-3630-44E0-A4CD-2739C49BC06D}" destId="{C8AB3ED6-6BE8-4EE6-A4CB-450F7871899D}" srcOrd="0" destOrd="0" parTransId="{5D51523D-C0D7-44B0-9C76-C6F11C848F9D}" sibTransId="{C9E3E641-EA52-4156-8E1D-B5E450634F17}"/>
    <dgm:cxn modelId="{60140CD6-0E00-4727-AC0C-3EBF56B3D973}" type="presOf" srcId="{EA433F26-758F-42B0-97BD-8C1CD411AD08}" destId="{60037AE0-B65F-43D8-9E12-71CD01C3CAFD}" srcOrd="0" destOrd="1" presId="urn:microsoft.com/office/officeart/2008/layout/PictureStrips"/>
    <dgm:cxn modelId="{5BE3EADE-9325-4BC8-920E-E3996FF7FD9A}" type="presOf" srcId="{65966821-E97B-4184-AD91-1F5A74E7841B}" destId="{F07E51C6-9F7C-4614-99BA-32C4368A23C1}" srcOrd="0" destOrd="0" presId="urn:microsoft.com/office/officeart/2008/layout/PictureStrips"/>
    <dgm:cxn modelId="{4FF420E7-D9A2-4762-8DD4-AF743884A940}" srcId="{FBFC7BE1-FBB0-4291-8523-674DF58A8C68}" destId="{CC3A506B-F115-4354-8010-8A3985F03258}" srcOrd="0" destOrd="0" parTransId="{392DBDD2-ED9B-49C0-8900-F16D8C8E568A}" sibTransId="{FF72E6E7-C60D-4645-85DE-6B5F819665F4}"/>
    <dgm:cxn modelId="{CD2D12EB-9A51-49BE-98AC-58C68256B597}" type="presOf" srcId="{AB53D60C-9A04-4859-9F1F-EF13C81AE059}" destId="{F07E51C6-9F7C-4614-99BA-32C4368A23C1}" srcOrd="0" destOrd="1" presId="urn:microsoft.com/office/officeart/2008/layout/PictureStrips"/>
    <dgm:cxn modelId="{778654F1-4BA3-4B5E-B18C-4B9DC2F0B868}" type="presOf" srcId="{CC3A506B-F115-4354-8010-8A3985F03258}" destId="{4BEF1A48-89B6-470E-83A2-F72D50D08D6D}" srcOrd="0" destOrd="1" presId="urn:microsoft.com/office/officeart/2008/layout/PictureStrips"/>
    <dgm:cxn modelId="{3ADA73FC-0EDA-448C-9227-1A0F200F61B5}" type="presOf" srcId="{5A2AB42F-96D5-4A18-8D80-ECDDEA32D589}" destId="{56D28519-16BA-479F-8457-A1CCAFFCCFC9}" srcOrd="0" destOrd="1" presId="urn:microsoft.com/office/officeart/2008/layout/PictureStrips"/>
    <dgm:cxn modelId="{8DDA74A3-D9D0-4D85-B579-B8D02EE4A09B}" type="presParOf" srcId="{0EC3B6B9-B436-465A-8992-A00DF6D528C4}" destId="{671BCC65-647B-4B46-BAED-59D899BE816C}" srcOrd="0" destOrd="0" presId="urn:microsoft.com/office/officeart/2008/layout/PictureStrips"/>
    <dgm:cxn modelId="{992ACA43-7CF4-4960-83B2-6762012ED09C}" type="presParOf" srcId="{671BCC65-647B-4B46-BAED-59D899BE816C}" destId="{F07E51C6-9F7C-4614-99BA-32C4368A23C1}" srcOrd="0" destOrd="0" presId="urn:microsoft.com/office/officeart/2008/layout/PictureStrips"/>
    <dgm:cxn modelId="{1C0F4FC7-D737-46E3-AC88-60E18FE8E658}" type="presParOf" srcId="{671BCC65-647B-4B46-BAED-59D899BE816C}" destId="{287D23DB-7D23-42A2-9EF9-E36A4467ED86}" srcOrd="1" destOrd="0" presId="urn:microsoft.com/office/officeart/2008/layout/PictureStrips"/>
    <dgm:cxn modelId="{24E0AA31-C4E5-416A-A04F-618912369B96}" type="presParOf" srcId="{0EC3B6B9-B436-465A-8992-A00DF6D528C4}" destId="{8483DDC9-8C50-4A4A-88EC-3872D8C6191F}" srcOrd="1" destOrd="0" presId="urn:microsoft.com/office/officeart/2008/layout/PictureStrips"/>
    <dgm:cxn modelId="{2EDC41F3-C20E-4BD2-8D4C-5BA89EF0E868}" type="presParOf" srcId="{0EC3B6B9-B436-465A-8992-A00DF6D528C4}" destId="{F7BC0B99-8F7A-4C2F-9FE0-9406FF9EA633}" srcOrd="2" destOrd="0" presId="urn:microsoft.com/office/officeart/2008/layout/PictureStrips"/>
    <dgm:cxn modelId="{E82F26EB-8107-4469-882F-3498B44F9612}" type="presParOf" srcId="{F7BC0B99-8F7A-4C2F-9FE0-9406FF9EA633}" destId="{25332A07-ACC5-4569-ACAE-0DE8CBCFDCFD}" srcOrd="0" destOrd="0" presId="urn:microsoft.com/office/officeart/2008/layout/PictureStrips"/>
    <dgm:cxn modelId="{827F3319-1F73-4561-84A6-8B1B68151AFA}" type="presParOf" srcId="{F7BC0B99-8F7A-4C2F-9FE0-9406FF9EA633}" destId="{00864889-5FCA-47A1-ACC8-33F4DF3AD39D}" srcOrd="1" destOrd="0" presId="urn:microsoft.com/office/officeart/2008/layout/PictureStrips"/>
    <dgm:cxn modelId="{21446BF5-17AD-4DAE-AD18-64187C10427E}" type="presParOf" srcId="{0EC3B6B9-B436-465A-8992-A00DF6D528C4}" destId="{36CFB055-6AB5-412D-A4FD-18C4A58792D2}" srcOrd="3" destOrd="0" presId="urn:microsoft.com/office/officeart/2008/layout/PictureStrips"/>
    <dgm:cxn modelId="{71E76F1A-3A1D-47F4-9EFD-A0D78D746B6B}" type="presParOf" srcId="{0EC3B6B9-B436-465A-8992-A00DF6D528C4}" destId="{A025E6ED-F378-4DED-A163-92A6C84B1246}" srcOrd="4" destOrd="0" presId="urn:microsoft.com/office/officeart/2008/layout/PictureStrips"/>
    <dgm:cxn modelId="{3594E7A2-3662-4E0B-B125-EDD7CE67590F}" type="presParOf" srcId="{A025E6ED-F378-4DED-A163-92A6C84B1246}" destId="{4BEF1A48-89B6-470E-83A2-F72D50D08D6D}" srcOrd="0" destOrd="0" presId="urn:microsoft.com/office/officeart/2008/layout/PictureStrips"/>
    <dgm:cxn modelId="{6C765773-27B7-46FE-A694-E1157B566F7D}" type="presParOf" srcId="{A025E6ED-F378-4DED-A163-92A6C84B1246}" destId="{058B2B7A-9017-4CF7-8822-9F26E82B3EC6}" srcOrd="1" destOrd="0" presId="urn:microsoft.com/office/officeart/2008/layout/PictureStrips"/>
    <dgm:cxn modelId="{8928A9DF-7870-4F51-82CC-5C005E2E0581}" type="presParOf" srcId="{0EC3B6B9-B436-465A-8992-A00DF6D528C4}" destId="{41A5B85D-7447-4F00-BFC3-F9759367F2FD}" srcOrd="5" destOrd="0" presId="urn:microsoft.com/office/officeart/2008/layout/PictureStrips"/>
    <dgm:cxn modelId="{17B28157-1837-4AB0-93FC-E6F3AD07EA34}" type="presParOf" srcId="{0EC3B6B9-B436-465A-8992-A00DF6D528C4}" destId="{743704F9-23E8-4A23-86C6-B8494662CC15}" srcOrd="6" destOrd="0" presId="urn:microsoft.com/office/officeart/2008/layout/PictureStrips"/>
    <dgm:cxn modelId="{3BC97C4B-436E-486E-B27C-559B017912A6}" type="presParOf" srcId="{743704F9-23E8-4A23-86C6-B8494662CC15}" destId="{60037AE0-B65F-43D8-9E12-71CD01C3CAFD}" srcOrd="0" destOrd="0" presId="urn:microsoft.com/office/officeart/2008/layout/PictureStrips"/>
    <dgm:cxn modelId="{6E19EE4F-64B4-45B0-A726-50AC10B0895D}" type="presParOf" srcId="{743704F9-23E8-4A23-86C6-B8494662CC15}" destId="{6C291C59-B91B-4313-BC48-FE8D8F4C1FB3}" srcOrd="1" destOrd="0" presId="urn:microsoft.com/office/officeart/2008/layout/PictureStrips"/>
    <dgm:cxn modelId="{B8B7517F-E89E-46E0-BAD6-C7EC74514BB8}" type="presParOf" srcId="{0EC3B6B9-B436-465A-8992-A00DF6D528C4}" destId="{E30460AF-A172-4D2A-8DF3-C9C86AD3702B}" srcOrd="7" destOrd="0" presId="urn:microsoft.com/office/officeart/2008/layout/PictureStrips"/>
    <dgm:cxn modelId="{473ADE17-D53C-4E93-831E-7BE0844D91BB}" type="presParOf" srcId="{0EC3B6B9-B436-465A-8992-A00DF6D528C4}" destId="{A6BA68E5-F6BC-4D51-9F6A-25433055B948}" srcOrd="8" destOrd="0" presId="urn:microsoft.com/office/officeart/2008/layout/PictureStrips"/>
    <dgm:cxn modelId="{BF1D9945-1909-4AF4-8CAD-DB8FDBC8F02F}" type="presParOf" srcId="{A6BA68E5-F6BC-4D51-9F6A-25433055B948}" destId="{56D28519-16BA-479F-8457-A1CCAFFCCFC9}" srcOrd="0" destOrd="0" presId="urn:microsoft.com/office/officeart/2008/layout/PictureStrips"/>
    <dgm:cxn modelId="{1AC1A1F0-3124-4D9D-AA23-E6A4506F79B9}" type="presParOf" srcId="{A6BA68E5-F6BC-4D51-9F6A-25433055B948}" destId="{768832B2-F877-4FA3-9345-EB93B2B0EFB4}"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C6C38C4-CBF8-4F1B-A426-F11B739C6B4C}">
      <dgm:prSet phldrT="[Text]" custT="1"/>
      <dgm:spPr/>
      <dgm:t>
        <a:bodyPr/>
        <a:lstStyle/>
        <a:p>
          <a:r>
            <a:rPr lang="en-US" sz="2000" dirty="0"/>
            <a:t>Generate Alerts</a:t>
          </a:r>
        </a:p>
      </dgm:t>
    </dgm:pt>
    <dgm:pt modelId="{AA95B964-C624-4251-9A3A-CB52B0C2180A}" type="parTrans" cxnId="{EDEED619-FA9C-4873-9A73-FAE5E67BD5A7}">
      <dgm:prSet/>
      <dgm:spPr/>
      <dgm:t>
        <a:bodyPr/>
        <a:lstStyle/>
        <a:p>
          <a:endParaRPr lang="en-US" sz="2000"/>
        </a:p>
      </dgm:t>
    </dgm:pt>
    <dgm:pt modelId="{7022702F-478F-4B60-BF4C-318E5F52F08A}" type="sibTrans" cxnId="{EDEED619-FA9C-4873-9A73-FAE5E67BD5A7}">
      <dgm:prSet/>
      <dgm:spPr/>
      <dgm:t>
        <a:bodyPr/>
        <a:lstStyle/>
        <a:p>
          <a:endParaRPr lang="en-US" sz="2000"/>
        </a:p>
      </dgm:t>
    </dgm:pt>
    <dgm:pt modelId="{E7E7CB74-77D2-4279-BD26-5F6281F2F861}">
      <dgm:prSet phldrT="[Text]" custT="1"/>
      <dgm:spPr/>
      <dgm:t>
        <a:bodyPr/>
        <a:lstStyle/>
        <a:p>
          <a:r>
            <a:rPr lang="en-US" sz="2000" dirty="0"/>
            <a:t>Export &amp; Correlate</a:t>
          </a:r>
        </a:p>
      </dgm:t>
    </dgm:pt>
    <dgm:pt modelId="{A3FC83BA-0267-4E55-B825-DE0F7B0A81E8}" type="sibTrans" cxnId="{52D78533-16AB-4C5C-8934-CA5166598391}">
      <dgm:prSet/>
      <dgm:spPr/>
      <dgm:t>
        <a:bodyPr/>
        <a:lstStyle/>
        <a:p>
          <a:endParaRPr lang="en-US" sz="2000"/>
        </a:p>
      </dgm:t>
    </dgm:pt>
    <dgm:pt modelId="{68ECEDFF-AA23-48AE-A3A3-889D274934D7}" type="parTrans" cxnId="{52D78533-16AB-4C5C-8934-CA5166598391}">
      <dgm:prSet/>
      <dgm:spPr/>
      <dgm:t>
        <a:bodyPr/>
        <a:lstStyle/>
        <a:p>
          <a:endParaRPr lang="en-US" sz="2000"/>
        </a:p>
      </dgm:t>
    </dgm:pt>
    <dgm:pt modelId="{FC113269-521D-4F5E-9C28-A5C23380EC98}">
      <dgm:prSet phldrT="[Text]" custT="1"/>
      <dgm:spPr/>
      <dgm:t>
        <a:bodyPr/>
        <a:lstStyle/>
        <a:p>
          <a:r>
            <a:rPr lang="en-US" sz="2000" dirty="0"/>
            <a:t>Customer Insights</a:t>
          </a:r>
        </a:p>
      </dgm:t>
    </dgm:pt>
    <dgm:pt modelId="{443BDDDB-B3A3-4BB1-983E-83E2CAAACFB2}" type="sibTrans" cxnId="{F9977D25-97C7-42A6-BF76-E2A431B8D631}">
      <dgm:prSet/>
      <dgm:spPr/>
      <dgm:t>
        <a:bodyPr/>
        <a:lstStyle/>
        <a:p>
          <a:endParaRPr lang="en-US" sz="2000"/>
        </a:p>
      </dgm:t>
    </dgm:pt>
    <dgm:pt modelId="{740A5BDD-38B0-4BA6-81E3-596B3D057901}" type="parTrans" cxnId="{F9977D25-97C7-42A6-BF76-E2A431B8D631}">
      <dgm:prSet/>
      <dgm:spPr/>
      <dgm:t>
        <a:bodyPr/>
        <a:lstStyle/>
        <a:p>
          <a:endParaRPr lang="en-US" sz="2000"/>
        </a:p>
      </dgm:t>
    </dgm:pt>
    <dgm:pt modelId="{2173BF89-492F-4970-BB08-3DF68BB1E2F4}">
      <dgm:prSet phldrT="[Text]" custT="1"/>
      <dgm:spPr/>
      <dgm:t>
        <a:bodyPr/>
        <a:lstStyle/>
        <a:p>
          <a:r>
            <a:rPr lang="en-US" sz="2000" dirty="0"/>
            <a:t>Take  Actions</a:t>
          </a:r>
        </a:p>
      </dgm:t>
    </dgm:pt>
    <dgm:pt modelId="{078AED14-1D1D-4F04-9D9F-95F6098E9DC7}" type="parTrans" cxnId="{DD5C2B6A-4B57-474C-BEF3-70EB677B6633}">
      <dgm:prSet/>
      <dgm:spPr/>
      <dgm:t>
        <a:bodyPr/>
        <a:lstStyle/>
        <a:p>
          <a:endParaRPr lang="en-US" sz="2000"/>
        </a:p>
      </dgm:t>
    </dgm:pt>
    <dgm:pt modelId="{FADC5B1E-B857-42CD-8234-89F50D0D4030}" type="sibTrans" cxnId="{DD5C2B6A-4B57-474C-BEF3-70EB677B6633}">
      <dgm:prSet/>
      <dgm:spPr/>
      <dgm:t>
        <a:bodyPr/>
        <a:lstStyle/>
        <a:p>
          <a:endParaRPr lang="en-US" sz="2000"/>
        </a:p>
      </dgm:t>
    </dgm:pt>
    <dgm:pt modelId="{0841CD39-4A26-4AA0-9C2A-2566F1D538AF}" type="pres">
      <dgm:prSet presAssocID="{473F8D28-9B24-45F7-82C2-D98FCC74B220}" presName="diagram" presStyleCnt="0">
        <dgm:presLayoutVars>
          <dgm:dir/>
          <dgm:resizeHandles val="exact"/>
        </dgm:presLayoutVars>
      </dgm:prSet>
      <dgm:spPr/>
    </dgm:pt>
    <dgm:pt modelId="{F3820D46-0FEA-4B16-823A-EE57A0B7F217}" type="pres">
      <dgm:prSet presAssocID="{AC6C38C4-CBF8-4F1B-A426-F11B739C6B4C}" presName="node" presStyleLbl="node1" presStyleIdx="0" presStyleCnt="4">
        <dgm:presLayoutVars>
          <dgm:bulletEnabled val="1"/>
        </dgm:presLayoutVars>
      </dgm:prSet>
      <dgm:spPr/>
    </dgm:pt>
    <dgm:pt modelId="{08DD9495-EF8F-4649-B243-6300CF01679C}" type="pres">
      <dgm:prSet presAssocID="{7022702F-478F-4B60-BF4C-318E5F52F08A}" presName="sibTrans" presStyleCnt="0"/>
      <dgm:spPr/>
    </dgm:pt>
    <dgm:pt modelId="{1443D666-4A2B-4056-85CE-D842A38B160C}" type="pres">
      <dgm:prSet presAssocID="{2173BF89-492F-4970-BB08-3DF68BB1E2F4}" presName="node" presStyleLbl="node1" presStyleIdx="1" presStyleCnt="4">
        <dgm:presLayoutVars>
          <dgm:bulletEnabled val="1"/>
        </dgm:presLayoutVars>
      </dgm:prSet>
      <dgm:spPr/>
    </dgm:pt>
    <dgm:pt modelId="{B600E667-8FB0-4050-95EF-A0E557760378}" type="pres">
      <dgm:prSet presAssocID="{FADC5B1E-B857-42CD-8234-89F50D0D4030}" presName="sibTrans" presStyleCnt="0"/>
      <dgm:spPr/>
    </dgm:pt>
    <dgm:pt modelId="{830675DB-577B-46EE-9C0E-06640DC020B0}" type="pres">
      <dgm:prSet presAssocID="{FC113269-521D-4F5E-9C28-A5C23380EC98}" presName="node" presStyleLbl="node1" presStyleIdx="2" presStyleCnt="4">
        <dgm:presLayoutVars>
          <dgm:bulletEnabled val="1"/>
        </dgm:presLayoutVars>
      </dgm:prSet>
      <dgm:spPr/>
    </dgm:pt>
    <dgm:pt modelId="{B2B19356-2CC9-406F-9194-B4787FF831F7}" type="pres">
      <dgm:prSet presAssocID="{443BDDDB-B3A3-4BB1-983E-83E2CAAACFB2}" presName="sibTrans" presStyleCnt="0"/>
      <dgm:spPr/>
    </dgm:pt>
    <dgm:pt modelId="{3E5624FC-8C14-47DA-A1DC-6DBEF1F5BB5A}" type="pres">
      <dgm:prSet presAssocID="{E7E7CB74-77D2-4279-BD26-5F6281F2F861}" presName="node" presStyleLbl="node1" presStyleIdx="3" presStyleCnt="4">
        <dgm:presLayoutVars>
          <dgm:bulletEnabled val="1"/>
        </dgm:presLayoutVars>
      </dgm:prSet>
      <dgm:spPr/>
    </dgm:pt>
  </dgm:ptLst>
  <dgm:cxnLst>
    <dgm:cxn modelId="{EDEED619-FA9C-4873-9A73-FAE5E67BD5A7}" srcId="{473F8D28-9B24-45F7-82C2-D98FCC74B220}" destId="{AC6C38C4-CBF8-4F1B-A426-F11B739C6B4C}" srcOrd="0" destOrd="0" parTransId="{AA95B964-C624-4251-9A3A-CB52B0C2180A}" sibTransId="{7022702F-478F-4B60-BF4C-318E5F52F08A}"/>
    <dgm:cxn modelId="{15100E1D-36EE-42FC-B73E-ACC8B18B2DCC}" type="presOf" srcId="{AC6C38C4-CBF8-4F1B-A426-F11B739C6B4C}" destId="{F3820D46-0FEA-4B16-823A-EE57A0B7F217}" srcOrd="0" destOrd="0" presId="urn:microsoft.com/office/officeart/2005/8/layout/default"/>
    <dgm:cxn modelId="{F9977D25-97C7-42A6-BF76-E2A431B8D631}" srcId="{473F8D28-9B24-45F7-82C2-D98FCC74B220}" destId="{FC113269-521D-4F5E-9C28-A5C23380EC98}" srcOrd="2" destOrd="0" parTransId="{740A5BDD-38B0-4BA6-81E3-596B3D057901}" sibTransId="{443BDDDB-B3A3-4BB1-983E-83E2CAAACFB2}"/>
    <dgm:cxn modelId="{52D78533-16AB-4C5C-8934-CA5166598391}" srcId="{473F8D28-9B24-45F7-82C2-D98FCC74B220}" destId="{E7E7CB74-77D2-4279-BD26-5F6281F2F861}" srcOrd="3" destOrd="0" parTransId="{68ECEDFF-AA23-48AE-A3A3-889D274934D7}" sibTransId="{A3FC83BA-0267-4E55-B825-DE0F7B0A81E8}"/>
    <dgm:cxn modelId="{DD5C2B6A-4B57-474C-BEF3-70EB677B6633}" srcId="{473F8D28-9B24-45F7-82C2-D98FCC74B220}" destId="{2173BF89-492F-4970-BB08-3DF68BB1E2F4}" srcOrd="1" destOrd="0" parTransId="{078AED14-1D1D-4F04-9D9F-95F6098E9DC7}" sibTransId="{FADC5B1E-B857-42CD-8234-89F50D0D4030}"/>
    <dgm:cxn modelId="{57345952-7B36-419B-82EF-B114F188C513}" type="presOf" srcId="{E7E7CB74-77D2-4279-BD26-5F6281F2F861}" destId="{3E5624FC-8C14-47DA-A1DC-6DBEF1F5BB5A}" srcOrd="0" destOrd="0" presId="urn:microsoft.com/office/officeart/2005/8/layout/default"/>
    <dgm:cxn modelId="{CED2C45A-8EE1-4930-A35A-5F45756232E3}" type="presOf" srcId="{2173BF89-492F-4970-BB08-3DF68BB1E2F4}" destId="{1443D666-4A2B-4056-85CE-D842A38B160C}" srcOrd="0" destOrd="0" presId="urn:microsoft.com/office/officeart/2005/8/layout/default"/>
    <dgm:cxn modelId="{02A1D8CC-FA8D-4455-A904-7B6F4AD83AF4}" type="presOf" srcId="{FC113269-521D-4F5E-9C28-A5C23380EC98}" destId="{830675DB-577B-46EE-9C0E-06640DC020B0}" srcOrd="0" destOrd="0" presId="urn:microsoft.com/office/officeart/2005/8/layout/default"/>
    <dgm:cxn modelId="{14B089D1-A749-435E-9AD6-F3AA5903042E}" type="presOf" srcId="{473F8D28-9B24-45F7-82C2-D98FCC74B220}" destId="{0841CD39-4A26-4AA0-9C2A-2566F1D538AF}" srcOrd="0" destOrd="0" presId="urn:microsoft.com/office/officeart/2005/8/layout/default"/>
    <dgm:cxn modelId="{B659A26E-84FF-4B1D-B2FB-AC4A5AFA4161}" type="presParOf" srcId="{0841CD39-4A26-4AA0-9C2A-2566F1D538AF}" destId="{F3820D46-0FEA-4B16-823A-EE57A0B7F217}" srcOrd="0" destOrd="0" presId="urn:microsoft.com/office/officeart/2005/8/layout/default"/>
    <dgm:cxn modelId="{4FDDADB8-3F0C-457F-93C9-2A4C15C501A4}" type="presParOf" srcId="{0841CD39-4A26-4AA0-9C2A-2566F1D538AF}" destId="{08DD9495-EF8F-4649-B243-6300CF01679C}" srcOrd="1" destOrd="0" presId="urn:microsoft.com/office/officeart/2005/8/layout/default"/>
    <dgm:cxn modelId="{CB89F625-080A-438F-A895-EBDCEBDB4C08}" type="presParOf" srcId="{0841CD39-4A26-4AA0-9C2A-2566F1D538AF}" destId="{1443D666-4A2B-4056-85CE-D842A38B160C}" srcOrd="2" destOrd="0" presId="urn:microsoft.com/office/officeart/2005/8/layout/default"/>
    <dgm:cxn modelId="{78855992-0007-4D98-851A-C15CB579B6B1}" type="presParOf" srcId="{0841CD39-4A26-4AA0-9C2A-2566F1D538AF}" destId="{B600E667-8FB0-4050-95EF-A0E557760378}" srcOrd="3" destOrd="0" presId="urn:microsoft.com/office/officeart/2005/8/layout/default"/>
    <dgm:cxn modelId="{95E1F2FA-3346-4057-9EB4-0915CC564499}" type="presParOf" srcId="{0841CD39-4A26-4AA0-9C2A-2566F1D538AF}" destId="{830675DB-577B-46EE-9C0E-06640DC020B0}" srcOrd="4" destOrd="0" presId="urn:microsoft.com/office/officeart/2005/8/layout/default"/>
    <dgm:cxn modelId="{02D4A78D-1BE4-4367-A229-CC0C07A4FF8E}" type="presParOf" srcId="{0841CD39-4A26-4AA0-9C2A-2566F1D538AF}" destId="{B2B19356-2CC9-406F-9194-B4787FF831F7}" srcOrd="5" destOrd="0" presId="urn:microsoft.com/office/officeart/2005/8/layout/default"/>
    <dgm:cxn modelId="{83E0AE37-5283-4817-AB54-F3D9F9B80498}" type="presParOf" srcId="{0841CD39-4A26-4AA0-9C2A-2566F1D538AF}" destId="{3E5624FC-8C14-47DA-A1DC-6DBEF1F5BB5A}" srcOrd="6"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Threat Intelligence</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82561CFA-1FD5-41A6-B32F-4C2755CF0CC5}">
      <dgm:prSet/>
      <dgm:spPr/>
      <dgm:t>
        <a:bodyPr/>
        <a:lstStyle/>
        <a:p>
          <a:r>
            <a:rPr lang="en-US" dirty="0">
              <a:latin typeface="+mj-lt"/>
            </a:rPr>
            <a:t>Intelligent Security Graph</a:t>
          </a:r>
        </a:p>
      </dgm:t>
    </dgm:pt>
    <dgm:pt modelId="{28A812BA-A4EB-4C69-AEA1-13FA10BA85FC}" type="parTrans" cxnId="{150862DB-071E-4F3B-A782-BBD96A61D615}">
      <dgm:prSet/>
      <dgm:spPr/>
      <dgm:t>
        <a:bodyPr/>
        <a:lstStyle/>
        <a:p>
          <a:endParaRPr lang="en-US"/>
        </a:p>
      </dgm:t>
    </dgm:pt>
    <dgm:pt modelId="{321ADD6E-D2C3-4951-9AE8-771E12F4612F}" type="sibTrans" cxnId="{150862DB-071E-4F3B-A782-BBD96A61D615}">
      <dgm:prSet/>
      <dgm:spPr/>
      <dgm:t>
        <a:bodyPr/>
        <a:lstStyle/>
        <a:p>
          <a:endParaRPr lang="en-US"/>
        </a:p>
      </dgm:t>
    </dgm:pt>
    <dgm:pt modelId="{33D10037-57F8-4C37-A9B2-4F5DBC00EF90}">
      <dgm:prSet/>
      <dgm:spPr/>
      <dgm:t>
        <a:bodyPr/>
        <a:lstStyle/>
        <a:p>
          <a:r>
            <a:rPr lang="en-US" dirty="0"/>
            <a:t>Behavioral Analytics</a:t>
          </a:r>
        </a:p>
      </dgm:t>
    </dgm:pt>
    <dgm:pt modelId="{79A6312B-B88A-41FE-ACE3-C81D3FAD04B5}" type="parTrans" cxnId="{F460D322-D917-4BF0-8F82-E38F0E591921}">
      <dgm:prSet/>
      <dgm:spPr/>
      <dgm:t>
        <a:bodyPr/>
        <a:lstStyle/>
        <a:p>
          <a:endParaRPr lang="en-US"/>
        </a:p>
      </dgm:t>
    </dgm:pt>
    <dgm:pt modelId="{E9E0F7DD-2782-4652-A714-F415ED4B7E0A}" type="sibTrans" cxnId="{F460D322-D917-4BF0-8F82-E38F0E591921}">
      <dgm:prSet/>
      <dgm:spPr/>
      <dgm:t>
        <a:bodyPr/>
        <a:lstStyle/>
        <a:p>
          <a:endParaRPr lang="en-US"/>
        </a:p>
      </dgm:t>
    </dgm:pt>
    <dgm:pt modelId="{2B73A86F-48E2-48F1-9A2D-9B8037BBACA1}">
      <dgm:prSet/>
      <dgm:spPr/>
      <dgm:t>
        <a:bodyPr/>
        <a:lstStyle/>
        <a:p>
          <a:r>
            <a:rPr lang="en-US">
              <a:latin typeface="+mj-lt"/>
            </a:rPr>
            <a:t>Learn </a:t>
          </a:r>
          <a:r>
            <a:rPr lang="en-US" dirty="0">
              <a:latin typeface="+mj-lt"/>
            </a:rPr>
            <a:t>threat patterns using machine learning algorithms against massive datasets</a:t>
          </a:r>
        </a:p>
      </dgm:t>
    </dgm:pt>
    <dgm:pt modelId="{10A9B117-A308-4931-9D54-A74DBAB41EF5}" type="parTrans" cxnId="{F9845F1C-4BA7-4564-B4B8-95059811F717}">
      <dgm:prSet/>
      <dgm:spPr/>
      <dgm:t>
        <a:bodyPr/>
        <a:lstStyle/>
        <a:p>
          <a:endParaRPr lang="en-US"/>
        </a:p>
      </dgm:t>
    </dgm:pt>
    <dgm:pt modelId="{C5BB2234-13C6-45AB-955E-FAC0A3399569}" type="sibTrans" cxnId="{F9845F1C-4BA7-4564-B4B8-95059811F717}">
      <dgm:prSet/>
      <dgm:spPr/>
      <dgm:t>
        <a:bodyPr/>
        <a:lstStyle/>
        <a:p>
          <a:endParaRPr lang="en-US"/>
        </a:p>
      </dgm:t>
    </dgm:pt>
    <dgm:pt modelId="{42EA62D3-0781-41FD-8BEF-A349885D986C}">
      <dgm:prSet/>
      <dgm:spPr/>
      <dgm:t>
        <a:bodyPr/>
        <a:lstStyle/>
        <a:p>
          <a:r>
            <a:rPr lang="en-US" dirty="0"/>
            <a:t>Anomaly Detection</a:t>
          </a:r>
        </a:p>
      </dgm:t>
    </dgm:pt>
    <dgm:pt modelId="{6475C6C7-CC30-41F4-A203-B69E946B3CCC}" type="parTrans" cxnId="{DFCA635A-588E-46FE-A715-E6BAD064F1D8}">
      <dgm:prSet/>
      <dgm:spPr/>
      <dgm:t>
        <a:bodyPr/>
        <a:lstStyle/>
        <a:p>
          <a:endParaRPr lang="en-US"/>
        </a:p>
      </dgm:t>
    </dgm:pt>
    <dgm:pt modelId="{FC649356-97BD-4568-8E63-FC12269DECE6}" type="sibTrans" cxnId="{DFCA635A-588E-46FE-A715-E6BAD064F1D8}">
      <dgm:prSet/>
      <dgm:spPr/>
      <dgm:t>
        <a:bodyPr/>
        <a:lstStyle/>
        <a:p>
          <a:endParaRPr lang="en-US"/>
        </a:p>
      </dgm:t>
    </dgm:pt>
    <dgm:pt modelId="{67FAC0AC-1D74-45E0-B0C4-6C72A9189A91}">
      <dgm:prSet/>
      <dgm:spPr/>
      <dgm:t>
        <a:bodyPr/>
        <a:lstStyle/>
        <a:p>
          <a:r>
            <a:rPr lang="en-US" dirty="0">
              <a:latin typeface="+mj-lt"/>
            </a:rPr>
            <a:t>Establish customer baselines from regular usage</a:t>
          </a:r>
        </a:p>
      </dgm:t>
    </dgm:pt>
    <dgm:pt modelId="{50004AFD-D9E8-48D8-BE3D-455715503686}" type="parTrans" cxnId="{B1FEF472-A068-4891-BA3E-76032A413456}">
      <dgm:prSet/>
      <dgm:spPr/>
      <dgm:t>
        <a:bodyPr/>
        <a:lstStyle/>
        <a:p>
          <a:endParaRPr lang="en-US"/>
        </a:p>
      </dgm:t>
    </dgm:pt>
    <dgm:pt modelId="{FB01FFFF-B886-468C-B520-1B6449332541}" type="sibTrans" cxnId="{B1FEF472-A068-4891-BA3E-76032A413456}">
      <dgm:prSet/>
      <dgm:spPr/>
      <dgm:t>
        <a:bodyPr/>
        <a:lstStyle/>
        <a:p>
          <a:endParaRPr lang="en-US"/>
        </a:p>
      </dgm:t>
    </dgm:pt>
    <dgm:pt modelId="{7C578A7E-D711-4145-87B3-6ADFAEB85BDF}">
      <dgm:prSet/>
      <dgm:spPr/>
      <dgm:t>
        <a:bodyPr/>
        <a:lstStyle/>
        <a:p>
          <a:r>
            <a:rPr lang="en-US" dirty="0">
              <a:latin typeface="+mj-lt"/>
            </a:rPr>
            <a:t>Microsoft Digital Crimes Unit</a:t>
          </a:r>
        </a:p>
      </dgm:t>
    </dgm:pt>
    <dgm:pt modelId="{43EDB002-21A0-4C1C-8878-2191A52C7CC0}" type="parTrans" cxnId="{F73CE963-EF77-4A25-9A27-62FD1173DE1B}">
      <dgm:prSet/>
      <dgm:spPr/>
      <dgm:t>
        <a:bodyPr/>
        <a:lstStyle/>
        <a:p>
          <a:endParaRPr lang="en-US"/>
        </a:p>
      </dgm:t>
    </dgm:pt>
    <dgm:pt modelId="{E9CEBECE-A6AA-4C9E-A16F-9B917C376031}" type="sibTrans" cxnId="{F73CE963-EF77-4A25-9A27-62FD1173DE1B}">
      <dgm:prSet/>
      <dgm:spPr/>
      <dgm:t>
        <a:bodyPr/>
        <a:lstStyle/>
        <a:p>
          <a:endParaRPr lang="en-US"/>
        </a:p>
      </dgm:t>
    </dgm:pt>
    <dgm:pt modelId="{D12FAA61-10C9-4FCB-820A-E10205B03AFB}">
      <dgm:prSet/>
      <dgm:spPr/>
      <dgm:t>
        <a:bodyPr/>
        <a:lstStyle/>
        <a:p>
          <a:r>
            <a:rPr lang="en-US" dirty="0">
              <a:latin typeface="+mj-lt"/>
            </a:rPr>
            <a:t>Microsoft Security Response Center</a:t>
          </a:r>
        </a:p>
      </dgm:t>
    </dgm:pt>
    <dgm:pt modelId="{CBBD039A-B95F-42EE-A017-620813F00DE5}" type="parTrans" cxnId="{6EC68A95-E31D-4D10-BF27-4C117380B9F7}">
      <dgm:prSet/>
      <dgm:spPr/>
      <dgm:t>
        <a:bodyPr/>
        <a:lstStyle/>
        <a:p>
          <a:endParaRPr lang="en-US"/>
        </a:p>
      </dgm:t>
    </dgm:pt>
    <dgm:pt modelId="{82F70343-FD1F-4F76-9C8F-8F5B48B7FD1E}" type="sibTrans" cxnId="{6EC68A95-E31D-4D10-BF27-4C117380B9F7}">
      <dgm:prSet/>
      <dgm:spPr/>
      <dgm:t>
        <a:bodyPr/>
        <a:lstStyle/>
        <a:p>
          <a:endParaRPr lang="en-US"/>
        </a:p>
      </dgm:t>
    </dgm:pt>
    <dgm:pt modelId="{1D89178F-1198-4B29-B516-F06900B8F3F0}">
      <dgm:prSet/>
      <dgm:spPr/>
      <dgm:t>
        <a:bodyPr/>
        <a:lstStyle/>
        <a:p>
          <a:r>
            <a:rPr lang="en-US" dirty="0">
              <a:latin typeface="+mj-lt"/>
            </a:rPr>
            <a:t>External security feeds</a:t>
          </a:r>
        </a:p>
      </dgm:t>
    </dgm:pt>
    <dgm:pt modelId="{B7EF4EB9-4413-4D0B-86E5-79668AAF5CDB}" type="parTrans" cxnId="{483EF864-A7CF-4A07-AC73-313A8D607192}">
      <dgm:prSet/>
      <dgm:spPr/>
      <dgm:t>
        <a:bodyPr/>
        <a:lstStyle/>
        <a:p>
          <a:endParaRPr lang="en-US"/>
        </a:p>
      </dgm:t>
    </dgm:pt>
    <dgm:pt modelId="{2AA293C3-6744-46DA-BB60-2C0EF05E1265}" type="sibTrans" cxnId="{483EF864-A7CF-4A07-AC73-313A8D607192}">
      <dgm:prSet/>
      <dgm:spPr/>
      <dgm:t>
        <a:bodyPr/>
        <a:lstStyle/>
        <a:p>
          <a:endParaRPr lang="en-US"/>
        </a:p>
      </dgm:t>
    </dgm:pt>
    <dgm:pt modelId="{796059F9-4EC8-4214-8176-675614609ADD}">
      <dgm:prSet/>
      <dgm:spPr/>
      <dgm:t>
        <a:bodyPr/>
        <a:lstStyle/>
        <a:p>
          <a:r>
            <a:rPr lang="en-US" dirty="0">
              <a:latin typeface="+mj-lt"/>
            </a:rPr>
            <a:t>Telemetry from Microsoft services (Azure, Office 365, outlook.com, CRM online, MSN.com)</a:t>
          </a:r>
        </a:p>
      </dgm:t>
    </dgm:pt>
    <dgm:pt modelId="{11DDA1DF-867B-4900-905D-90090ADD1F4B}" type="parTrans" cxnId="{6E330D65-E1E9-4FAB-802B-0A9C949017C4}">
      <dgm:prSet/>
      <dgm:spPr/>
      <dgm:t>
        <a:bodyPr/>
        <a:lstStyle/>
        <a:p>
          <a:endParaRPr lang="en-US"/>
        </a:p>
      </dgm:t>
    </dgm:pt>
    <dgm:pt modelId="{88E29D56-36D0-40AE-AAC7-AFAE492F76C4}" type="sibTrans" cxnId="{6E330D65-E1E9-4FAB-802B-0A9C949017C4}">
      <dgm:prSet/>
      <dgm:spPr/>
      <dgm:t>
        <a:bodyPr/>
        <a:lstStyle/>
        <a:p>
          <a:endParaRPr lang="en-US"/>
        </a:p>
      </dgm:t>
    </dgm:pt>
    <dgm:pt modelId="{234FBD0A-7C4A-4493-BDE9-5063D9CB73CA}">
      <dgm:prSet/>
      <dgm:spPr/>
      <dgm:t>
        <a:bodyPr/>
        <a:lstStyle/>
        <a:p>
          <a:r>
            <a:rPr lang="en-US" dirty="0">
              <a:latin typeface="+mj-lt"/>
            </a:rPr>
            <a:t>Analyze logs to identify compromised resources</a:t>
          </a:r>
        </a:p>
      </dgm:t>
    </dgm:pt>
    <dgm:pt modelId="{25C73E8F-6F57-41CF-AEDD-DA40883BDC5B}" type="parTrans" cxnId="{C99FC246-8D00-4FAD-9F5E-C6E7013B972A}">
      <dgm:prSet/>
      <dgm:spPr/>
      <dgm:t>
        <a:bodyPr/>
        <a:lstStyle/>
        <a:p>
          <a:endParaRPr lang="en-US"/>
        </a:p>
      </dgm:t>
    </dgm:pt>
    <dgm:pt modelId="{E3090A65-01B4-46F0-BFF8-A7F79342CE4F}" type="sibTrans" cxnId="{C99FC246-8D00-4FAD-9F5E-C6E7013B972A}">
      <dgm:prSet/>
      <dgm:spPr/>
      <dgm:t>
        <a:bodyPr/>
        <a:lstStyle/>
        <a:p>
          <a:endParaRPr lang="en-US"/>
        </a:p>
      </dgm:t>
    </dgm:pt>
    <dgm:pt modelId="{7B63C617-02E7-489D-9B02-462C5FA04539}">
      <dgm:prSet/>
      <dgm:spPr/>
      <dgm:t>
        <a:bodyPr/>
        <a:lstStyle/>
        <a:p>
          <a:r>
            <a:rPr lang="en-US" dirty="0">
              <a:latin typeface="+mj-lt"/>
            </a:rPr>
            <a:t>Apply machine learning models to identify outliers</a:t>
          </a:r>
        </a:p>
      </dgm:t>
    </dgm:pt>
    <dgm:pt modelId="{DD8CC96A-A4D0-406F-893B-ECDAD1345048}" type="parTrans" cxnId="{CAA72A19-C41F-4ADE-A90D-AF69BF97EFC3}">
      <dgm:prSet/>
      <dgm:spPr/>
      <dgm:t>
        <a:bodyPr/>
        <a:lstStyle/>
        <a:p>
          <a:endParaRPr lang="en-US"/>
        </a:p>
      </dgm:t>
    </dgm:pt>
    <dgm:pt modelId="{2CADC0BD-C9CD-4306-8DAB-BDC31575D281}" type="sibTrans" cxnId="{CAA72A19-C41F-4ADE-A90D-AF69BF97EFC3}">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3">
        <dgm:presLayoutVars>
          <dgm:chMax val="0"/>
          <dgm:bulletEnabled val="1"/>
        </dgm:presLayoutVars>
      </dgm:prSet>
      <dgm:spPr/>
    </dgm:pt>
    <dgm:pt modelId="{A552BFD7-8322-49DE-94E4-30E8FCC2B51C}" type="pres">
      <dgm:prSet presAssocID="{25D1D2E0-2852-4E4E-ABAD-5368BECDB914}" presName="childText" presStyleLbl="revTx" presStyleIdx="0" presStyleCnt="3">
        <dgm:presLayoutVars>
          <dgm:bulletEnabled val="1"/>
        </dgm:presLayoutVars>
      </dgm:prSet>
      <dgm:spPr/>
    </dgm:pt>
    <dgm:pt modelId="{8827F5D1-F7B9-4EB6-BBAC-0684D270A04D}" type="pres">
      <dgm:prSet presAssocID="{33D10037-57F8-4C37-A9B2-4F5DBC00EF90}" presName="parentText" presStyleLbl="node1" presStyleIdx="1" presStyleCnt="3">
        <dgm:presLayoutVars>
          <dgm:chMax val="0"/>
          <dgm:bulletEnabled val="1"/>
        </dgm:presLayoutVars>
      </dgm:prSet>
      <dgm:spPr/>
    </dgm:pt>
    <dgm:pt modelId="{3BC6DC3E-E84C-46EA-A710-2C935B699E67}" type="pres">
      <dgm:prSet presAssocID="{33D10037-57F8-4C37-A9B2-4F5DBC00EF90}" presName="childText" presStyleLbl="revTx" presStyleIdx="1" presStyleCnt="3">
        <dgm:presLayoutVars>
          <dgm:bulletEnabled val="1"/>
        </dgm:presLayoutVars>
      </dgm:prSet>
      <dgm:spPr/>
    </dgm:pt>
    <dgm:pt modelId="{E776B90D-9982-4A55-B61F-55B653778176}" type="pres">
      <dgm:prSet presAssocID="{42EA62D3-0781-41FD-8BEF-A349885D986C}" presName="parentText" presStyleLbl="node1" presStyleIdx="2" presStyleCnt="3">
        <dgm:presLayoutVars>
          <dgm:chMax val="0"/>
          <dgm:bulletEnabled val="1"/>
        </dgm:presLayoutVars>
      </dgm:prSet>
      <dgm:spPr/>
    </dgm:pt>
    <dgm:pt modelId="{F3432368-7821-494A-8162-7EE17636C7A3}" type="pres">
      <dgm:prSet presAssocID="{42EA62D3-0781-41FD-8BEF-A349885D986C}" presName="childText" presStyleLbl="revTx" presStyleIdx="2" presStyleCnt="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7F05810B-24E5-44CF-813C-EA13D3EC0133}" type="presOf" srcId="{82561CFA-1FD5-41A6-B32F-4C2755CF0CC5}" destId="{A552BFD7-8322-49DE-94E4-30E8FCC2B51C}"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CAA72A19-C41F-4ADE-A90D-AF69BF97EFC3}" srcId="{42EA62D3-0781-41FD-8BEF-A349885D986C}" destId="{7B63C617-02E7-489D-9B02-462C5FA04539}" srcOrd="1" destOrd="0" parTransId="{DD8CC96A-A4D0-406F-893B-ECDAD1345048}" sibTransId="{2CADC0BD-C9CD-4306-8DAB-BDC31575D281}"/>
    <dgm:cxn modelId="{F9845F1C-4BA7-4564-B4B8-95059811F717}" srcId="{33D10037-57F8-4C37-A9B2-4F5DBC00EF90}" destId="{2B73A86F-48E2-48F1-9A2D-9B8037BBACA1}" srcOrd="0" destOrd="0" parTransId="{10A9B117-A308-4931-9D54-A74DBAB41EF5}" sibTransId="{C5BB2234-13C6-45AB-955E-FAC0A3399569}"/>
    <dgm:cxn modelId="{14F17F1E-80CC-4B98-96CC-69AB2E7F5E52}" type="presOf" srcId="{2B73A86F-48E2-48F1-9A2D-9B8037BBACA1}" destId="{3BC6DC3E-E84C-46EA-A710-2C935B699E67}" srcOrd="0" destOrd="0" presId="urn:microsoft.com/office/officeart/2005/8/layout/vList2"/>
    <dgm:cxn modelId="{2B34FB1F-77F7-432B-8491-F43E36D0FB26}" type="presOf" srcId="{234FBD0A-7C4A-4493-BDE9-5063D9CB73CA}" destId="{3BC6DC3E-E84C-46EA-A710-2C935B699E67}" srcOrd="0" destOrd="1" presId="urn:microsoft.com/office/officeart/2005/8/layout/vList2"/>
    <dgm:cxn modelId="{F460D322-D917-4BF0-8F82-E38F0E591921}" srcId="{C429F172-266E-4194-B325-3535962682A2}" destId="{33D10037-57F8-4C37-A9B2-4F5DBC00EF90}" srcOrd="1" destOrd="0" parTransId="{79A6312B-B88A-41FE-ACE3-C81D3FAD04B5}" sibTransId="{E9E0F7DD-2782-4652-A714-F415ED4B7E0A}"/>
    <dgm:cxn modelId="{944AAC2F-A988-4A5D-B06B-20C5600446FE}" type="presOf" srcId="{D12FAA61-10C9-4FCB-820A-E10205B03AFB}" destId="{A552BFD7-8322-49DE-94E4-30E8FCC2B51C}" srcOrd="0" destOrd="2" presId="urn:microsoft.com/office/officeart/2005/8/layout/vList2"/>
    <dgm:cxn modelId="{BF4C713B-6112-42FD-B4C1-5BF21865F3C7}" type="presOf" srcId="{33D10037-57F8-4C37-A9B2-4F5DBC00EF90}" destId="{8827F5D1-F7B9-4EB6-BBAC-0684D270A04D}" srcOrd="0" destOrd="0" presId="urn:microsoft.com/office/officeart/2005/8/layout/vList2"/>
    <dgm:cxn modelId="{F73CE963-EF77-4A25-9A27-62FD1173DE1B}" srcId="{25D1D2E0-2852-4E4E-ABAD-5368BECDB914}" destId="{7C578A7E-D711-4145-87B3-6ADFAEB85BDF}" srcOrd="1" destOrd="0" parTransId="{43EDB002-21A0-4C1C-8878-2191A52C7CC0}" sibTransId="{E9CEBECE-A6AA-4C9E-A16F-9B917C376031}"/>
    <dgm:cxn modelId="{483EF864-A7CF-4A07-AC73-313A8D607192}" srcId="{25D1D2E0-2852-4E4E-ABAD-5368BECDB914}" destId="{1D89178F-1198-4B29-B516-F06900B8F3F0}" srcOrd="3" destOrd="0" parTransId="{B7EF4EB9-4413-4D0B-86E5-79668AAF5CDB}" sibTransId="{2AA293C3-6744-46DA-BB60-2C0EF05E1265}"/>
    <dgm:cxn modelId="{6E330D65-E1E9-4FAB-802B-0A9C949017C4}" srcId="{25D1D2E0-2852-4E4E-ABAD-5368BECDB914}" destId="{796059F9-4EC8-4214-8176-675614609ADD}" srcOrd="4" destOrd="0" parTransId="{11DDA1DF-867B-4900-905D-90090ADD1F4B}" sibTransId="{88E29D56-36D0-40AE-AAC7-AFAE492F76C4}"/>
    <dgm:cxn modelId="{C99FC246-8D00-4FAD-9F5E-C6E7013B972A}" srcId="{33D10037-57F8-4C37-A9B2-4F5DBC00EF90}" destId="{234FBD0A-7C4A-4493-BDE9-5063D9CB73CA}" srcOrd="1" destOrd="0" parTransId="{25C73E8F-6F57-41CF-AEDD-DA40883BDC5B}" sibTransId="{E3090A65-01B4-46F0-BFF8-A7F79342CE4F}"/>
    <dgm:cxn modelId="{2A1B116C-76D0-4896-B6E1-4A2062E0BC68}" type="presOf" srcId="{67FAC0AC-1D74-45E0-B0C4-6C72A9189A91}" destId="{F3432368-7821-494A-8162-7EE17636C7A3}" srcOrd="0" destOrd="0" presId="urn:microsoft.com/office/officeart/2005/8/layout/vList2"/>
    <dgm:cxn modelId="{B1FEF472-A068-4891-BA3E-76032A413456}" srcId="{42EA62D3-0781-41FD-8BEF-A349885D986C}" destId="{67FAC0AC-1D74-45E0-B0C4-6C72A9189A91}" srcOrd="0" destOrd="0" parTransId="{50004AFD-D9E8-48D8-BE3D-455715503686}" sibTransId="{FB01FFFF-B886-468C-B520-1B6449332541}"/>
    <dgm:cxn modelId="{39E97D58-5B8F-41D0-86EB-9FE697F5B8DB}" type="presOf" srcId="{796059F9-4EC8-4214-8176-675614609ADD}" destId="{A552BFD7-8322-49DE-94E4-30E8FCC2B51C}" srcOrd="0" destOrd="4" presId="urn:microsoft.com/office/officeart/2005/8/layout/vList2"/>
    <dgm:cxn modelId="{DFCA635A-588E-46FE-A715-E6BAD064F1D8}" srcId="{C429F172-266E-4194-B325-3535962682A2}" destId="{42EA62D3-0781-41FD-8BEF-A349885D986C}" srcOrd="2" destOrd="0" parTransId="{6475C6C7-CC30-41F4-A203-B69E946B3CCC}" sibTransId="{FC649356-97BD-4568-8E63-FC12269DECE6}"/>
    <dgm:cxn modelId="{91EC077D-A5E4-42CC-B174-0D6E10E85740}" type="presOf" srcId="{1D89178F-1198-4B29-B516-F06900B8F3F0}" destId="{A552BFD7-8322-49DE-94E4-30E8FCC2B51C}" srcOrd="0" destOrd="3" presId="urn:microsoft.com/office/officeart/2005/8/layout/vList2"/>
    <dgm:cxn modelId="{88C33F91-0B3A-4406-B487-34E278BBC7AD}" type="presOf" srcId="{7C578A7E-D711-4145-87B3-6ADFAEB85BDF}" destId="{A552BFD7-8322-49DE-94E4-30E8FCC2B51C}" srcOrd="0" destOrd="1" presId="urn:microsoft.com/office/officeart/2005/8/layout/vList2"/>
    <dgm:cxn modelId="{6EC68A95-E31D-4D10-BF27-4C117380B9F7}" srcId="{25D1D2E0-2852-4E4E-ABAD-5368BECDB914}" destId="{D12FAA61-10C9-4FCB-820A-E10205B03AFB}" srcOrd="2" destOrd="0" parTransId="{CBBD039A-B95F-42EE-A017-620813F00DE5}" sibTransId="{82F70343-FD1F-4F76-9C8F-8F5B48B7FD1E}"/>
    <dgm:cxn modelId="{675EC4AC-618A-43A8-B82E-223180B86060}" type="presOf" srcId="{7B63C617-02E7-489D-9B02-462C5FA04539}" destId="{F3432368-7821-494A-8162-7EE17636C7A3}" srcOrd="0" destOrd="1" presId="urn:microsoft.com/office/officeart/2005/8/layout/vList2"/>
    <dgm:cxn modelId="{B46A19B7-AA60-406E-AF78-989DE4F32ED9}" type="presOf" srcId="{42EA62D3-0781-41FD-8BEF-A349885D986C}" destId="{E776B90D-9982-4A55-B61F-55B653778176}" srcOrd="0" destOrd="0" presId="urn:microsoft.com/office/officeart/2005/8/layout/vList2"/>
    <dgm:cxn modelId="{150862DB-071E-4F3B-A782-BBD96A61D615}" srcId="{25D1D2E0-2852-4E4E-ABAD-5368BECDB914}" destId="{82561CFA-1FD5-41A6-B32F-4C2755CF0CC5}" srcOrd="0" destOrd="0" parTransId="{28A812BA-A4EB-4C69-AEA1-13FA10BA85FC}" sibTransId="{321ADD6E-D2C3-4951-9AE8-771E12F4612F}"/>
    <dgm:cxn modelId="{4B52C10B-1463-4931-B7A8-6AB6B0C42A08}" type="presParOf" srcId="{2109A9DD-8C7B-45D0-B615-76894D43E0E0}" destId="{E9D4DB52-AC2C-4954-BFDE-CAC4FCB7E1A4}" srcOrd="0" destOrd="0" presId="urn:microsoft.com/office/officeart/2005/8/layout/vList2"/>
    <dgm:cxn modelId="{2A6288C1-0D88-4109-9313-39286546EE58}" type="presParOf" srcId="{2109A9DD-8C7B-45D0-B615-76894D43E0E0}" destId="{A552BFD7-8322-49DE-94E4-30E8FCC2B51C}" srcOrd="1" destOrd="0" presId="urn:microsoft.com/office/officeart/2005/8/layout/vList2"/>
    <dgm:cxn modelId="{33925435-CE7A-4145-989A-5C4A932C54B8}" type="presParOf" srcId="{2109A9DD-8C7B-45D0-B615-76894D43E0E0}" destId="{8827F5D1-F7B9-4EB6-BBAC-0684D270A04D}" srcOrd="2" destOrd="0" presId="urn:microsoft.com/office/officeart/2005/8/layout/vList2"/>
    <dgm:cxn modelId="{CA652FAB-937B-4F76-A2A2-8A3F85936F53}" type="presParOf" srcId="{2109A9DD-8C7B-45D0-B615-76894D43E0E0}" destId="{3BC6DC3E-E84C-46EA-A710-2C935B699E67}" srcOrd="3" destOrd="0" presId="urn:microsoft.com/office/officeart/2005/8/layout/vList2"/>
    <dgm:cxn modelId="{CAB83480-D4D3-4964-94D2-3DF84E466766}" type="presParOf" srcId="{2109A9DD-8C7B-45D0-B615-76894D43E0E0}" destId="{E776B90D-9982-4A55-B61F-55B653778176}" srcOrd="4" destOrd="0" presId="urn:microsoft.com/office/officeart/2005/8/layout/vList2"/>
    <dgm:cxn modelId="{4D67CC80-4FC5-4881-8EF8-BCA44FC85300}" type="presParOf" srcId="{2109A9DD-8C7B-45D0-B615-76894D43E0E0}" destId="{F3432368-7821-494A-8162-7EE17636C7A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3109ED99-2A17-4549-BE2B-3F3A3A6D8977}">
      <dgm:prSet/>
      <dgm:spPr/>
      <dgm:t>
        <a:bodyPr/>
        <a:lstStyle/>
        <a:p>
          <a:r>
            <a:rPr lang="en-US" dirty="0"/>
            <a:t>Crash analysis</a:t>
          </a:r>
        </a:p>
      </dgm:t>
    </dgm:pt>
    <dgm:pt modelId="{84A36816-44EA-4B46-AF56-89375671D4B6}" type="parTrans" cxnId="{A73706AE-D36E-446E-9B9D-F9DC8565686F}">
      <dgm:prSet/>
      <dgm:spPr/>
      <dgm:t>
        <a:bodyPr/>
        <a:lstStyle/>
        <a:p>
          <a:endParaRPr lang="en-US"/>
        </a:p>
      </dgm:t>
    </dgm:pt>
    <dgm:pt modelId="{0CFE0F02-49D5-4C13-A307-2CAE869698D7}" type="sibTrans" cxnId="{A73706AE-D36E-446E-9B9D-F9DC8565686F}">
      <dgm:prSet/>
      <dgm:spPr/>
      <dgm:t>
        <a:bodyPr/>
        <a:lstStyle/>
        <a:p>
          <a:endParaRPr lang="en-US"/>
        </a:p>
      </dgm:t>
    </dgm:pt>
    <dgm:pt modelId="{E3E339A5-1663-4253-9828-5E0904DACFC7}">
      <dgm:prSet/>
      <dgm:spPr/>
      <dgm:t>
        <a:bodyPr/>
        <a:lstStyle/>
        <a:p>
          <a:r>
            <a:rPr lang="en-US" dirty="0"/>
            <a:t>Shellcode discovered</a:t>
          </a:r>
        </a:p>
      </dgm:t>
    </dgm:pt>
    <dgm:pt modelId="{80363552-F68A-4BF6-860B-4893E8E70950}" type="parTrans" cxnId="{AC2C430A-9841-475C-9E5D-4F7B9F0C5C90}">
      <dgm:prSet/>
      <dgm:spPr/>
      <dgm:t>
        <a:bodyPr/>
        <a:lstStyle/>
        <a:p>
          <a:endParaRPr lang="en-US"/>
        </a:p>
      </dgm:t>
    </dgm:pt>
    <dgm:pt modelId="{A3F79BC4-EFEB-4D39-99F7-06635B1B48F1}" type="sibTrans" cxnId="{AC2C430A-9841-475C-9E5D-4F7B9F0C5C90}">
      <dgm:prSet/>
      <dgm:spPr/>
      <dgm:t>
        <a:bodyPr/>
        <a:lstStyle/>
        <a:p>
          <a:endParaRPr lang="en-US"/>
        </a:p>
      </dgm:t>
    </dgm:pt>
    <dgm:pt modelId="{0C29004D-F3C3-46A2-905E-69AA22FDD4E1}">
      <dgm:prSet/>
      <dgm:spPr/>
      <dgm:t>
        <a:bodyPr/>
        <a:lstStyle/>
        <a:p>
          <a:r>
            <a:rPr lang="en-US" dirty="0"/>
            <a:t>Module hijacking discovered</a:t>
          </a:r>
        </a:p>
      </dgm:t>
    </dgm:pt>
    <dgm:pt modelId="{AE37DB70-506D-42D0-96B5-E129C2E4915C}" type="parTrans" cxnId="{C45FA245-5C2A-4419-AC7C-2E03A159EA98}">
      <dgm:prSet/>
      <dgm:spPr/>
      <dgm:t>
        <a:bodyPr/>
        <a:lstStyle/>
        <a:p>
          <a:endParaRPr lang="en-US"/>
        </a:p>
      </dgm:t>
    </dgm:pt>
    <dgm:pt modelId="{1A6FB8E9-5399-4555-B583-ECAA880F5923}" type="sibTrans" cxnId="{C45FA245-5C2A-4419-AC7C-2E03A159EA98}">
      <dgm:prSet/>
      <dgm:spPr/>
      <dgm:t>
        <a:bodyPr/>
        <a:lstStyle/>
        <a:p>
          <a:endParaRPr lang="en-US"/>
        </a:p>
      </dgm:t>
    </dgm:pt>
    <dgm:pt modelId="{F5E54706-6361-471E-8BB3-6535325552D3}">
      <dgm:prSet/>
      <dgm:spPr/>
      <dgm:t>
        <a:bodyPr/>
        <a:lstStyle/>
        <a:p>
          <a:r>
            <a:rPr lang="en-US" dirty="0"/>
            <a:t>Masquerading Windows module detected</a:t>
          </a:r>
        </a:p>
      </dgm:t>
    </dgm:pt>
    <dgm:pt modelId="{AB42F824-AD9B-4074-A39A-D81E82283AB6}" type="parTrans" cxnId="{D4D82046-25C9-44AD-8938-867DFCF6CC03}">
      <dgm:prSet/>
      <dgm:spPr/>
      <dgm:t>
        <a:bodyPr/>
        <a:lstStyle/>
        <a:p>
          <a:endParaRPr lang="en-US"/>
        </a:p>
      </dgm:t>
    </dgm:pt>
    <dgm:pt modelId="{B72042DD-8AED-43B0-BFCC-5EB2B06CD788}" type="sibTrans" cxnId="{D4D82046-25C9-44AD-8938-867DFCF6CC03}">
      <dgm:prSet/>
      <dgm:spPr/>
      <dgm:t>
        <a:bodyPr/>
        <a:lstStyle/>
        <a:p>
          <a:endParaRPr lang="en-US"/>
        </a:p>
      </dgm:t>
    </dgm:pt>
    <dgm:pt modelId="{24A19258-B277-4973-B3E3-F0D35FAA823B}">
      <dgm:prSet/>
      <dgm:spPr/>
      <dgm:t>
        <a:bodyPr/>
        <a:lstStyle/>
        <a:p>
          <a:r>
            <a:rPr lang="en-US" dirty="0"/>
            <a:t>Modified system binary discovered</a:t>
          </a:r>
        </a:p>
      </dgm:t>
    </dgm:pt>
    <dgm:pt modelId="{C6ECF982-955C-4158-B231-362F637E38E8}" type="parTrans" cxnId="{6726DDDC-C64E-43A1-A050-9615B718FF53}">
      <dgm:prSet/>
      <dgm:spPr/>
      <dgm:t>
        <a:bodyPr/>
        <a:lstStyle/>
        <a:p>
          <a:endParaRPr lang="en-US"/>
        </a:p>
      </dgm:t>
    </dgm:pt>
    <dgm:pt modelId="{3AA2CF04-E250-40E6-A819-90DE8D684FF8}" type="sibTrans" cxnId="{6726DDDC-C64E-43A1-A050-9615B718FF53}">
      <dgm:prSet/>
      <dgm:spPr/>
      <dgm:t>
        <a:bodyPr/>
        <a:lstStyle/>
        <a:p>
          <a:endParaRPr lang="en-US"/>
        </a:p>
      </dgm:t>
    </dgm:pt>
    <dgm:pt modelId="{F2AC53FA-3F3A-4274-9F98-93EAB6DACAFD}">
      <dgm:prSet/>
      <dgm:spPr/>
      <dgm:t>
        <a:bodyPr/>
        <a:lstStyle/>
        <a:p>
          <a:r>
            <a:rPr lang="en-US" dirty="0"/>
            <a:t>Suspicious process executed</a:t>
          </a:r>
        </a:p>
      </dgm:t>
    </dgm:pt>
    <dgm:pt modelId="{1FD273E5-7A71-4313-907C-C2C759E6F0FA}" type="parTrans" cxnId="{946C3E95-736C-4E2F-9DDD-CBC9662D7917}">
      <dgm:prSet/>
      <dgm:spPr/>
      <dgm:t>
        <a:bodyPr/>
        <a:lstStyle/>
        <a:p>
          <a:endParaRPr lang="en-US"/>
        </a:p>
      </dgm:t>
    </dgm:pt>
    <dgm:pt modelId="{2601959A-4ED3-47D1-84B5-E69B8A59BC14}" type="sibTrans" cxnId="{946C3E95-736C-4E2F-9DDD-CBC9662D7917}">
      <dgm:prSet/>
      <dgm:spPr/>
      <dgm:t>
        <a:bodyPr/>
        <a:lstStyle/>
        <a:p>
          <a:endParaRPr lang="en-US"/>
        </a:p>
      </dgm:t>
    </dgm:pt>
    <dgm:pt modelId="{4A9E9FE1-ED83-43B7-AD6E-B0FE896D0880}">
      <dgm:prSet/>
      <dgm:spPr/>
      <dgm:t>
        <a:bodyPr/>
        <a:lstStyle/>
        <a:p>
          <a:r>
            <a:rPr lang="en-US" dirty="0"/>
            <a:t>Multiple domain accounts queried</a:t>
          </a:r>
        </a:p>
      </dgm:t>
    </dgm:pt>
    <dgm:pt modelId="{7123DADE-8D98-4068-ADA6-AFE2481AFBE9}" type="parTrans" cxnId="{20798CB1-4965-416E-AC13-68D447C642C1}">
      <dgm:prSet/>
      <dgm:spPr/>
      <dgm:t>
        <a:bodyPr/>
        <a:lstStyle/>
        <a:p>
          <a:endParaRPr lang="en-US"/>
        </a:p>
      </dgm:t>
    </dgm:pt>
    <dgm:pt modelId="{8886062D-3A6E-405B-88D0-9320CCF21B35}" type="sibTrans" cxnId="{20798CB1-4965-416E-AC13-68D447C642C1}">
      <dgm:prSet/>
      <dgm:spPr/>
      <dgm:t>
        <a:bodyPr/>
        <a:lstStyle/>
        <a:p>
          <a:endParaRPr lang="en-US"/>
        </a:p>
      </dgm:t>
    </dgm:pt>
    <dgm:pt modelId="{7F3D69D7-01EC-4CC1-B3ED-49D9B548E766}">
      <dgm:prSet/>
      <dgm:spPr/>
      <dgm:t>
        <a:bodyPr/>
        <a:lstStyle/>
        <a:p>
          <a:r>
            <a:rPr lang="en-US" dirty="0"/>
            <a:t>Anomalous mix of upper and lower case characters</a:t>
          </a:r>
        </a:p>
      </dgm:t>
    </dgm:pt>
    <dgm:pt modelId="{F6639E4A-016F-4473-8619-6B8587EEA94F}" type="parTrans" cxnId="{43ED0619-ED80-420D-95F5-33B51E0AE5F4}">
      <dgm:prSet/>
      <dgm:spPr/>
      <dgm:t>
        <a:bodyPr/>
        <a:lstStyle/>
        <a:p>
          <a:endParaRPr lang="en-US"/>
        </a:p>
      </dgm:t>
    </dgm:pt>
    <dgm:pt modelId="{5A5B11F2-9F2D-4865-B96C-20A52A7D3162}" type="sibTrans" cxnId="{43ED0619-ED80-420D-95F5-33B51E0AE5F4}">
      <dgm:prSet/>
      <dgm:spPr/>
      <dgm:t>
        <a:bodyPr/>
        <a:lstStyle/>
        <a:p>
          <a:endParaRPr lang="en-US"/>
        </a:p>
      </dgm:t>
    </dgm:pt>
    <dgm:pt modelId="{C0869BAC-090B-4F75-B2FE-A591207C1601}">
      <dgm:prSet/>
      <dgm:spPr/>
      <dgm:t>
        <a:bodyPr/>
        <a:lstStyle/>
        <a:p>
          <a:r>
            <a:rPr lang="en-US" dirty="0"/>
            <a:t>Suspected Kerberos Golden Ticket attack</a:t>
          </a:r>
        </a:p>
      </dgm:t>
    </dgm:pt>
    <dgm:pt modelId="{B3685645-9B62-4EE6-942B-CF759146B9FF}" type="parTrans" cxnId="{8B7D7365-62A3-49AC-8F1F-07A90861F2E0}">
      <dgm:prSet/>
      <dgm:spPr/>
      <dgm:t>
        <a:bodyPr/>
        <a:lstStyle/>
        <a:p>
          <a:endParaRPr lang="en-US"/>
        </a:p>
      </dgm:t>
    </dgm:pt>
    <dgm:pt modelId="{27957A94-C952-48B9-AD28-11155E58BD97}" type="sibTrans" cxnId="{8B7D7365-62A3-49AC-8F1F-07A90861F2E0}">
      <dgm:prSet/>
      <dgm:spPr/>
      <dgm:t>
        <a:bodyPr/>
        <a:lstStyle/>
        <a:p>
          <a:endParaRPr lang="en-US"/>
        </a:p>
      </dgm:t>
    </dgm:pt>
    <dgm:pt modelId="{042B7B11-A1F0-4E13-8A00-AB26D97E4B2C}">
      <dgm:prSet/>
      <dgm:spPr/>
      <dgm:t>
        <a:bodyPr/>
        <a:lstStyle/>
        <a:p>
          <a:r>
            <a:rPr lang="en-US" dirty="0"/>
            <a:t>Suspicious account created</a:t>
          </a:r>
        </a:p>
      </dgm:t>
    </dgm:pt>
    <dgm:pt modelId="{A7AC32C4-38C4-4AD9-87A5-190F90440ED0}" type="parTrans" cxnId="{18532EF5-5883-466B-8DE6-E21CA900F203}">
      <dgm:prSet/>
      <dgm:spPr/>
      <dgm:t>
        <a:bodyPr/>
        <a:lstStyle/>
        <a:p>
          <a:endParaRPr lang="en-US"/>
        </a:p>
      </dgm:t>
    </dgm:pt>
    <dgm:pt modelId="{A1810FED-0CBC-4F0C-8A33-777A10E81714}" type="sibTrans" cxnId="{18532EF5-5883-466B-8DE6-E21CA900F203}">
      <dgm:prSet/>
      <dgm:spPr/>
      <dgm:t>
        <a:bodyPr/>
        <a:lstStyle/>
        <a:p>
          <a:endParaRPr lang="en-US"/>
        </a:p>
      </dgm:t>
    </dgm:pt>
    <dgm:pt modelId="{206E8824-7B53-489A-879B-765BB18DC097}">
      <dgm:prSet/>
      <dgm:spPr/>
      <dgm:t>
        <a:bodyPr/>
        <a:lstStyle/>
        <a:p>
          <a:r>
            <a:rPr lang="en-US" dirty="0"/>
            <a:t>Suspicious firewall rule created</a:t>
          </a:r>
        </a:p>
      </dgm:t>
    </dgm:pt>
    <dgm:pt modelId="{48FCD6BE-6BB0-4D88-AD5A-B56B9A11C762}" type="parTrans" cxnId="{0B74362A-DC5D-49B3-B209-0955EA581D8A}">
      <dgm:prSet/>
      <dgm:spPr/>
      <dgm:t>
        <a:bodyPr/>
        <a:lstStyle/>
        <a:p>
          <a:endParaRPr lang="en-US"/>
        </a:p>
      </dgm:t>
    </dgm:pt>
    <dgm:pt modelId="{DDAE8C8E-2F8C-451A-B018-8F9C42387017}" type="sibTrans" cxnId="{0B74362A-DC5D-49B3-B209-0955EA581D8A}">
      <dgm:prSet/>
      <dgm:spPr/>
      <dgm:t>
        <a:bodyPr/>
        <a:lstStyle/>
        <a:p>
          <a:endParaRPr lang="en-US"/>
        </a:p>
      </dgm:t>
    </dgm:pt>
    <dgm:pt modelId="{26EEC0BF-E13D-4467-AB9D-8BFD534888D7}">
      <dgm:prSet/>
      <dgm:spPr/>
      <dgm:t>
        <a:bodyPr/>
        <a:lstStyle/>
        <a:p>
          <a:r>
            <a:rPr lang="en-US" dirty="0"/>
            <a:t>Suspicious combination of HTA and PowerShell</a:t>
          </a:r>
        </a:p>
      </dgm:t>
    </dgm:pt>
    <dgm:pt modelId="{F7AA6E8F-CF15-4583-9FCF-71F592D4EDD3}" type="parTrans" cxnId="{718F2665-BBD8-4A74-A45D-A4141BB74FF5}">
      <dgm:prSet/>
      <dgm:spPr/>
      <dgm:t>
        <a:bodyPr/>
        <a:lstStyle/>
        <a:p>
          <a:endParaRPr lang="en-US"/>
        </a:p>
      </dgm:t>
    </dgm:pt>
    <dgm:pt modelId="{54056C5D-B0F2-4ACA-836B-6A630AA2CD84}" type="sibTrans" cxnId="{718F2665-BBD8-4A74-A45D-A4141BB74FF5}">
      <dgm:prSet/>
      <dgm:spPr/>
      <dgm:t>
        <a:bodyPr/>
        <a:lstStyle/>
        <a:p>
          <a:endParaRPr lang="en-US"/>
        </a:p>
      </dgm:t>
    </dgm:pt>
    <dgm:pt modelId="{767FDF1A-BAC0-466D-99E1-3C2A60A3DF2E}">
      <dgm:prSet/>
      <dgm:spPr/>
      <dgm:t>
        <a:bodyPr/>
        <a:lstStyle/>
        <a:p>
          <a:r>
            <a:rPr lang="en-US" dirty="0"/>
            <a:t>Suspicious outgoing traffic detected</a:t>
          </a:r>
        </a:p>
      </dgm:t>
    </dgm:pt>
    <dgm:pt modelId="{314FF68C-C0F1-43EF-A41F-7D53B06CE785}" type="parTrans" cxnId="{61C06978-F986-4912-B9BA-00B78B521489}">
      <dgm:prSet/>
      <dgm:spPr/>
      <dgm:t>
        <a:bodyPr/>
        <a:lstStyle/>
        <a:p>
          <a:endParaRPr lang="en-US"/>
        </a:p>
      </dgm:t>
    </dgm:pt>
    <dgm:pt modelId="{7A5BCE7C-3C05-4BC4-8D8B-D91E332CB758}" type="sibTrans" cxnId="{61C06978-F986-4912-B9BA-00B78B521489}">
      <dgm:prSet/>
      <dgm:spPr/>
      <dgm:t>
        <a:bodyPr/>
        <a:lstStyle/>
        <a:p>
          <a:endParaRPr lang="en-US"/>
        </a:p>
      </dgm:t>
    </dgm:pt>
    <dgm:pt modelId="{7C275C6C-6616-4759-9BDD-808B0AC22C3B}">
      <dgm:prSet/>
      <dgm:spPr/>
      <dgm:t>
        <a:bodyPr/>
        <a:lstStyle/>
        <a:p>
          <a:r>
            <a:rPr lang="en-US" dirty="0"/>
            <a:t>Network communication with a malicious machine</a:t>
          </a:r>
        </a:p>
      </dgm:t>
    </dgm:pt>
    <dgm:pt modelId="{3A1B9B4A-2B0B-4021-A7E4-09B2A3873712}" type="parTrans" cxnId="{45B98FFC-2058-4B45-BE3C-02EBCE068B5D}">
      <dgm:prSet/>
      <dgm:spPr/>
      <dgm:t>
        <a:bodyPr/>
        <a:lstStyle/>
        <a:p>
          <a:endParaRPr lang="en-US"/>
        </a:p>
      </dgm:t>
    </dgm:pt>
    <dgm:pt modelId="{E29BA360-1158-454E-AF78-FD53F61AFDE0}" type="sibTrans" cxnId="{45B98FFC-2058-4B45-BE3C-02EBCE068B5D}">
      <dgm:prSet/>
      <dgm:spPr/>
      <dgm:t>
        <a:bodyPr/>
        <a:lstStyle/>
        <a:p>
          <a:endParaRPr lang="en-US"/>
        </a:p>
      </dgm:t>
    </dgm:pt>
    <dgm:pt modelId="{1DFCCBD4-366D-4409-AC93-337EC5A69113}">
      <dgm:prSet/>
      <dgm:spPr/>
      <dgm:t>
        <a:bodyPr/>
        <a:lstStyle/>
        <a:p>
          <a:r>
            <a:rPr lang="en-US" dirty="0"/>
            <a:t>Possible outgoing denial-of-service attack detected</a:t>
          </a:r>
        </a:p>
      </dgm:t>
    </dgm:pt>
    <dgm:pt modelId="{046B7D33-1E1E-48F7-AFB2-F1BD10B0C142}" type="parTrans" cxnId="{D31BA5A2-883F-436A-B246-470DA360C00C}">
      <dgm:prSet/>
      <dgm:spPr/>
      <dgm:t>
        <a:bodyPr/>
        <a:lstStyle/>
        <a:p>
          <a:endParaRPr lang="en-US"/>
        </a:p>
      </dgm:t>
    </dgm:pt>
    <dgm:pt modelId="{CBABE105-AA7D-4824-BA8D-EF0B6EA379FD}" type="sibTrans" cxnId="{D31BA5A2-883F-436A-B246-470DA360C00C}">
      <dgm:prSet/>
      <dgm:spPr/>
      <dgm:t>
        <a:bodyPr/>
        <a:lstStyle/>
        <a:p>
          <a:endParaRPr lang="en-US"/>
        </a:p>
      </dgm:t>
    </dgm:pt>
    <dgm:pt modelId="{CD1CA618-8559-4F66-B049-41AAF83AA715}">
      <dgm:prSet/>
      <dgm:spPr/>
      <dgm:t>
        <a:bodyPr/>
        <a:lstStyle/>
        <a:p>
          <a:r>
            <a:rPr lang="en-US" dirty="0"/>
            <a:t>Potential SQL injection</a:t>
          </a:r>
        </a:p>
      </dgm:t>
    </dgm:pt>
    <dgm:pt modelId="{7C90C35A-A61E-417C-8238-467ABE3728A7}" type="parTrans" cxnId="{010E900B-E373-40FF-950B-FC9EE91170A6}">
      <dgm:prSet/>
      <dgm:spPr/>
      <dgm:t>
        <a:bodyPr/>
        <a:lstStyle/>
        <a:p>
          <a:endParaRPr lang="en-US"/>
        </a:p>
      </dgm:t>
    </dgm:pt>
    <dgm:pt modelId="{5C7A19A8-2055-479C-BCBD-59E86CE5B595}" type="sibTrans" cxnId="{010E900B-E373-40FF-950B-FC9EE91170A6}">
      <dgm:prSet/>
      <dgm:spPr/>
      <dgm:t>
        <a:bodyPr/>
        <a:lstStyle/>
        <a:p>
          <a:endParaRPr lang="en-US"/>
        </a:p>
      </dgm:t>
    </dgm:pt>
    <dgm:pt modelId="{E95A2474-D164-49F9-A587-8917744B44FE}">
      <dgm:prSet/>
      <dgm:spPr/>
      <dgm:t>
        <a:bodyPr/>
        <a:lstStyle/>
        <a:p>
          <a:r>
            <a:rPr lang="en-US" dirty="0"/>
            <a:t>Vulnerability to SQL injection</a:t>
          </a:r>
        </a:p>
      </dgm:t>
    </dgm:pt>
    <dgm:pt modelId="{FB8F678A-45F0-4FC9-AAB3-85B07B05259F}" type="parTrans" cxnId="{1C505357-E08B-40DB-BBBC-48170703C539}">
      <dgm:prSet/>
      <dgm:spPr/>
      <dgm:t>
        <a:bodyPr/>
        <a:lstStyle/>
        <a:p>
          <a:endParaRPr lang="en-US"/>
        </a:p>
      </dgm:t>
    </dgm:pt>
    <dgm:pt modelId="{7132C44C-B256-4A36-96B9-73F67004D5D1}" type="sibTrans" cxnId="{1C505357-E08B-40DB-BBBC-48170703C539}">
      <dgm:prSet/>
      <dgm:spPr/>
      <dgm:t>
        <a:bodyPr/>
        <a:lstStyle/>
        <a:p>
          <a:endParaRPr lang="en-US"/>
        </a:p>
      </dgm:t>
    </dgm:pt>
    <dgm:pt modelId="{69EC25F2-BB24-436B-87D8-64927AFE1F06}">
      <dgm:prSet/>
      <dgm:spPr/>
      <dgm:t>
        <a:bodyPr/>
        <a:lstStyle/>
        <a:p>
          <a:r>
            <a:rPr lang="en-US" dirty="0"/>
            <a:t>Unusual access from unfamiliar location</a:t>
          </a:r>
        </a:p>
      </dgm:t>
    </dgm:pt>
    <dgm:pt modelId="{10A52404-95A7-4A00-BB6F-675654AC482D}" type="parTrans" cxnId="{C033F59F-8B34-4C4E-BEEA-1713697FBDA2}">
      <dgm:prSet/>
      <dgm:spPr/>
      <dgm:t>
        <a:bodyPr/>
        <a:lstStyle/>
        <a:p>
          <a:endParaRPr lang="en-US"/>
        </a:p>
      </dgm:t>
    </dgm:pt>
    <dgm:pt modelId="{80DF02B7-06DB-4298-A7F5-4C9B4E53DCD7}" type="sibTrans" cxnId="{C033F59F-8B34-4C4E-BEEA-1713697FBDA2}">
      <dgm:prSet/>
      <dgm:spPr/>
      <dgm:t>
        <a:bodyPr/>
        <a:lstStyle/>
        <a:p>
          <a:endParaRPr lang="en-US"/>
        </a:p>
      </dgm:t>
    </dgm:pt>
    <dgm:pt modelId="{ED596E1F-0AFB-48E0-9E11-F99CBE353DC0}">
      <dgm:prSet/>
      <dgm:spPr/>
      <dgm:t>
        <a:bodyPr/>
        <a:lstStyle/>
        <a:p>
          <a:r>
            <a:rPr lang="en-US" dirty="0"/>
            <a:t>Log clear events</a:t>
          </a:r>
        </a:p>
      </dgm:t>
    </dgm:pt>
    <dgm:pt modelId="{30E820A7-5CC1-4162-8E85-57E4D6C52A39}" type="parTrans" cxnId="{F2E8EB0D-D35B-4310-B445-F74AE8480574}">
      <dgm:prSet/>
      <dgm:spPr/>
      <dgm:t>
        <a:bodyPr/>
        <a:lstStyle/>
        <a:p>
          <a:endParaRPr lang="en-US"/>
        </a:p>
      </dgm:t>
    </dgm:pt>
    <dgm:pt modelId="{79C9D47F-8532-4E21-B739-25867C449D27}" type="sibTrans" cxnId="{F2E8EB0D-D35B-4310-B445-F74AE8480574}">
      <dgm:prSet/>
      <dgm:spPr/>
      <dgm:t>
        <a:bodyPr/>
        <a:lstStyle/>
        <a:p>
          <a:endParaRPr lang="en-US"/>
        </a:p>
      </dgm:t>
    </dgm:pt>
    <dgm:pt modelId="{C3B22229-08FD-4686-BAB0-2FF456199AA8}">
      <dgm:prSet/>
      <dgm:spPr/>
      <dgm:t>
        <a:bodyPr/>
        <a:lstStyle/>
        <a:p>
          <a:r>
            <a:rPr lang="en-US" dirty="0"/>
            <a:t>PNP device plugged from unknown device</a:t>
          </a:r>
        </a:p>
      </dgm:t>
    </dgm:pt>
    <dgm:pt modelId="{80E4B2D6-2710-45DF-93C9-5F192CD111D6}" type="parTrans" cxnId="{4C2EA9E2-C371-464F-B8C1-E1D3411B4421}">
      <dgm:prSet/>
      <dgm:spPr/>
      <dgm:t>
        <a:bodyPr/>
        <a:lstStyle/>
        <a:p>
          <a:endParaRPr lang="en-US"/>
        </a:p>
      </dgm:t>
    </dgm:pt>
    <dgm:pt modelId="{C619C508-E466-4106-8697-F55D967C9636}" type="sibTrans" cxnId="{4C2EA9E2-C371-464F-B8C1-E1D3411B4421}">
      <dgm:prSet/>
      <dgm:spPr/>
      <dgm:t>
        <a:bodyPr/>
        <a:lstStyle/>
        <a:p>
          <a:endParaRPr lang="en-US"/>
        </a:p>
      </dgm:t>
    </dgm:pt>
    <dgm:pt modelId="{AE9A38E6-B98C-46DF-A954-0E9B7EF679E6}">
      <dgm:prSet/>
      <dgm:spPr/>
      <dgm:t>
        <a:bodyPr/>
        <a:lstStyle/>
        <a:p>
          <a:r>
            <a:rPr lang="en-US" dirty="0"/>
            <a:t>Alerts which are not actionable</a:t>
          </a:r>
        </a:p>
      </dgm:t>
    </dgm:pt>
    <dgm:pt modelId="{F0DC4C93-FA4E-4BA6-B90E-4663CBC557A8}" type="parTrans" cxnId="{2796B009-EAEC-4EB7-B473-594FE037EF03}">
      <dgm:prSet/>
      <dgm:spPr/>
      <dgm:t>
        <a:bodyPr/>
        <a:lstStyle/>
        <a:p>
          <a:endParaRPr lang="en-US"/>
        </a:p>
      </dgm:t>
    </dgm:pt>
    <dgm:pt modelId="{8D28F5A2-947D-45C9-98E8-F07DEB9EC0E9}" type="sibTrans" cxnId="{2796B009-EAEC-4EB7-B473-594FE037EF03}">
      <dgm:prSet/>
      <dgm:spPr/>
      <dgm:t>
        <a:bodyPr/>
        <a:lstStyle/>
        <a:p>
          <a:endParaRPr lang="en-US"/>
        </a:p>
      </dgm:t>
    </dgm:pt>
    <dgm:pt modelId="{34357FF3-5BFE-4D2C-A4F0-A5D9350418B1}" type="pres">
      <dgm:prSet presAssocID="{C429F172-266E-4194-B325-3535962682A2}" presName="diagram" presStyleCnt="0">
        <dgm:presLayoutVars>
          <dgm:dir/>
          <dgm:resizeHandles val="exact"/>
        </dgm:presLayoutVars>
      </dgm:prSet>
      <dgm:spPr/>
    </dgm:pt>
    <dgm:pt modelId="{3CA73B91-EF11-49A7-8D60-59537D0B73A2}" type="pres">
      <dgm:prSet presAssocID="{3109ED99-2A17-4549-BE2B-3F3A3A6D8977}" presName="node" presStyleLbl="node1" presStyleIdx="0" presStyleCnt="21">
        <dgm:presLayoutVars>
          <dgm:bulletEnabled val="1"/>
        </dgm:presLayoutVars>
      </dgm:prSet>
      <dgm:spPr/>
    </dgm:pt>
    <dgm:pt modelId="{AA5F99BA-B223-405E-A50F-634885295BD0}" type="pres">
      <dgm:prSet presAssocID="{0CFE0F02-49D5-4C13-A307-2CAE869698D7}" presName="sibTrans" presStyleCnt="0"/>
      <dgm:spPr/>
    </dgm:pt>
    <dgm:pt modelId="{08BA7392-92A7-46E7-8FB7-152665F983F0}" type="pres">
      <dgm:prSet presAssocID="{E3E339A5-1663-4253-9828-5E0904DACFC7}" presName="node" presStyleLbl="node1" presStyleIdx="1" presStyleCnt="21">
        <dgm:presLayoutVars>
          <dgm:bulletEnabled val="1"/>
        </dgm:presLayoutVars>
      </dgm:prSet>
      <dgm:spPr/>
    </dgm:pt>
    <dgm:pt modelId="{D5B8C829-E43F-4CB7-BD0D-7742170E3718}" type="pres">
      <dgm:prSet presAssocID="{A3F79BC4-EFEB-4D39-99F7-06635B1B48F1}" presName="sibTrans" presStyleCnt="0"/>
      <dgm:spPr/>
    </dgm:pt>
    <dgm:pt modelId="{6677B7A6-72E0-4B41-BA0F-E6FE1F9AC98C}" type="pres">
      <dgm:prSet presAssocID="{0C29004D-F3C3-46A2-905E-69AA22FDD4E1}" presName="node" presStyleLbl="node1" presStyleIdx="2" presStyleCnt="21">
        <dgm:presLayoutVars>
          <dgm:bulletEnabled val="1"/>
        </dgm:presLayoutVars>
      </dgm:prSet>
      <dgm:spPr/>
    </dgm:pt>
    <dgm:pt modelId="{2E5BBBFD-986A-426A-80AF-F337C1F45392}" type="pres">
      <dgm:prSet presAssocID="{1A6FB8E9-5399-4555-B583-ECAA880F5923}" presName="sibTrans" presStyleCnt="0"/>
      <dgm:spPr/>
    </dgm:pt>
    <dgm:pt modelId="{88630C80-91B5-4DFD-BCEF-6D829443B00F}" type="pres">
      <dgm:prSet presAssocID="{F5E54706-6361-471E-8BB3-6535325552D3}" presName="node" presStyleLbl="node1" presStyleIdx="3" presStyleCnt="21">
        <dgm:presLayoutVars>
          <dgm:bulletEnabled val="1"/>
        </dgm:presLayoutVars>
      </dgm:prSet>
      <dgm:spPr/>
    </dgm:pt>
    <dgm:pt modelId="{BA4A9E37-0985-468E-BFF3-9C11B25D1C86}" type="pres">
      <dgm:prSet presAssocID="{B72042DD-8AED-43B0-BFCC-5EB2B06CD788}" presName="sibTrans" presStyleCnt="0"/>
      <dgm:spPr/>
    </dgm:pt>
    <dgm:pt modelId="{F3F94399-F8A4-47A7-99D8-6C6F511F8A39}" type="pres">
      <dgm:prSet presAssocID="{24A19258-B277-4973-B3E3-F0D35FAA823B}" presName="node" presStyleLbl="node1" presStyleIdx="4" presStyleCnt="21">
        <dgm:presLayoutVars>
          <dgm:bulletEnabled val="1"/>
        </dgm:presLayoutVars>
      </dgm:prSet>
      <dgm:spPr/>
    </dgm:pt>
    <dgm:pt modelId="{9D3CCADF-1A54-440C-A425-87C91967C5DB}" type="pres">
      <dgm:prSet presAssocID="{3AA2CF04-E250-40E6-A819-90DE8D684FF8}" presName="sibTrans" presStyleCnt="0"/>
      <dgm:spPr/>
    </dgm:pt>
    <dgm:pt modelId="{60A595F4-0A25-46F1-A1CB-B419C4E351BB}" type="pres">
      <dgm:prSet presAssocID="{F2AC53FA-3F3A-4274-9F98-93EAB6DACAFD}" presName="node" presStyleLbl="node1" presStyleIdx="5" presStyleCnt="21">
        <dgm:presLayoutVars>
          <dgm:bulletEnabled val="1"/>
        </dgm:presLayoutVars>
      </dgm:prSet>
      <dgm:spPr/>
    </dgm:pt>
    <dgm:pt modelId="{4C5527DE-74E9-4279-B66C-32E6886A8C72}" type="pres">
      <dgm:prSet presAssocID="{2601959A-4ED3-47D1-84B5-E69B8A59BC14}" presName="sibTrans" presStyleCnt="0"/>
      <dgm:spPr/>
    </dgm:pt>
    <dgm:pt modelId="{BA2819CB-F030-41D9-BD10-294FDBBB6C93}" type="pres">
      <dgm:prSet presAssocID="{4A9E9FE1-ED83-43B7-AD6E-B0FE896D0880}" presName="node" presStyleLbl="node1" presStyleIdx="6" presStyleCnt="21">
        <dgm:presLayoutVars>
          <dgm:bulletEnabled val="1"/>
        </dgm:presLayoutVars>
      </dgm:prSet>
      <dgm:spPr/>
    </dgm:pt>
    <dgm:pt modelId="{24C39460-AD14-47CB-8AC0-9ABD010F7120}" type="pres">
      <dgm:prSet presAssocID="{8886062D-3A6E-405B-88D0-9320CCF21B35}" presName="sibTrans" presStyleCnt="0"/>
      <dgm:spPr/>
    </dgm:pt>
    <dgm:pt modelId="{971E4EA6-6B1F-48F2-9604-7F80A8831CD0}" type="pres">
      <dgm:prSet presAssocID="{7F3D69D7-01EC-4CC1-B3ED-49D9B548E766}" presName="node" presStyleLbl="node1" presStyleIdx="7" presStyleCnt="21">
        <dgm:presLayoutVars>
          <dgm:bulletEnabled val="1"/>
        </dgm:presLayoutVars>
      </dgm:prSet>
      <dgm:spPr/>
    </dgm:pt>
    <dgm:pt modelId="{DD92EAD4-B5FA-4C5E-BA8B-807389A53BEC}" type="pres">
      <dgm:prSet presAssocID="{5A5B11F2-9F2D-4865-B96C-20A52A7D3162}" presName="sibTrans" presStyleCnt="0"/>
      <dgm:spPr/>
    </dgm:pt>
    <dgm:pt modelId="{634AE05E-48DD-42E7-94DD-1B4EB5DC032B}" type="pres">
      <dgm:prSet presAssocID="{C0869BAC-090B-4F75-B2FE-A591207C1601}" presName="node" presStyleLbl="node1" presStyleIdx="8" presStyleCnt="21">
        <dgm:presLayoutVars>
          <dgm:bulletEnabled val="1"/>
        </dgm:presLayoutVars>
      </dgm:prSet>
      <dgm:spPr/>
    </dgm:pt>
    <dgm:pt modelId="{CD1891A8-727A-4686-901F-E4908608AC99}" type="pres">
      <dgm:prSet presAssocID="{27957A94-C952-48B9-AD28-11155E58BD97}" presName="sibTrans" presStyleCnt="0"/>
      <dgm:spPr/>
    </dgm:pt>
    <dgm:pt modelId="{C63D81F8-75BA-4643-929A-28DA25390FC3}" type="pres">
      <dgm:prSet presAssocID="{042B7B11-A1F0-4E13-8A00-AB26D97E4B2C}" presName="node" presStyleLbl="node1" presStyleIdx="9" presStyleCnt="21">
        <dgm:presLayoutVars>
          <dgm:bulletEnabled val="1"/>
        </dgm:presLayoutVars>
      </dgm:prSet>
      <dgm:spPr/>
    </dgm:pt>
    <dgm:pt modelId="{A0BB2DA3-74E0-43A8-B62E-543D0379846B}" type="pres">
      <dgm:prSet presAssocID="{A1810FED-0CBC-4F0C-8A33-777A10E81714}" presName="sibTrans" presStyleCnt="0"/>
      <dgm:spPr/>
    </dgm:pt>
    <dgm:pt modelId="{590F9680-200E-43BB-B657-13AD81569285}" type="pres">
      <dgm:prSet presAssocID="{206E8824-7B53-489A-879B-765BB18DC097}" presName="node" presStyleLbl="node1" presStyleIdx="10" presStyleCnt="21">
        <dgm:presLayoutVars>
          <dgm:bulletEnabled val="1"/>
        </dgm:presLayoutVars>
      </dgm:prSet>
      <dgm:spPr/>
    </dgm:pt>
    <dgm:pt modelId="{1193C4BC-2F81-4040-87CD-5E5F268CE344}" type="pres">
      <dgm:prSet presAssocID="{DDAE8C8E-2F8C-451A-B018-8F9C42387017}" presName="sibTrans" presStyleCnt="0"/>
      <dgm:spPr/>
    </dgm:pt>
    <dgm:pt modelId="{BE5CF8F1-EA53-47BE-A992-0D8F54963663}" type="pres">
      <dgm:prSet presAssocID="{26EEC0BF-E13D-4467-AB9D-8BFD534888D7}" presName="node" presStyleLbl="node1" presStyleIdx="11" presStyleCnt="21">
        <dgm:presLayoutVars>
          <dgm:bulletEnabled val="1"/>
        </dgm:presLayoutVars>
      </dgm:prSet>
      <dgm:spPr/>
    </dgm:pt>
    <dgm:pt modelId="{E1C51029-540F-49AD-9C6E-DBD40BF5134B}" type="pres">
      <dgm:prSet presAssocID="{54056C5D-B0F2-4ACA-836B-6A630AA2CD84}" presName="sibTrans" presStyleCnt="0"/>
      <dgm:spPr/>
    </dgm:pt>
    <dgm:pt modelId="{5644C563-C4B8-41E6-96EC-3FDCCF728DF1}" type="pres">
      <dgm:prSet presAssocID="{767FDF1A-BAC0-466D-99E1-3C2A60A3DF2E}" presName="node" presStyleLbl="node1" presStyleIdx="12" presStyleCnt="21">
        <dgm:presLayoutVars>
          <dgm:bulletEnabled val="1"/>
        </dgm:presLayoutVars>
      </dgm:prSet>
      <dgm:spPr/>
    </dgm:pt>
    <dgm:pt modelId="{3C9153A8-EBCE-4EC4-B8A5-C42896C6C7CC}" type="pres">
      <dgm:prSet presAssocID="{7A5BCE7C-3C05-4BC4-8D8B-D91E332CB758}" presName="sibTrans" presStyleCnt="0"/>
      <dgm:spPr/>
    </dgm:pt>
    <dgm:pt modelId="{A9F8C7F4-970F-459E-A468-420223F0BFE3}" type="pres">
      <dgm:prSet presAssocID="{7C275C6C-6616-4759-9BDD-808B0AC22C3B}" presName="node" presStyleLbl="node1" presStyleIdx="13" presStyleCnt="21">
        <dgm:presLayoutVars>
          <dgm:bulletEnabled val="1"/>
        </dgm:presLayoutVars>
      </dgm:prSet>
      <dgm:spPr/>
    </dgm:pt>
    <dgm:pt modelId="{AF4F8931-2AC2-4002-8ECA-6B80CDF4E3D7}" type="pres">
      <dgm:prSet presAssocID="{E29BA360-1158-454E-AF78-FD53F61AFDE0}" presName="sibTrans" presStyleCnt="0"/>
      <dgm:spPr/>
    </dgm:pt>
    <dgm:pt modelId="{DDF3AAC3-B836-44FF-ACB3-35721EA63A36}" type="pres">
      <dgm:prSet presAssocID="{1DFCCBD4-366D-4409-AC93-337EC5A69113}" presName="node" presStyleLbl="node1" presStyleIdx="14" presStyleCnt="21">
        <dgm:presLayoutVars>
          <dgm:bulletEnabled val="1"/>
        </dgm:presLayoutVars>
      </dgm:prSet>
      <dgm:spPr/>
    </dgm:pt>
    <dgm:pt modelId="{99B71100-4CEE-4EBD-8487-CC29627C2960}" type="pres">
      <dgm:prSet presAssocID="{CBABE105-AA7D-4824-BA8D-EF0B6EA379FD}" presName="sibTrans" presStyleCnt="0"/>
      <dgm:spPr/>
    </dgm:pt>
    <dgm:pt modelId="{808A61BA-118F-4F94-8A17-A05C9A2AC513}" type="pres">
      <dgm:prSet presAssocID="{CD1CA618-8559-4F66-B049-41AAF83AA715}" presName="node" presStyleLbl="node1" presStyleIdx="15" presStyleCnt="21">
        <dgm:presLayoutVars>
          <dgm:bulletEnabled val="1"/>
        </dgm:presLayoutVars>
      </dgm:prSet>
      <dgm:spPr/>
    </dgm:pt>
    <dgm:pt modelId="{C9944EA0-CC48-48EF-BEF5-6D168BBEC13B}" type="pres">
      <dgm:prSet presAssocID="{5C7A19A8-2055-479C-BCBD-59E86CE5B595}" presName="sibTrans" presStyleCnt="0"/>
      <dgm:spPr/>
    </dgm:pt>
    <dgm:pt modelId="{92C719FA-435E-4B7E-87A2-0CC4614C3157}" type="pres">
      <dgm:prSet presAssocID="{E95A2474-D164-49F9-A587-8917744B44FE}" presName="node" presStyleLbl="node1" presStyleIdx="16" presStyleCnt="21">
        <dgm:presLayoutVars>
          <dgm:bulletEnabled val="1"/>
        </dgm:presLayoutVars>
      </dgm:prSet>
      <dgm:spPr/>
    </dgm:pt>
    <dgm:pt modelId="{E95E438B-3324-4D3F-97AA-EB396A745050}" type="pres">
      <dgm:prSet presAssocID="{7132C44C-B256-4A36-96B9-73F67004D5D1}" presName="sibTrans" presStyleCnt="0"/>
      <dgm:spPr/>
    </dgm:pt>
    <dgm:pt modelId="{2D3E446E-FBC1-4ABF-92A4-9F7BAED9A111}" type="pres">
      <dgm:prSet presAssocID="{69EC25F2-BB24-436B-87D8-64927AFE1F06}" presName="node" presStyleLbl="node1" presStyleIdx="17" presStyleCnt="21">
        <dgm:presLayoutVars>
          <dgm:bulletEnabled val="1"/>
        </dgm:presLayoutVars>
      </dgm:prSet>
      <dgm:spPr/>
    </dgm:pt>
    <dgm:pt modelId="{7D318491-74C8-48BC-A43F-F82BD2065E3F}" type="pres">
      <dgm:prSet presAssocID="{80DF02B7-06DB-4298-A7F5-4C9B4E53DCD7}" presName="sibTrans" presStyleCnt="0"/>
      <dgm:spPr/>
    </dgm:pt>
    <dgm:pt modelId="{0AC98931-A821-407F-89E2-B1170BF0D959}" type="pres">
      <dgm:prSet presAssocID="{ED596E1F-0AFB-48E0-9E11-F99CBE353DC0}" presName="node" presStyleLbl="node1" presStyleIdx="18" presStyleCnt="21">
        <dgm:presLayoutVars>
          <dgm:bulletEnabled val="1"/>
        </dgm:presLayoutVars>
      </dgm:prSet>
      <dgm:spPr/>
    </dgm:pt>
    <dgm:pt modelId="{F633F3A3-C72A-49B4-802E-BF5CEE2DF2F7}" type="pres">
      <dgm:prSet presAssocID="{79C9D47F-8532-4E21-B739-25867C449D27}" presName="sibTrans" presStyleCnt="0"/>
      <dgm:spPr/>
    </dgm:pt>
    <dgm:pt modelId="{5B39ECC0-EE0F-4A69-AB44-502744C1128F}" type="pres">
      <dgm:prSet presAssocID="{C3B22229-08FD-4686-BAB0-2FF456199AA8}" presName="node" presStyleLbl="node1" presStyleIdx="19" presStyleCnt="21">
        <dgm:presLayoutVars>
          <dgm:bulletEnabled val="1"/>
        </dgm:presLayoutVars>
      </dgm:prSet>
      <dgm:spPr/>
    </dgm:pt>
    <dgm:pt modelId="{2FFBA9D1-BFCE-41EF-9EC7-1516D7CEA1F2}" type="pres">
      <dgm:prSet presAssocID="{C619C508-E466-4106-8697-F55D967C9636}" presName="sibTrans" presStyleCnt="0"/>
      <dgm:spPr/>
    </dgm:pt>
    <dgm:pt modelId="{375417FE-5C28-429B-91B4-1F1519C5F693}" type="pres">
      <dgm:prSet presAssocID="{AE9A38E6-B98C-46DF-A954-0E9B7EF679E6}" presName="node" presStyleLbl="node1" presStyleIdx="20" presStyleCnt="21">
        <dgm:presLayoutVars>
          <dgm:bulletEnabled val="1"/>
        </dgm:presLayoutVars>
      </dgm:prSet>
      <dgm:spPr/>
    </dgm:pt>
  </dgm:ptLst>
  <dgm:cxnLst>
    <dgm:cxn modelId="{2796B009-EAEC-4EB7-B473-594FE037EF03}" srcId="{C429F172-266E-4194-B325-3535962682A2}" destId="{AE9A38E6-B98C-46DF-A954-0E9B7EF679E6}" srcOrd="20" destOrd="0" parTransId="{F0DC4C93-FA4E-4BA6-B90E-4663CBC557A8}" sibTransId="{8D28F5A2-947D-45C9-98E8-F07DEB9EC0E9}"/>
    <dgm:cxn modelId="{AC2C430A-9841-475C-9E5D-4F7B9F0C5C90}" srcId="{C429F172-266E-4194-B325-3535962682A2}" destId="{E3E339A5-1663-4253-9828-5E0904DACFC7}" srcOrd="1" destOrd="0" parTransId="{80363552-F68A-4BF6-860B-4893E8E70950}" sibTransId="{A3F79BC4-EFEB-4D39-99F7-06635B1B48F1}"/>
    <dgm:cxn modelId="{010E900B-E373-40FF-950B-FC9EE91170A6}" srcId="{C429F172-266E-4194-B325-3535962682A2}" destId="{CD1CA618-8559-4F66-B049-41AAF83AA715}" srcOrd="15" destOrd="0" parTransId="{7C90C35A-A61E-417C-8238-467ABE3728A7}" sibTransId="{5C7A19A8-2055-479C-BCBD-59E86CE5B595}"/>
    <dgm:cxn modelId="{F2E8EB0D-D35B-4310-B445-F74AE8480574}" srcId="{C429F172-266E-4194-B325-3535962682A2}" destId="{ED596E1F-0AFB-48E0-9E11-F99CBE353DC0}" srcOrd="18" destOrd="0" parTransId="{30E820A7-5CC1-4162-8E85-57E4D6C52A39}" sibTransId="{79C9D47F-8532-4E21-B739-25867C449D27}"/>
    <dgm:cxn modelId="{7FD17E13-DA14-4197-8A11-D311FE08136B}" type="presOf" srcId="{ED596E1F-0AFB-48E0-9E11-F99CBE353DC0}" destId="{0AC98931-A821-407F-89E2-B1170BF0D959}" srcOrd="0" destOrd="0" presId="urn:microsoft.com/office/officeart/2005/8/layout/default"/>
    <dgm:cxn modelId="{43ED0619-ED80-420D-95F5-33B51E0AE5F4}" srcId="{C429F172-266E-4194-B325-3535962682A2}" destId="{7F3D69D7-01EC-4CC1-B3ED-49D9B548E766}" srcOrd="7" destOrd="0" parTransId="{F6639E4A-016F-4473-8619-6B8587EEA94F}" sibTransId="{5A5B11F2-9F2D-4865-B96C-20A52A7D3162}"/>
    <dgm:cxn modelId="{AA3AAC29-5C34-4271-ABFE-12B9403486DF}" type="presOf" srcId="{C429F172-266E-4194-B325-3535962682A2}" destId="{34357FF3-5BFE-4D2C-A4F0-A5D9350418B1}" srcOrd="0" destOrd="0" presId="urn:microsoft.com/office/officeart/2005/8/layout/default"/>
    <dgm:cxn modelId="{0B74362A-DC5D-49B3-B209-0955EA581D8A}" srcId="{C429F172-266E-4194-B325-3535962682A2}" destId="{206E8824-7B53-489A-879B-765BB18DC097}" srcOrd="10" destOrd="0" parTransId="{48FCD6BE-6BB0-4D88-AD5A-B56B9A11C762}" sibTransId="{DDAE8C8E-2F8C-451A-B018-8F9C42387017}"/>
    <dgm:cxn modelId="{2359302F-2A80-429C-9515-D5D322320060}" type="presOf" srcId="{7C275C6C-6616-4759-9BDD-808B0AC22C3B}" destId="{A9F8C7F4-970F-459E-A468-420223F0BFE3}" srcOrd="0" destOrd="0" presId="urn:microsoft.com/office/officeart/2005/8/layout/default"/>
    <dgm:cxn modelId="{827A745C-79F1-4D4A-B2B7-CBDF12DA130E}" type="presOf" srcId="{206E8824-7B53-489A-879B-765BB18DC097}" destId="{590F9680-200E-43BB-B657-13AD81569285}" srcOrd="0" destOrd="0" presId="urn:microsoft.com/office/officeart/2005/8/layout/default"/>
    <dgm:cxn modelId="{DBE46043-D7F2-40C3-80CB-A97FE91F5564}" type="presOf" srcId="{CD1CA618-8559-4F66-B049-41AAF83AA715}" destId="{808A61BA-118F-4F94-8A17-A05C9A2AC513}" srcOrd="0" destOrd="0" presId="urn:microsoft.com/office/officeart/2005/8/layout/default"/>
    <dgm:cxn modelId="{1AFFC863-1165-4FE3-A920-56F73B259172}" type="presOf" srcId="{69EC25F2-BB24-436B-87D8-64927AFE1F06}" destId="{2D3E446E-FBC1-4ABF-92A4-9F7BAED9A111}" srcOrd="0" destOrd="0" presId="urn:microsoft.com/office/officeart/2005/8/layout/default"/>
    <dgm:cxn modelId="{1B50F663-85B7-4BEF-922C-A7041A9278DD}" type="presOf" srcId="{042B7B11-A1F0-4E13-8A00-AB26D97E4B2C}" destId="{C63D81F8-75BA-4643-929A-28DA25390FC3}" srcOrd="0" destOrd="0" presId="urn:microsoft.com/office/officeart/2005/8/layout/default"/>
    <dgm:cxn modelId="{718F2665-BBD8-4A74-A45D-A4141BB74FF5}" srcId="{C429F172-266E-4194-B325-3535962682A2}" destId="{26EEC0BF-E13D-4467-AB9D-8BFD534888D7}" srcOrd="11" destOrd="0" parTransId="{F7AA6E8F-CF15-4583-9FCF-71F592D4EDD3}" sibTransId="{54056C5D-B0F2-4ACA-836B-6A630AA2CD84}"/>
    <dgm:cxn modelId="{8B7D7365-62A3-49AC-8F1F-07A90861F2E0}" srcId="{C429F172-266E-4194-B325-3535962682A2}" destId="{C0869BAC-090B-4F75-B2FE-A591207C1601}" srcOrd="8" destOrd="0" parTransId="{B3685645-9B62-4EE6-942B-CF759146B9FF}" sibTransId="{27957A94-C952-48B9-AD28-11155E58BD97}"/>
    <dgm:cxn modelId="{C45FA245-5C2A-4419-AC7C-2E03A159EA98}" srcId="{C429F172-266E-4194-B325-3535962682A2}" destId="{0C29004D-F3C3-46A2-905E-69AA22FDD4E1}" srcOrd="2" destOrd="0" parTransId="{AE37DB70-506D-42D0-96B5-E129C2E4915C}" sibTransId="{1A6FB8E9-5399-4555-B583-ECAA880F5923}"/>
    <dgm:cxn modelId="{D4D82046-25C9-44AD-8938-867DFCF6CC03}" srcId="{C429F172-266E-4194-B325-3535962682A2}" destId="{F5E54706-6361-471E-8BB3-6535325552D3}" srcOrd="3" destOrd="0" parTransId="{AB42F824-AD9B-4074-A39A-D81E82283AB6}" sibTransId="{B72042DD-8AED-43B0-BFCC-5EB2B06CD788}"/>
    <dgm:cxn modelId="{6F06E966-05B0-4FD0-86B5-9A8E3C264C75}" type="presOf" srcId="{26EEC0BF-E13D-4467-AB9D-8BFD534888D7}" destId="{BE5CF8F1-EA53-47BE-A992-0D8F54963663}" srcOrd="0" destOrd="0" presId="urn:microsoft.com/office/officeart/2005/8/layout/default"/>
    <dgm:cxn modelId="{2B808267-B492-4574-B749-9F5613532E4E}" type="presOf" srcId="{F5E54706-6361-471E-8BB3-6535325552D3}" destId="{88630C80-91B5-4DFD-BCEF-6D829443B00F}" srcOrd="0" destOrd="0" presId="urn:microsoft.com/office/officeart/2005/8/layout/default"/>
    <dgm:cxn modelId="{4A03BC6D-0AEB-489E-B154-767B897BB53C}" type="presOf" srcId="{C3B22229-08FD-4686-BAB0-2FF456199AA8}" destId="{5B39ECC0-EE0F-4A69-AB44-502744C1128F}" srcOrd="0" destOrd="0" presId="urn:microsoft.com/office/officeart/2005/8/layout/default"/>
    <dgm:cxn modelId="{97F44A57-8956-492F-A8F7-A9630CECBA1B}" type="presOf" srcId="{3109ED99-2A17-4549-BE2B-3F3A3A6D8977}" destId="{3CA73B91-EF11-49A7-8D60-59537D0B73A2}" srcOrd="0" destOrd="0" presId="urn:microsoft.com/office/officeart/2005/8/layout/default"/>
    <dgm:cxn modelId="{1C505357-E08B-40DB-BBBC-48170703C539}" srcId="{C429F172-266E-4194-B325-3535962682A2}" destId="{E95A2474-D164-49F9-A587-8917744B44FE}" srcOrd="16" destOrd="0" parTransId="{FB8F678A-45F0-4FC9-AAB3-85B07B05259F}" sibTransId="{7132C44C-B256-4A36-96B9-73F67004D5D1}"/>
    <dgm:cxn modelId="{61C06978-F986-4912-B9BA-00B78B521489}" srcId="{C429F172-266E-4194-B325-3535962682A2}" destId="{767FDF1A-BAC0-466D-99E1-3C2A60A3DF2E}" srcOrd="12" destOrd="0" parTransId="{314FF68C-C0F1-43EF-A41F-7D53B06CE785}" sibTransId="{7A5BCE7C-3C05-4BC4-8D8B-D91E332CB758}"/>
    <dgm:cxn modelId="{4AAAA27F-5BE1-4673-87A6-49298049CC35}" type="presOf" srcId="{1DFCCBD4-366D-4409-AC93-337EC5A69113}" destId="{DDF3AAC3-B836-44FF-ACB3-35721EA63A36}" srcOrd="0" destOrd="0" presId="urn:microsoft.com/office/officeart/2005/8/layout/default"/>
    <dgm:cxn modelId="{07B97C87-5AA3-4CCC-9FFB-653FACEB82D5}" type="presOf" srcId="{7F3D69D7-01EC-4CC1-B3ED-49D9B548E766}" destId="{971E4EA6-6B1F-48F2-9604-7F80A8831CD0}" srcOrd="0" destOrd="0" presId="urn:microsoft.com/office/officeart/2005/8/layout/default"/>
    <dgm:cxn modelId="{946C3E95-736C-4E2F-9DDD-CBC9662D7917}" srcId="{C429F172-266E-4194-B325-3535962682A2}" destId="{F2AC53FA-3F3A-4274-9F98-93EAB6DACAFD}" srcOrd="5" destOrd="0" parTransId="{1FD273E5-7A71-4313-907C-C2C759E6F0FA}" sibTransId="{2601959A-4ED3-47D1-84B5-E69B8A59BC14}"/>
    <dgm:cxn modelId="{400A759C-3679-4463-9EA9-634F611C295B}" type="presOf" srcId="{C0869BAC-090B-4F75-B2FE-A591207C1601}" destId="{634AE05E-48DD-42E7-94DD-1B4EB5DC032B}" srcOrd="0" destOrd="0" presId="urn:microsoft.com/office/officeart/2005/8/layout/default"/>
    <dgm:cxn modelId="{C033F59F-8B34-4C4E-BEEA-1713697FBDA2}" srcId="{C429F172-266E-4194-B325-3535962682A2}" destId="{69EC25F2-BB24-436B-87D8-64927AFE1F06}" srcOrd="17" destOrd="0" parTransId="{10A52404-95A7-4A00-BB6F-675654AC482D}" sibTransId="{80DF02B7-06DB-4298-A7F5-4C9B4E53DCD7}"/>
    <dgm:cxn modelId="{04711EA0-BA2C-4190-AB4D-AD8287D22D83}" type="presOf" srcId="{767FDF1A-BAC0-466D-99E1-3C2A60A3DF2E}" destId="{5644C563-C4B8-41E6-96EC-3FDCCF728DF1}" srcOrd="0" destOrd="0" presId="urn:microsoft.com/office/officeart/2005/8/layout/default"/>
    <dgm:cxn modelId="{D31BA5A2-883F-436A-B246-470DA360C00C}" srcId="{C429F172-266E-4194-B325-3535962682A2}" destId="{1DFCCBD4-366D-4409-AC93-337EC5A69113}" srcOrd="14" destOrd="0" parTransId="{046B7D33-1E1E-48F7-AFB2-F1BD10B0C142}" sibTransId="{CBABE105-AA7D-4824-BA8D-EF0B6EA379FD}"/>
    <dgm:cxn modelId="{38DF09AC-A698-4E34-B71F-FC0696155B5D}" type="presOf" srcId="{4A9E9FE1-ED83-43B7-AD6E-B0FE896D0880}" destId="{BA2819CB-F030-41D9-BD10-294FDBBB6C93}" srcOrd="0" destOrd="0" presId="urn:microsoft.com/office/officeart/2005/8/layout/default"/>
    <dgm:cxn modelId="{A73706AE-D36E-446E-9B9D-F9DC8565686F}" srcId="{C429F172-266E-4194-B325-3535962682A2}" destId="{3109ED99-2A17-4549-BE2B-3F3A3A6D8977}" srcOrd="0" destOrd="0" parTransId="{84A36816-44EA-4B46-AF56-89375671D4B6}" sibTransId="{0CFE0F02-49D5-4C13-A307-2CAE869698D7}"/>
    <dgm:cxn modelId="{20798CB1-4965-416E-AC13-68D447C642C1}" srcId="{C429F172-266E-4194-B325-3535962682A2}" destId="{4A9E9FE1-ED83-43B7-AD6E-B0FE896D0880}" srcOrd="6" destOrd="0" parTransId="{7123DADE-8D98-4068-ADA6-AFE2481AFBE9}" sibTransId="{8886062D-3A6E-405B-88D0-9320CCF21B35}"/>
    <dgm:cxn modelId="{BD8F81B4-8D62-4F0B-B27A-1C98555EDEDF}" type="presOf" srcId="{AE9A38E6-B98C-46DF-A954-0E9B7EF679E6}" destId="{375417FE-5C28-429B-91B4-1F1519C5F693}" srcOrd="0" destOrd="0" presId="urn:microsoft.com/office/officeart/2005/8/layout/default"/>
    <dgm:cxn modelId="{9A127CBD-5467-4244-B4AF-DBEA1780A3B9}" type="presOf" srcId="{24A19258-B277-4973-B3E3-F0D35FAA823B}" destId="{F3F94399-F8A4-47A7-99D8-6C6F511F8A39}" srcOrd="0" destOrd="0" presId="urn:microsoft.com/office/officeart/2005/8/layout/default"/>
    <dgm:cxn modelId="{E5376DCC-CC9A-44F6-8D4F-902A36A93B0A}" type="presOf" srcId="{E95A2474-D164-49F9-A587-8917744B44FE}" destId="{92C719FA-435E-4B7E-87A2-0CC4614C3157}" srcOrd="0" destOrd="0" presId="urn:microsoft.com/office/officeart/2005/8/layout/default"/>
    <dgm:cxn modelId="{ABE66ECF-BB2C-42DF-BF73-2943CD287627}" type="presOf" srcId="{E3E339A5-1663-4253-9828-5E0904DACFC7}" destId="{08BA7392-92A7-46E7-8FB7-152665F983F0}" srcOrd="0" destOrd="0" presId="urn:microsoft.com/office/officeart/2005/8/layout/default"/>
    <dgm:cxn modelId="{4DEE50D7-872E-416B-B6A7-67F8E10F7964}" type="presOf" srcId="{F2AC53FA-3F3A-4274-9F98-93EAB6DACAFD}" destId="{60A595F4-0A25-46F1-A1CB-B419C4E351BB}" srcOrd="0" destOrd="0" presId="urn:microsoft.com/office/officeart/2005/8/layout/default"/>
    <dgm:cxn modelId="{190B8ED7-57F9-429F-BF60-901F182DE719}" type="presOf" srcId="{0C29004D-F3C3-46A2-905E-69AA22FDD4E1}" destId="{6677B7A6-72E0-4B41-BA0F-E6FE1F9AC98C}" srcOrd="0" destOrd="0" presId="urn:microsoft.com/office/officeart/2005/8/layout/default"/>
    <dgm:cxn modelId="{6726DDDC-C64E-43A1-A050-9615B718FF53}" srcId="{C429F172-266E-4194-B325-3535962682A2}" destId="{24A19258-B277-4973-B3E3-F0D35FAA823B}" srcOrd="4" destOrd="0" parTransId="{C6ECF982-955C-4158-B231-362F637E38E8}" sibTransId="{3AA2CF04-E250-40E6-A819-90DE8D684FF8}"/>
    <dgm:cxn modelId="{4C2EA9E2-C371-464F-B8C1-E1D3411B4421}" srcId="{C429F172-266E-4194-B325-3535962682A2}" destId="{C3B22229-08FD-4686-BAB0-2FF456199AA8}" srcOrd="19" destOrd="0" parTransId="{80E4B2D6-2710-45DF-93C9-5F192CD111D6}" sibTransId="{C619C508-E466-4106-8697-F55D967C9636}"/>
    <dgm:cxn modelId="{18532EF5-5883-466B-8DE6-E21CA900F203}" srcId="{C429F172-266E-4194-B325-3535962682A2}" destId="{042B7B11-A1F0-4E13-8A00-AB26D97E4B2C}" srcOrd="9" destOrd="0" parTransId="{A7AC32C4-38C4-4AD9-87A5-190F90440ED0}" sibTransId="{A1810FED-0CBC-4F0C-8A33-777A10E81714}"/>
    <dgm:cxn modelId="{45B98FFC-2058-4B45-BE3C-02EBCE068B5D}" srcId="{C429F172-266E-4194-B325-3535962682A2}" destId="{7C275C6C-6616-4759-9BDD-808B0AC22C3B}" srcOrd="13" destOrd="0" parTransId="{3A1B9B4A-2B0B-4021-A7E4-09B2A3873712}" sibTransId="{E29BA360-1158-454E-AF78-FD53F61AFDE0}"/>
    <dgm:cxn modelId="{00C1202D-1457-40CA-B626-EFC6FECC206A}" type="presParOf" srcId="{34357FF3-5BFE-4D2C-A4F0-A5D9350418B1}" destId="{3CA73B91-EF11-49A7-8D60-59537D0B73A2}" srcOrd="0" destOrd="0" presId="urn:microsoft.com/office/officeart/2005/8/layout/default"/>
    <dgm:cxn modelId="{23B33A9D-B5DF-47D2-B5B7-B7031A3A3A45}" type="presParOf" srcId="{34357FF3-5BFE-4D2C-A4F0-A5D9350418B1}" destId="{AA5F99BA-B223-405E-A50F-634885295BD0}" srcOrd="1" destOrd="0" presId="urn:microsoft.com/office/officeart/2005/8/layout/default"/>
    <dgm:cxn modelId="{A35AC78D-DCC4-42F5-9C70-CFECCF2C98B1}" type="presParOf" srcId="{34357FF3-5BFE-4D2C-A4F0-A5D9350418B1}" destId="{08BA7392-92A7-46E7-8FB7-152665F983F0}" srcOrd="2" destOrd="0" presId="urn:microsoft.com/office/officeart/2005/8/layout/default"/>
    <dgm:cxn modelId="{7378E6DE-27C1-4832-A4FB-DFDF50A59BBD}" type="presParOf" srcId="{34357FF3-5BFE-4D2C-A4F0-A5D9350418B1}" destId="{D5B8C829-E43F-4CB7-BD0D-7742170E3718}" srcOrd="3" destOrd="0" presId="urn:microsoft.com/office/officeart/2005/8/layout/default"/>
    <dgm:cxn modelId="{78CF73D7-52DA-43E3-AC43-C6644C655F31}" type="presParOf" srcId="{34357FF3-5BFE-4D2C-A4F0-A5D9350418B1}" destId="{6677B7A6-72E0-4B41-BA0F-E6FE1F9AC98C}" srcOrd="4" destOrd="0" presId="urn:microsoft.com/office/officeart/2005/8/layout/default"/>
    <dgm:cxn modelId="{A78D5A63-D019-411E-88CD-973B8722E44E}" type="presParOf" srcId="{34357FF3-5BFE-4D2C-A4F0-A5D9350418B1}" destId="{2E5BBBFD-986A-426A-80AF-F337C1F45392}" srcOrd="5" destOrd="0" presId="urn:microsoft.com/office/officeart/2005/8/layout/default"/>
    <dgm:cxn modelId="{5B9F7122-4634-4FCC-B4DF-7DC60F02A5EE}" type="presParOf" srcId="{34357FF3-5BFE-4D2C-A4F0-A5D9350418B1}" destId="{88630C80-91B5-4DFD-BCEF-6D829443B00F}" srcOrd="6" destOrd="0" presId="urn:microsoft.com/office/officeart/2005/8/layout/default"/>
    <dgm:cxn modelId="{3D3EA5F7-A4AD-4965-95B1-3705F9097E43}" type="presParOf" srcId="{34357FF3-5BFE-4D2C-A4F0-A5D9350418B1}" destId="{BA4A9E37-0985-468E-BFF3-9C11B25D1C86}" srcOrd="7" destOrd="0" presId="urn:microsoft.com/office/officeart/2005/8/layout/default"/>
    <dgm:cxn modelId="{223A3024-D004-47BD-B47A-782C32A57B34}" type="presParOf" srcId="{34357FF3-5BFE-4D2C-A4F0-A5D9350418B1}" destId="{F3F94399-F8A4-47A7-99D8-6C6F511F8A39}" srcOrd="8" destOrd="0" presId="urn:microsoft.com/office/officeart/2005/8/layout/default"/>
    <dgm:cxn modelId="{BF36E8B3-3C80-4D58-B1DF-06F0BC500B10}" type="presParOf" srcId="{34357FF3-5BFE-4D2C-A4F0-A5D9350418B1}" destId="{9D3CCADF-1A54-440C-A425-87C91967C5DB}" srcOrd="9" destOrd="0" presId="urn:microsoft.com/office/officeart/2005/8/layout/default"/>
    <dgm:cxn modelId="{CCC538B5-97CC-49B0-A519-13647FF6E0FD}" type="presParOf" srcId="{34357FF3-5BFE-4D2C-A4F0-A5D9350418B1}" destId="{60A595F4-0A25-46F1-A1CB-B419C4E351BB}" srcOrd="10" destOrd="0" presId="urn:microsoft.com/office/officeart/2005/8/layout/default"/>
    <dgm:cxn modelId="{A86F5324-8171-444B-BB59-B1EB90801B35}" type="presParOf" srcId="{34357FF3-5BFE-4D2C-A4F0-A5D9350418B1}" destId="{4C5527DE-74E9-4279-B66C-32E6886A8C72}" srcOrd="11" destOrd="0" presId="urn:microsoft.com/office/officeart/2005/8/layout/default"/>
    <dgm:cxn modelId="{47279AD5-D255-4D0B-A493-4A7425D545B1}" type="presParOf" srcId="{34357FF3-5BFE-4D2C-A4F0-A5D9350418B1}" destId="{BA2819CB-F030-41D9-BD10-294FDBBB6C93}" srcOrd="12" destOrd="0" presId="urn:microsoft.com/office/officeart/2005/8/layout/default"/>
    <dgm:cxn modelId="{4CBFD077-372C-413B-B9A4-A39BDF49BF03}" type="presParOf" srcId="{34357FF3-5BFE-4D2C-A4F0-A5D9350418B1}" destId="{24C39460-AD14-47CB-8AC0-9ABD010F7120}" srcOrd="13" destOrd="0" presId="urn:microsoft.com/office/officeart/2005/8/layout/default"/>
    <dgm:cxn modelId="{6C3CEBAA-CC2A-4663-A42B-43564591C61D}" type="presParOf" srcId="{34357FF3-5BFE-4D2C-A4F0-A5D9350418B1}" destId="{971E4EA6-6B1F-48F2-9604-7F80A8831CD0}" srcOrd="14" destOrd="0" presId="urn:microsoft.com/office/officeart/2005/8/layout/default"/>
    <dgm:cxn modelId="{D8B8ABCE-0A6C-4829-B71A-5079059ACC8C}" type="presParOf" srcId="{34357FF3-5BFE-4D2C-A4F0-A5D9350418B1}" destId="{DD92EAD4-B5FA-4C5E-BA8B-807389A53BEC}" srcOrd="15" destOrd="0" presId="urn:microsoft.com/office/officeart/2005/8/layout/default"/>
    <dgm:cxn modelId="{8FFBCE08-336A-40DF-AAE1-2D6FA34D55AE}" type="presParOf" srcId="{34357FF3-5BFE-4D2C-A4F0-A5D9350418B1}" destId="{634AE05E-48DD-42E7-94DD-1B4EB5DC032B}" srcOrd="16" destOrd="0" presId="urn:microsoft.com/office/officeart/2005/8/layout/default"/>
    <dgm:cxn modelId="{89707516-BA77-4075-9D68-03A9094A5544}" type="presParOf" srcId="{34357FF3-5BFE-4D2C-A4F0-A5D9350418B1}" destId="{CD1891A8-727A-4686-901F-E4908608AC99}" srcOrd="17" destOrd="0" presId="urn:microsoft.com/office/officeart/2005/8/layout/default"/>
    <dgm:cxn modelId="{FDF1FB3C-C14E-4685-81DE-8BBC472D97A7}" type="presParOf" srcId="{34357FF3-5BFE-4D2C-A4F0-A5D9350418B1}" destId="{C63D81F8-75BA-4643-929A-28DA25390FC3}" srcOrd="18" destOrd="0" presId="urn:microsoft.com/office/officeart/2005/8/layout/default"/>
    <dgm:cxn modelId="{722E0363-5A31-4B05-874F-11132973C51D}" type="presParOf" srcId="{34357FF3-5BFE-4D2C-A4F0-A5D9350418B1}" destId="{A0BB2DA3-74E0-43A8-B62E-543D0379846B}" srcOrd="19" destOrd="0" presId="urn:microsoft.com/office/officeart/2005/8/layout/default"/>
    <dgm:cxn modelId="{58B4A61C-65A6-47E1-A3B7-F5525D5F1C45}" type="presParOf" srcId="{34357FF3-5BFE-4D2C-A4F0-A5D9350418B1}" destId="{590F9680-200E-43BB-B657-13AD81569285}" srcOrd="20" destOrd="0" presId="urn:microsoft.com/office/officeart/2005/8/layout/default"/>
    <dgm:cxn modelId="{022256C4-B609-497C-A1EB-8526B71E1588}" type="presParOf" srcId="{34357FF3-5BFE-4D2C-A4F0-A5D9350418B1}" destId="{1193C4BC-2F81-4040-87CD-5E5F268CE344}" srcOrd="21" destOrd="0" presId="urn:microsoft.com/office/officeart/2005/8/layout/default"/>
    <dgm:cxn modelId="{6E4794DC-442B-4849-8133-DC6BCC0E562C}" type="presParOf" srcId="{34357FF3-5BFE-4D2C-A4F0-A5D9350418B1}" destId="{BE5CF8F1-EA53-47BE-A992-0D8F54963663}" srcOrd="22" destOrd="0" presId="urn:microsoft.com/office/officeart/2005/8/layout/default"/>
    <dgm:cxn modelId="{65089E6F-B77C-4E67-A8DF-A06B86D3DC43}" type="presParOf" srcId="{34357FF3-5BFE-4D2C-A4F0-A5D9350418B1}" destId="{E1C51029-540F-49AD-9C6E-DBD40BF5134B}" srcOrd="23" destOrd="0" presId="urn:microsoft.com/office/officeart/2005/8/layout/default"/>
    <dgm:cxn modelId="{9891B620-24EB-4F08-B423-688BE39E4BD1}" type="presParOf" srcId="{34357FF3-5BFE-4D2C-A4F0-A5D9350418B1}" destId="{5644C563-C4B8-41E6-96EC-3FDCCF728DF1}" srcOrd="24" destOrd="0" presId="urn:microsoft.com/office/officeart/2005/8/layout/default"/>
    <dgm:cxn modelId="{6C37CE13-367B-448A-BB57-DC22823E0AF7}" type="presParOf" srcId="{34357FF3-5BFE-4D2C-A4F0-A5D9350418B1}" destId="{3C9153A8-EBCE-4EC4-B8A5-C42896C6C7CC}" srcOrd="25" destOrd="0" presId="urn:microsoft.com/office/officeart/2005/8/layout/default"/>
    <dgm:cxn modelId="{320B5C49-73B5-47C5-B91E-F0D3A8F2621B}" type="presParOf" srcId="{34357FF3-5BFE-4D2C-A4F0-A5D9350418B1}" destId="{A9F8C7F4-970F-459E-A468-420223F0BFE3}" srcOrd="26" destOrd="0" presId="urn:microsoft.com/office/officeart/2005/8/layout/default"/>
    <dgm:cxn modelId="{C3355819-3A77-4ADE-A7C8-9D18A700A5CE}" type="presParOf" srcId="{34357FF3-5BFE-4D2C-A4F0-A5D9350418B1}" destId="{AF4F8931-2AC2-4002-8ECA-6B80CDF4E3D7}" srcOrd="27" destOrd="0" presId="urn:microsoft.com/office/officeart/2005/8/layout/default"/>
    <dgm:cxn modelId="{EE21FF8C-6EA9-4132-9F35-517AC05254C3}" type="presParOf" srcId="{34357FF3-5BFE-4D2C-A4F0-A5D9350418B1}" destId="{DDF3AAC3-B836-44FF-ACB3-35721EA63A36}" srcOrd="28" destOrd="0" presId="urn:microsoft.com/office/officeart/2005/8/layout/default"/>
    <dgm:cxn modelId="{22E38E46-5B41-43C3-87B6-60E3E712F241}" type="presParOf" srcId="{34357FF3-5BFE-4D2C-A4F0-A5D9350418B1}" destId="{99B71100-4CEE-4EBD-8487-CC29627C2960}" srcOrd="29" destOrd="0" presId="urn:microsoft.com/office/officeart/2005/8/layout/default"/>
    <dgm:cxn modelId="{16154DEE-0956-435F-971A-4446AFFCADC3}" type="presParOf" srcId="{34357FF3-5BFE-4D2C-A4F0-A5D9350418B1}" destId="{808A61BA-118F-4F94-8A17-A05C9A2AC513}" srcOrd="30" destOrd="0" presId="urn:microsoft.com/office/officeart/2005/8/layout/default"/>
    <dgm:cxn modelId="{8D39B516-C08D-4A82-8E08-336A103865AE}" type="presParOf" srcId="{34357FF3-5BFE-4D2C-A4F0-A5D9350418B1}" destId="{C9944EA0-CC48-48EF-BEF5-6D168BBEC13B}" srcOrd="31" destOrd="0" presId="urn:microsoft.com/office/officeart/2005/8/layout/default"/>
    <dgm:cxn modelId="{CC148C29-FC58-4C26-BD65-DC1E0CD11C33}" type="presParOf" srcId="{34357FF3-5BFE-4D2C-A4F0-A5D9350418B1}" destId="{92C719FA-435E-4B7E-87A2-0CC4614C3157}" srcOrd="32" destOrd="0" presId="urn:microsoft.com/office/officeart/2005/8/layout/default"/>
    <dgm:cxn modelId="{CD35783B-77ED-4B45-A975-23E70C6DE213}" type="presParOf" srcId="{34357FF3-5BFE-4D2C-A4F0-A5D9350418B1}" destId="{E95E438B-3324-4D3F-97AA-EB396A745050}" srcOrd="33" destOrd="0" presId="urn:microsoft.com/office/officeart/2005/8/layout/default"/>
    <dgm:cxn modelId="{4AE4C951-D300-4572-B020-CFFF4B593843}" type="presParOf" srcId="{34357FF3-5BFE-4D2C-A4F0-A5D9350418B1}" destId="{2D3E446E-FBC1-4ABF-92A4-9F7BAED9A111}" srcOrd="34" destOrd="0" presId="urn:microsoft.com/office/officeart/2005/8/layout/default"/>
    <dgm:cxn modelId="{D25AB6D6-BCB1-4128-B32D-EE2C1B49E088}" type="presParOf" srcId="{34357FF3-5BFE-4D2C-A4F0-A5D9350418B1}" destId="{7D318491-74C8-48BC-A43F-F82BD2065E3F}" srcOrd="35" destOrd="0" presId="urn:microsoft.com/office/officeart/2005/8/layout/default"/>
    <dgm:cxn modelId="{F02828A9-0B32-4F75-9C8D-2B231C5FF72F}" type="presParOf" srcId="{34357FF3-5BFE-4D2C-A4F0-A5D9350418B1}" destId="{0AC98931-A821-407F-89E2-B1170BF0D959}" srcOrd="36" destOrd="0" presId="urn:microsoft.com/office/officeart/2005/8/layout/default"/>
    <dgm:cxn modelId="{558CE914-5F4A-4361-9D58-5D7CF5811DBA}" type="presParOf" srcId="{34357FF3-5BFE-4D2C-A4F0-A5D9350418B1}" destId="{F633F3A3-C72A-49B4-802E-BF5CEE2DF2F7}" srcOrd="37" destOrd="0" presId="urn:microsoft.com/office/officeart/2005/8/layout/default"/>
    <dgm:cxn modelId="{D669EBF2-35FD-4E17-8C9B-F1940E3EF102}" type="presParOf" srcId="{34357FF3-5BFE-4D2C-A4F0-A5D9350418B1}" destId="{5B39ECC0-EE0F-4A69-AB44-502744C1128F}" srcOrd="38" destOrd="0" presId="urn:microsoft.com/office/officeart/2005/8/layout/default"/>
    <dgm:cxn modelId="{8660C718-DEDA-4BAC-A73D-2E6F95F725BB}" type="presParOf" srcId="{34357FF3-5BFE-4D2C-A4F0-A5D9350418B1}" destId="{2FFBA9D1-BFCE-41EF-9EC7-1516D7CEA1F2}" srcOrd="39" destOrd="0" presId="urn:microsoft.com/office/officeart/2005/8/layout/default"/>
    <dgm:cxn modelId="{E07AB305-5AA6-4430-B895-857254F7E7C7}" type="presParOf" srcId="{34357FF3-5BFE-4D2C-A4F0-A5D9350418B1}" destId="{375417FE-5C28-429B-91B4-1F1519C5F693}" srcOrd="4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Enable data collection for subscription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93705A61-7CA0-4F87-B3D7-AACFFF79B6EB}">
      <dgm:prSet/>
      <dgm:spPr/>
      <dgm:t>
        <a:bodyPr/>
        <a:lstStyle/>
        <a:p>
          <a:r>
            <a:rPr lang="en-US" dirty="0"/>
            <a:t>Remediate OS vulnerabilities</a:t>
          </a:r>
        </a:p>
      </dgm:t>
    </dgm:pt>
    <dgm:pt modelId="{BF6C80D3-2594-4F54-A894-413768BCE79F}" type="parTrans" cxnId="{6CCFA022-6B6F-43F1-B465-FDAECFE08975}">
      <dgm:prSet/>
      <dgm:spPr/>
      <dgm:t>
        <a:bodyPr/>
        <a:lstStyle/>
        <a:p>
          <a:endParaRPr lang="en-US"/>
        </a:p>
      </dgm:t>
    </dgm:pt>
    <dgm:pt modelId="{72EAAA08-D1A5-43A2-89F9-7DD2862BCFCB}" type="sibTrans" cxnId="{6CCFA022-6B6F-43F1-B465-FDAECFE08975}">
      <dgm:prSet/>
      <dgm:spPr/>
      <dgm:t>
        <a:bodyPr/>
        <a:lstStyle/>
        <a:p>
          <a:endParaRPr lang="en-US"/>
        </a:p>
      </dgm:t>
    </dgm:pt>
    <dgm:pt modelId="{9B9C6DD0-8DFB-43F4-A488-F4C6DE343BAB}">
      <dgm:prSet/>
      <dgm:spPr/>
      <dgm:t>
        <a:bodyPr/>
        <a:lstStyle/>
        <a:p>
          <a:r>
            <a:rPr lang="en-US" dirty="0"/>
            <a:t>Apply system updates</a:t>
          </a:r>
        </a:p>
      </dgm:t>
    </dgm:pt>
    <dgm:pt modelId="{437C02BD-DE0E-4ED6-9AF6-F5753092F247}" type="parTrans" cxnId="{6E085110-3468-4A88-AC0F-B76E9C6AE244}">
      <dgm:prSet/>
      <dgm:spPr/>
      <dgm:t>
        <a:bodyPr/>
        <a:lstStyle/>
        <a:p>
          <a:endParaRPr lang="en-US"/>
        </a:p>
      </dgm:t>
    </dgm:pt>
    <dgm:pt modelId="{257631A1-1A92-4BF1-9CDB-5B7C73FD1ECA}" type="sibTrans" cxnId="{6E085110-3468-4A88-AC0F-B76E9C6AE244}">
      <dgm:prSet/>
      <dgm:spPr/>
      <dgm:t>
        <a:bodyPr/>
        <a:lstStyle/>
        <a:p>
          <a:endParaRPr lang="en-US"/>
        </a:p>
      </dgm:t>
    </dgm:pt>
    <dgm:pt modelId="{19D26646-8122-463A-84DC-7827C116EBAF}">
      <dgm:prSet/>
      <dgm:spPr/>
      <dgm:t>
        <a:bodyPr/>
        <a:lstStyle/>
        <a:p>
          <a:r>
            <a:rPr lang="en-US" dirty="0"/>
            <a:t>Apply a Just-In-Time network access control</a:t>
          </a:r>
        </a:p>
      </dgm:t>
    </dgm:pt>
    <dgm:pt modelId="{954FEE93-15A6-495A-983C-A043778C61D4}" type="parTrans" cxnId="{AF939CC3-2E39-43B0-8CF3-5A66753B89C1}">
      <dgm:prSet/>
      <dgm:spPr/>
      <dgm:t>
        <a:bodyPr/>
        <a:lstStyle/>
        <a:p>
          <a:endParaRPr lang="en-US"/>
        </a:p>
      </dgm:t>
    </dgm:pt>
    <dgm:pt modelId="{D62CAC0B-89E9-4B18-9B48-35853112690F}" type="sibTrans" cxnId="{AF939CC3-2E39-43B0-8CF3-5A66753B89C1}">
      <dgm:prSet/>
      <dgm:spPr/>
      <dgm:t>
        <a:bodyPr/>
        <a:lstStyle/>
        <a:p>
          <a:endParaRPr lang="en-US"/>
        </a:p>
      </dgm:t>
    </dgm:pt>
    <dgm:pt modelId="{46B0A1BB-06F0-4CB0-AC13-B7598BAD1ED7}">
      <dgm:prSet/>
      <dgm:spPr/>
      <dgm:t>
        <a:bodyPr/>
        <a:lstStyle/>
        <a:p>
          <a:r>
            <a:rPr lang="en-US" dirty="0"/>
            <a:t>Reboot after system updates</a:t>
          </a:r>
        </a:p>
      </dgm:t>
    </dgm:pt>
    <dgm:pt modelId="{DABCBC4C-D746-43D3-8440-6984F33D274B}" type="parTrans" cxnId="{0EF1FA62-92E4-4626-BC06-F5BE06137E17}">
      <dgm:prSet/>
      <dgm:spPr/>
      <dgm:t>
        <a:bodyPr/>
        <a:lstStyle/>
        <a:p>
          <a:endParaRPr lang="en-US"/>
        </a:p>
      </dgm:t>
    </dgm:pt>
    <dgm:pt modelId="{35518362-0C02-44A6-8C6D-30AA203827AA}" type="sibTrans" cxnId="{0EF1FA62-92E4-4626-BC06-F5BE06137E17}">
      <dgm:prSet/>
      <dgm:spPr/>
      <dgm:t>
        <a:bodyPr/>
        <a:lstStyle/>
        <a:p>
          <a:endParaRPr lang="en-US"/>
        </a:p>
      </dgm:t>
    </dgm:pt>
    <dgm:pt modelId="{A0C5606F-FC8C-4CE9-8BB6-A14ED87CB8BA}">
      <dgm:prSet/>
      <dgm:spPr/>
      <dgm:t>
        <a:bodyPr/>
        <a:lstStyle/>
        <a:p>
          <a:r>
            <a:rPr lang="en-US" dirty="0"/>
            <a:t>Add a web application firewall</a:t>
          </a:r>
        </a:p>
      </dgm:t>
    </dgm:pt>
    <dgm:pt modelId="{6985EAB4-F658-4625-8FEE-EB6198DA8EBE}" type="parTrans" cxnId="{A6B992A5-DDC2-4B03-8E5A-75B44D2DC3FA}">
      <dgm:prSet/>
      <dgm:spPr/>
      <dgm:t>
        <a:bodyPr/>
        <a:lstStyle/>
        <a:p>
          <a:endParaRPr lang="en-US"/>
        </a:p>
      </dgm:t>
    </dgm:pt>
    <dgm:pt modelId="{348F3A74-1EC3-4A1C-B662-88FB3A9A8036}" type="sibTrans" cxnId="{A6B992A5-DDC2-4B03-8E5A-75B44D2DC3FA}">
      <dgm:prSet/>
      <dgm:spPr/>
      <dgm:t>
        <a:bodyPr/>
        <a:lstStyle/>
        <a:p>
          <a:endParaRPr lang="en-US"/>
        </a:p>
      </dgm:t>
    </dgm:pt>
    <dgm:pt modelId="{0C30FAF9-EFBB-4F6C-85AC-53B394B4B5B1}">
      <dgm:prSet/>
      <dgm:spPr/>
      <dgm:t>
        <a:bodyPr/>
        <a:lstStyle/>
        <a:p>
          <a:r>
            <a:rPr lang="en-US" dirty="0"/>
            <a:t>Finalize application protection</a:t>
          </a:r>
        </a:p>
      </dgm:t>
    </dgm:pt>
    <dgm:pt modelId="{42FD2D0A-34EE-4BD2-8B7E-34B32C151FF8}" type="parTrans" cxnId="{BA84C760-B4E4-456D-B417-EEC8C25BDA79}">
      <dgm:prSet/>
      <dgm:spPr/>
      <dgm:t>
        <a:bodyPr/>
        <a:lstStyle/>
        <a:p>
          <a:endParaRPr lang="en-US"/>
        </a:p>
      </dgm:t>
    </dgm:pt>
    <dgm:pt modelId="{3EA87BDF-DCCD-47E2-9AD3-A310D3613672}" type="sibTrans" cxnId="{BA84C760-B4E4-456D-B417-EEC8C25BDA79}">
      <dgm:prSet/>
      <dgm:spPr/>
      <dgm:t>
        <a:bodyPr/>
        <a:lstStyle/>
        <a:p>
          <a:endParaRPr lang="en-US"/>
        </a:p>
      </dgm:t>
    </dgm:pt>
    <dgm:pt modelId="{55150165-89AD-4A2C-961A-AFC6FD042954}">
      <dgm:prSet/>
      <dgm:spPr/>
      <dgm:t>
        <a:bodyPr/>
        <a:lstStyle/>
        <a:p>
          <a:r>
            <a:rPr lang="en-US" dirty="0"/>
            <a:t>Add a Next Generation Firewall</a:t>
          </a:r>
        </a:p>
      </dgm:t>
    </dgm:pt>
    <dgm:pt modelId="{C2E421D1-9517-4870-893E-7B03261903AB}" type="parTrans" cxnId="{AACECF6B-B8EE-4CFE-AD41-C4427E394297}">
      <dgm:prSet/>
      <dgm:spPr/>
      <dgm:t>
        <a:bodyPr/>
        <a:lstStyle/>
        <a:p>
          <a:endParaRPr lang="en-US"/>
        </a:p>
      </dgm:t>
    </dgm:pt>
    <dgm:pt modelId="{F445D2F4-ABD9-47CC-AF88-CA4F835748D9}" type="sibTrans" cxnId="{AACECF6B-B8EE-4CFE-AD41-C4427E394297}">
      <dgm:prSet/>
      <dgm:spPr/>
      <dgm:t>
        <a:bodyPr/>
        <a:lstStyle/>
        <a:p>
          <a:endParaRPr lang="en-US"/>
        </a:p>
      </dgm:t>
    </dgm:pt>
    <dgm:pt modelId="{3C45F6F0-0299-4219-8690-18D91D2390C3}">
      <dgm:prSet/>
      <dgm:spPr/>
      <dgm:t>
        <a:bodyPr/>
        <a:lstStyle/>
        <a:p>
          <a:r>
            <a:rPr lang="en-US" dirty="0"/>
            <a:t>Route traffic through NGFW only</a:t>
          </a:r>
        </a:p>
      </dgm:t>
    </dgm:pt>
    <dgm:pt modelId="{263008D4-9728-44ED-A5F1-1126E08950AD}" type="parTrans" cxnId="{D74E5C6A-4971-425A-AA7E-93AC2D05EDA9}">
      <dgm:prSet/>
      <dgm:spPr/>
      <dgm:t>
        <a:bodyPr/>
        <a:lstStyle/>
        <a:p>
          <a:endParaRPr lang="en-US"/>
        </a:p>
      </dgm:t>
    </dgm:pt>
    <dgm:pt modelId="{AD19434A-C14E-4478-AD57-8D4A1DA02285}" type="sibTrans" cxnId="{D74E5C6A-4971-425A-AA7E-93AC2D05EDA9}">
      <dgm:prSet/>
      <dgm:spPr/>
      <dgm:t>
        <a:bodyPr/>
        <a:lstStyle/>
        <a:p>
          <a:endParaRPr lang="en-US"/>
        </a:p>
      </dgm:t>
    </dgm:pt>
    <dgm:pt modelId="{9B171FC1-30AF-45BB-BAD9-6043CDAA3FBD}">
      <dgm:prSet/>
      <dgm:spPr/>
      <dgm:t>
        <a:bodyPr/>
        <a:lstStyle/>
        <a:p>
          <a:r>
            <a:rPr lang="en-US" dirty="0"/>
            <a:t>Install Endpoint Protection</a:t>
          </a:r>
        </a:p>
      </dgm:t>
    </dgm:pt>
    <dgm:pt modelId="{85E06E5A-DD0B-4E03-8BEC-0070CF7183B9}" type="parTrans" cxnId="{5CB5853D-3D30-4988-8E49-230D4A79CD32}">
      <dgm:prSet/>
      <dgm:spPr/>
      <dgm:t>
        <a:bodyPr/>
        <a:lstStyle/>
        <a:p>
          <a:endParaRPr lang="en-US"/>
        </a:p>
      </dgm:t>
    </dgm:pt>
    <dgm:pt modelId="{B25D28F7-25D3-4D02-AAE2-5C31E6ADACC8}" type="sibTrans" cxnId="{5CB5853D-3D30-4988-8E49-230D4A79CD32}">
      <dgm:prSet/>
      <dgm:spPr/>
      <dgm:t>
        <a:bodyPr/>
        <a:lstStyle/>
        <a:p>
          <a:endParaRPr lang="en-US"/>
        </a:p>
      </dgm:t>
    </dgm:pt>
    <dgm:pt modelId="{185FF32F-2D01-4E6D-AF57-BBF3D79349AD}">
      <dgm:prSet/>
      <dgm:spPr/>
      <dgm:t>
        <a:bodyPr/>
        <a:lstStyle/>
        <a:p>
          <a:r>
            <a:rPr lang="en-US" dirty="0"/>
            <a:t>Resolve Endpoint Protection health alerts</a:t>
          </a:r>
        </a:p>
      </dgm:t>
    </dgm:pt>
    <dgm:pt modelId="{33C0BB21-0A4A-43F1-9583-F080F3D81ACD}" type="parTrans" cxnId="{03BCF41E-104B-48E7-9A4A-FD9588D0EEF0}">
      <dgm:prSet/>
      <dgm:spPr/>
      <dgm:t>
        <a:bodyPr/>
        <a:lstStyle/>
        <a:p>
          <a:endParaRPr lang="en-US"/>
        </a:p>
      </dgm:t>
    </dgm:pt>
    <dgm:pt modelId="{6508A1EC-081B-4CE6-A9EE-B3DF2EBE28D3}" type="sibTrans" cxnId="{03BCF41E-104B-48E7-9A4A-FD9588D0EEF0}">
      <dgm:prSet/>
      <dgm:spPr/>
      <dgm:t>
        <a:bodyPr/>
        <a:lstStyle/>
        <a:p>
          <a:endParaRPr lang="en-US"/>
        </a:p>
      </dgm:t>
    </dgm:pt>
    <dgm:pt modelId="{52EA6900-F156-4F5C-A9F5-2E5CC4C059E2}">
      <dgm:prSet/>
      <dgm:spPr/>
      <dgm:t>
        <a:bodyPr/>
        <a:lstStyle/>
        <a:p>
          <a:r>
            <a:rPr lang="en-US" dirty="0"/>
            <a:t>Enable Network Security Groups on subnets or virtual machines</a:t>
          </a:r>
        </a:p>
      </dgm:t>
    </dgm:pt>
    <dgm:pt modelId="{40160616-3AC2-4793-A231-145721B7F618}" type="parTrans" cxnId="{ADB39548-53FA-43A4-84AA-13520B938F52}">
      <dgm:prSet/>
      <dgm:spPr/>
      <dgm:t>
        <a:bodyPr/>
        <a:lstStyle/>
        <a:p>
          <a:endParaRPr lang="en-US"/>
        </a:p>
      </dgm:t>
    </dgm:pt>
    <dgm:pt modelId="{07829E7A-AE74-4BC3-AADB-36FF9D736E4B}" type="sibTrans" cxnId="{ADB39548-53FA-43A4-84AA-13520B938F52}">
      <dgm:prSet/>
      <dgm:spPr/>
      <dgm:t>
        <a:bodyPr/>
        <a:lstStyle/>
        <a:p>
          <a:endParaRPr lang="en-US"/>
        </a:p>
      </dgm:t>
    </dgm:pt>
    <dgm:pt modelId="{0A2B51E7-4FFD-4237-8698-5D68C95C89D4}">
      <dgm:prSet/>
      <dgm:spPr/>
      <dgm:t>
        <a:bodyPr/>
        <a:lstStyle/>
        <a:p>
          <a:r>
            <a:rPr lang="en-US" dirty="0"/>
            <a:t>Restrict access through Internet facing endpoint</a:t>
          </a:r>
        </a:p>
      </dgm:t>
    </dgm:pt>
    <dgm:pt modelId="{85A8DDB4-59D4-4BF6-8289-A4FC7E897E1D}" type="parTrans" cxnId="{DD122B74-0155-4D4B-B2B5-FDFC85C26DCF}">
      <dgm:prSet/>
      <dgm:spPr/>
      <dgm:t>
        <a:bodyPr/>
        <a:lstStyle/>
        <a:p>
          <a:endParaRPr lang="en-US"/>
        </a:p>
      </dgm:t>
    </dgm:pt>
    <dgm:pt modelId="{A1CA6C7B-61EE-4ABE-9055-A2F035D3E9D6}" type="sibTrans" cxnId="{DD122B74-0155-4D4B-B2B5-FDFC85C26DCF}">
      <dgm:prSet/>
      <dgm:spPr/>
      <dgm:t>
        <a:bodyPr/>
        <a:lstStyle/>
        <a:p>
          <a:endParaRPr lang="en-US"/>
        </a:p>
      </dgm:t>
    </dgm:pt>
    <dgm:pt modelId="{99806B4D-36F6-4464-949F-9D98F89D8C6F}">
      <dgm:prSet/>
      <dgm:spPr/>
      <dgm:t>
        <a:bodyPr/>
        <a:lstStyle/>
        <a:p>
          <a:r>
            <a:rPr lang="en-US" dirty="0"/>
            <a:t>Enable auditing and threat detection on SQL servers</a:t>
          </a:r>
        </a:p>
      </dgm:t>
    </dgm:pt>
    <dgm:pt modelId="{46DBBCC3-9443-4F1A-953A-E5C440026FB2}" type="parTrans" cxnId="{F6C05DD4-1F9E-4DE9-95A0-7226DBCDBD8C}">
      <dgm:prSet/>
      <dgm:spPr/>
      <dgm:t>
        <a:bodyPr/>
        <a:lstStyle/>
        <a:p>
          <a:endParaRPr lang="en-US"/>
        </a:p>
      </dgm:t>
    </dgm:pt>
    <dgm:pt modelId="{488F2EFE-ADCF-4CF0-AAD2-EAD1AE7248D1}" type="sibTrans" cxnId="{F6C05DD4-1F9E-4DE9-95A0-7226DBCDBD8C}">
      <dgm:prSet/>
      <dgm:spPr/>
      <dgm:t>
        <a:bodyPr/>
        <a:lstStyle/>
        <a:p>
          <a:endParaRPr lang="en-US"/>
        </a:p>
      </dgm:t>
    </dgm:pt>
    <dgm:pt modelId="{69F1B950-8D36-4928-8C1C-24CBD2963852}">
      <dgm:prSet/>
      <dgm:spPr/>
      <dgm:t>
        <a:bodyPr/>
        <a:lstStyle/>
        <a:p>
          <a:r>
            <a:rPr lang="en-US" dirty="0"/>
            <a:t>Enable auditing and threat detection on SQL databases</a:t>
          </a:r>
        </a:p>
      </dgm:t>
    </dgm:pt>
    <dgm:pt modelId="{72B6B5DA-0106-4253-84C1-D55AF3387EE6}" type="parTrans" cxnId="{7BE25197-FFAE-4AC5-A0F2-D75A467E080B}">
      <dgm:prSet/>
      <dgm:spPr/>
      <dgm:t>
        <a:bodyPr/>
        <a:lstStyle/>
        <a:p>
          <a:endParaRPr lang="en-US"/>
        </a:p>
      </dgm:t>
    </dgm:pt>
    <dgm:pt modelId="{D12F9FD1-4BBC-4960-B2E2-DE716A060488}" type="sibTrans" cxnId="{7BE25197-FFAE-4AC5-A0F2-D75A467E080B}">
      <dgm:prSet/>
      <dgm:spPr/>
      <dgm:t>
        <a:bodyPr/>
        <a:lstStyle/>
        <a:p>
          <a:endParaRPr lang="en-US"/>
        </a:p>
      </dgm:t>
    </dgm:pt>
    <dgm:pt modelId="{48C00A8D-1255-4FE9-B441-11440415C1AD}">
      <dgm:prSet/>
      <dgm:spPr/>
      <dgm:t>
        <a:bodyPr/>
        <a:lstStyle/>
        <a:p>
          <a:r>
            <a:rPr lang="en-US" dirty="0"/>
            <a:t>Enable Transparent Data Encryption on SQL databases</a:t>
          </a:r>
        </a:p>
      </dgm:t>
    </dgm:pt>
    <dgm:pt modelId="{18DDC2F8-EE3C-433A-B153-28772C20741B}" type="parTrans" cxnId="{8F559ADB-F723-475D-9605-0A974DF60B56}">
      <dgm:prSet/>
      <dgm:spPr/>
      <dgm:t>
        <a:bodyPr/>
        <a:lstStyle/>
        <a:p>
          <a:endParaRPr lang="en-US"/>
        </a:p>
      </dgm:t>
    </dgm:pt>
    <dgm:pt modelId="{4DC23B2C-AFD2-4530-9597-9BC5E0BAC1AC}" type="sibTrans" cxnId="{8F559ADB-F723-475D-9605-0A974DF60B56}">
      <dgm:prSet/>
      <dgm:spPr/>
      <dgm:t>
        <a:bodyPr/>
        <a:lstStyle/>
        <a:p>
          <a:endParaRPr lang="en-US"/>
        </a:p>
      </dgm:t>
    </dgm:pt>
    <dgm:pt modelId="{DEFA167D-7118-4FFC-B2D3-73E723D351FE}">
      <dgm:prSet/>
      <dgm:spPr/>
      <dgm:t>
        <a:bodyPr/>
        <a:lstStyle/>
        <a:p>
          <a:r>
            <a:rPr lang="en-US" dirty="0"/>
            <a:t>Enable VM Agent</a:t>
          </a:r>
        </a:p>
      </dgm:t>
    </dgm:pt>
    <dgm:pt modelId="{3A635FDC-A8F1-444A-99B6-E71DD8AC6179}" type="parTrans" cxnId="{B5CCAC2C-B248-49FE-BB65-4FE3D80F7B6E}">
      <dgm:prSet/>
      <dgm:spPr/>
      <dgm:t>
        <a:bodyPr/>
        <a:lstStyle/>
        <a:p>
          <a:endParaRPr lang="en-US"/>
        </a:p>
      </dgm:t>
    </dgm:pt>
    <dgm:pt modelId="{960AC741-F7A9-43AA-8019-78388945C23D}" type="sibTrans" cxnId="{B5CCAC2C-B248-49FE-BB65-4FE3D80F7B6E}">
      <dgm:prSet/>
      <dgm:spPr/>
      <dgm:t>
        <a:bodyPr/>
        <a:lstStyle/>
        <a:p>
          <a:endParaRPr lang="en-US"/>
        </a:p>
      </dgm:t>
    </dgm:pt>
    <dgm:pt modelId="{4A80591E-B182-474F-99F0-80D38B9CA4B0}">
      <dgm:prSet/>
      <dgm:spPr/>
      <dgm:t>
        <a:bodyPr/>
        <a:lstStyle/>
        <a:p>
          <a:r>
            <a:rPr lang="en-US" dirty="0"/>
            <a:t>Apply disk encryption</a:t>
          </a:r>
        </a:p>
      </dgm:t>
    </dgm:pt>
    <dgm:pt modelId="{E50CD904-846D-4C1A-BDA5-19F117BE5FA1}" type="parTrans" cxnId="{77CBAD30-7394-49B0-9F9D-9E03E94424F8}">
      <dgm:prSet/>
      <dgm:spPr/>
      <dgm:t>
        <a:bodyPr/>
        <a:lstStyle/>
        <a:p>
          <a:endParaRPr lang="en-US"/>
        </a:p>
      </dgm:t>
    </dgm:pt>
    <dgm:pt modelId="{BC44DD2F-8D95-4803-886F-A4D846B72334}" type="sibTrans" cxnId="{77CBAD30-7394-49B0-9F9D-9E03E94424F8}">
      <dgm:prSet/>
      <dgm:spPr/>
      <dgm:t>
        <a:bodyPr/>
        <a:lstStyle/>
        <a:p>
          <a:endParaRPr lang="en-US"/>
        </a:p>
      </dgm:t>
    </dgm:pt>
    <dgm:pt modelId="{2285B860-9CE9-43F7-841F-C8DCBF2347D9}">
      <dgm:prSet/>
      <dgm:spPr/>
      <dgm:t>
        <a:bodyPr/>
        <a:lstStyle/>
        <a:p>
          <a:r>
            <a:rPr lang="en-US" dirty="0"/>
            <a:t>Provide security contact details</a:t>
          </a:r>
        </a:p>
      </dgm:t>
    </dgm:pt>
    <dgm:pt modelId="{BA32EEB9-0551-4A3B-B91F-3FAD6CC1E8FB}" type="parTrans" cxnId="{CB92A618-F75A-4802-AECA-E26AF5C70854}">
      <dgm:prSet/>
      <dgm:spPr/>
      <dgm:t>
        <a:bodyPr/>
        <a:lstStyle/>
        <a:p>
          <a:endParaRPr lang="en-US"/>
        </a:p>
      </dgm:t>
    </dgm:pt>
    <dgm:pt modelId="{75DCA104-7865-483E-A187-AD40672250A3}" type="sibTrans" cxnId="{CB92A618-F75A-4802-AECA-E26AF5C70854}">
      <dgm:prSet/>
      <dgm:spPr/>
      <dgm:t>
        <a:bodyPr/>
        <a:lstStyle/>
        <a:p>
          <a:endParaRPr lang="en-US"/>
        </a:p>
      </dgm:t>
    </dgm:pt>
    <dgm:pt modelId="{EFBE20F1-587C-42B3-A261-30945527E2AB}">
      <dgm:prSet/>
      <dgm:spPr/>
      <dgm:t>
        <a:bodyPr/>
        <a:lstStyle/>
        <a:p>
          <a:r>
            <a:rPr lang="en-US" dirty="0"/>
            <a:t>Update OS version</a:t>
          </a:r>
        </a:p>
      </dgm:t>
    </dgm:pt>
    <dgm:pt modelId="{CBD49520-31CE-499B-B4B7-101509877CAE}" type="parTrans" cxnId="{F565B968-572F-4E65-8D4A-7543E4138A4A}">
      <dgm:prSet/>
      <dgm:spPr/>
      <dgm:t>
        <a:bodyPr/>
        <a:lstStyle/>
        <a:p>
          <a:endParaRPr lang="en-US"/>
        </a:p>
      </dgm:t>
    </dgm:pt>
    <dgm:pt modelId="{21F10E71-065B-4B7F-9C3C-1F7F84EB7C0A}" type="sibTrans" cxnId="{F565B968-572F-4E65-8D4A-7543E4138A4A}">
      <dgm:prSet/>
      <dgm:spPr/>
      <dgm:t>
        <a:bodyPr/>
        <a:lstStyle/>
        <a:p>
          <a:endParaRPr lang="en-US"/>
        </a:p>
      </dgm:t>
    </dgm:pt>
    <dgm:pt modelId="{50FF4640-1519-4881-B20D-014948FC4BCB}">
      <dgm:prSet/>
      <dgm:spPr/>
      <dgm:t>
        <a:bodyPr/>
        <a:lstStyle/>
        <a:p>
          <a:r>
            <a:rPr lang="en-US" dirty="0"/>
            <a:t>Vulnerability assessment not installed</a:t>
          </a:r>
        </a:p>
      </dgm:t>
    </dgm:pt>
    <dgm:pt modelId="{25C37AA2-4A06-4464-AD95-E79C6E4A1E64}" type="parTrans" cxnId="{37E18B50-D50C-4A00-A9A1-B6C4C4E31A05}">
      <dgm:prSet/>
      <dgm:spPr/>
      <dgm:t>
        <a:bodyPr/>
        <a:lstStyle/>
        <a:p>
          <a:endParaRPr lang="en-US"/>
        </a:p>
      </dgm:t>
    </dgm:pt>
    <dgm:pt modelId="{0146E612-B507-4F80-B490-B52F7FB66190}" type="sibTrans" cxnId="{37E18B50-D50C-4A00-A9A1-B6C4C4E31A05}">
      <dgm:prSet/>
      <dgm:spPr/>
      <dgm:t>
        <a:bodyPr/>
        <a:lstStyle/>
        <a:p>
          <a:endParaRPr lang="en-US"/>
        </a:p>
      </dgm:t>
    </dgm:pt>
    <dgm:pt modelId="{3A4F01FA-D6C1-415A-9FB4-F415F66C42EC}">
      <dgm:prSet/>
      <dgm:spPr/>
      <dgm:t>
        <a:bodyPr/>
        <a:lstStyle/>
        <a:p>
          <a:r>
            <a:rPr lang="en-US" dirty="0"/>
            <a:t>Remediate vulnerabilities</a:t>
          </a:r>
        </a:p>
      </dgm:t>
    </dgm:pt>
    <dgm:pt modelId="{ADED6335-459A-42B0-8352-16ECCABC96C2}" type="parTrans" cxnId="{C82BC59F-AD68-4813-99C5-E8F2AF16A7AE}">
      <dgm:prSet/>
      <dgm:spPr/>
      <dgm:t>
        <a:bodyPr/>
        <a:lstStyle/>
        <a:p>
          <a:endParaRPr lang="en-US"/>
        </a:p>
      </dgm:t>
    </dgm:pt>
    <dgm:pt modelId="{A2F3F308-0D3D-41C5-AC58-C85E540B7593}" type="sibTrans" cxnId="{C82BC59F-AD68-4813-99C5-E8F2AF16A7AE}">
      <dgm:prSet/>
      <dgm:spPr/>
      <dgm:t>
        <a:bodyPr/>
        <a:lstStyle/>
        <a:p>
          <a:endParaRPr lang="en-US"/>
        </a:p>
      </dgm:t>
    </dgm:pt>
    <dgm:pt modelId="{47130BE8-DDEA-44F3-B05D-93A939E3E72B}">
      <dgm:prSet/>
      <dgm:spPr/>
      <dgm:t>
        <a:bodyPr/>
        <a:lstStyle/>
        <a:p>
          <a:r>
            <a:rPr lang="en-US" dirty="0"/>
            <a:t>Enable encryption for Azure Storage Account</a:t>
          </a:r>
        </a:p>
      </dgm:t>
    </dgm:pt>
    <dgm:pt modelId="{253EFF8B-4760-4502-86F9-2E9C1C48A060}" type="parTrans" cxnId="{6665A617-A07C-454D-89EA-8D85A3481E0F}">
      <dgm:prSet/>
      <dgm:spPr/>
      <dgm:t>
        <a:bodyPr/>
        <a:lstStyle/>
        <a:p>
          <a:endParaRPr lang="en-US"/>
        </a:p>
      </dgm:t>
    </dgm:pt>
    <dgm:pt modelId="{AAEFC12C-EC29-4647-B5BC-7B4562074E4F}" type="sibTrans" cxnId="{6665A617-A07C-454D-89EA-8D85A3481E0F}">
      <dgm:prSet/>
      <dgm:spPr/>
      <dgm:t>
        <a:bodyPr/>
        <a:lstStyle/>
        <a:p>
          <a:endParaRPr lang="en-US"/>
        </a:p>
      </dgm:t>
    </dgm:pt>
    <dgm:pt modelId="{F42F10AB-4B42-49A7-B360-2DE2A429F34D}" type="pres">
      <dgm:prSet presAssocID="{C429F172-266E-4194-B325-3535962682A2}" presName="diagram" presStyleCnt="0">
        <dgm:presLayoutVars>
          <dgm:dir/>
          <dgm:resizeHandles val="exact"/>
        </dgm:presLayoutVars>
      </dgm:prSet>
      <dgm:spPr/>
    </dgm:pt>
    <dgm:pt modelId="{39FEDA95-23FE-49DB-9E30-EF6C3EF529CD}" type="pres">
      <dgm:prSet presAssocID="{25D1D2E0-2852-4E4E-ABAD-5368BECDB914}" presName="node" presStyleLbl="node1" presStyleIdx="0" presStyleCnt="23">
        <dgm:presLayoutVars>
          <dgm:bulletEnabled val="1"/>
        </dgm:presLayoutVars>
      </dgm:prSet>
      <dgm:spPr/>
    </dgm:pt>
    <dgm:pt modelId="{27FDA425-1A93-4885-AB3E-BBF984DDDFCD}" type="pres">
      <dgm:prSet presAssocID="{EAA04C2B-DA46-46E2-8AFE-4872D6953DF5}" presName="sibTrans" presStyleCnt="0"/>
      <dgm:spPr/>
    </dgm:pt>
    <dgm:pt modelId="{0909C2B4-C659-4C5A-878A-A373B015E349}" type="pres">
      <dgm:prSet presAssocID="{93705A61-7CA0-4F87-B3D7-AACFFF79B6EB}" presName="node" presStyleLbl="node1" presStyleIdx="1" presStyleCnt="23">
        <dgm:presLayoutVars>
          <dgm:bulletEnabled val="1"/>
        </dgm:presLayoutVars>
      </dgm:prSet>
      <dgm:spPr/>
    </dgm:pt>
    <dgm:pt modelId="{C6FF04D9-C27F-4F24-9D08-F03FDC473129}" type="pres">
      <dgm:prSet presAssocID="{72EAAA08-D1A5-43A2-89F9-7DD2862BCFCB}" presName="sibTrans" presStyleCnt="0"/>
      <dgm:spPr/>
    </dgm:pt>
    <dgm:pt modelId="{B2BE80C3-9EC5-4246-B6E4-2B3F67FCBF1A}" type="pres">
      <dgm:prSet presAssocID="{9B9C6DD0-8DFB-43F4-A488-F4C6DE343BAB}" presName="node" presStyleLbl="node1" presStyleIdx="2" presStyleCnt="23">
        <dgm:presLayoutVars>
          <dgm:bulletEnabled val="1"/>
        </dgm:presLayoutVars>
      </dgm:prSet>
      <dgm:spPr/>
    </dgm:pt>
    <dgm:pt modelId="{995F2AF1-58D1-40A8-A213-42D4FD3ED9AC}" type="pres">
      <dgm:prSet presAssocID="{257631A1-1A92-4BF1-9CDB-5B7C73FD1ECA}" presName="sibTrans" presStyleCnt="0"/>
      <dgm:spPr/>
    </dgm:pt>
    <dgm:pt modelId="{BCF96262-7C34-4B54-8AEB-35A02DCF376B}" type="pres">
      <dgm:prSet presAssocID="{19D26646-8122-463A-84DC-7827C116EBAF}" presName="node" presStyleLbl="node1" presStyleIdx="3" presStyleCnt="23">
        <dgm:presLayoutVars>
          <dgm:bulletEnabled val="1"/>
        </dgm:presLayoutVars>
      </dgm:prSet>
      <dgm:spPr/>
    </dgm:pt>
    <dgm:pt modelId="{4F0CA0D7-044C-4BDC-BE3F-C6ECC98760D9}" type="pres">
      <dgm:prSet presAssocID="{D62CAC0B-89E9-4B18-9B48-35853112690F}" presName="sibTrans" presStyleCnt="0"/>
      <dgm:spPr/>
    </dgm:pt>
    <dgm:pt modelId="{D0E75F77-FDF3-43F5-BF49-9345F0AF20E8}" type="pres">
      <dgm:prSet presAssocID="{46B0A1BB-06F0-4CB0-AC13-B7598BAD1ED7}" presName="node" presStyleLbl="node1" presStyleIdx="4" presStyleCnt="23">
        <dgm:presLayoutVars>
          <dgm:bulletEnabled val="1"/>
        </dgm:presLayoutVars>
      </dgm:prSet>
      <dgm:spPr/>
    </dgm:pt>
    <dgm:pt modelId="{3F678E94-8EC4-4CD4-8942-A33A7077267B}" type="pres">
      <dgm:prSet presAssocID="{35518362-0C02-44A6-8C6D-30AA203827AA}" presName="sibTrans" presStyleCnt="0"/>
      <dgm:spPr/>
    </dgm:pt>
    <dgm:pt modelId="{B907C098-85C0-423B-BE73-E265BF4224FB}" type="pres">
      <dgm:prSet presAssocID="{A0C5606F-FC8C-4CE9-8BB6-A14ED87CB8BA}" presName="node" presStyleLbl="node1" presStyleIdx="5" presStyleCnt="23">
        <dgm:presLayoutVars>
          <dgm:bulletEnabled val="1"/>
        </dgm:presLayoutVars>
      </dgm:prSet>
      <dgm:spPr/>
    </dgm:pt>
    <dgm:pt modelId="{FA2E82FA-A178-428F-8E24-3EA1EC7FD1E3}" type="pres">
      <dgm:prSet presAssocID="{348F3A74-1EC3-4A1C-B662-88FB3A9A8036}" presName="sibTrans" presStyleCnt="0"/>
      <dgm:spPr/>
    </dgm:pt>
    <dgm:pt modelId="{B187B364-FD3F-46D0-AEB7-88CA90933649}" type="pres">
      <dgm:prSet presAssocID="{0C30FAF9-EFBB-4F6C-85AC-53B394B4B5B1}" presName="node" presStyleLbl="node1" presStyleIdx="6" presStyleCnt="23">
        <dgm:presLayoutVars>
          <dgm:bulletEnabled val="1"/>
        </dgm:presLayoutVars>
      </dgm:prSet>
      <dgm:spPr/>
    </dgm:pt>
    <dgm:pt modelId="{A5A91BEC-3963-44A7-88B5-B9398E47EE82}" type="pres">
      <dgm:prSet presAssocID="{3EA87BDF-DCCD-47E2-9AD3-A310D3613672}" presName="sibTrans" presStyleCnt="0"/>
      <dgm:spPr/>
    </dgm:pt>
    <dgm:pt modelId="{6B8737CB-6C23-4331-B53E-365287512F22}" type="pres">
      <dgm:prSet presAssocID="{55150165-89AD-4A2C-961A-AFC6FD042954}" presName="node" presStyleLbl="node1" presStyleIdx="7" presStyleCnt="23">
        <dgm:presLayoutVars>
          <dgm:bulletEnabled val="1"/>
        </dgm:presLayoutVars>
      </dgm:prSet>
      <dgm:spPr/>
    </dgm:pt>
    <dgm:pt modelId="{E288FB44-3B09-41A6-8C08-58A337D00FEC}" type="pres">
      <dgm:prSet presAssocID="{F445D2F4-ABD9-47CC-AF88-CA4F835748D9}" presName="sibTrans" presStyleCnt="0"/>
      <dgm:spPr/>
    </dgm:pt>
    <dgm:pt modelId="{3062C5F8-6F89-446B-B50F-FE62BEB4D3FB}" type="pres">
      <dgm:prSet presAssocID="{3C45F6F0-0299-4219-8690-18D91D2390C3}" presName="node" presStyleLbl="node1" presStyleIdx="8" presStyleCnt="23">
        <dgm:presLayoutVars>
          <dgm:bulletEnabled val="1"/>
        </dgm:presLayoutVars>
      </dgm:prSet>
      <dgm:spPr/>
    </dgm:pt>
    <dgm:pt modelId="{595DF957-E05A-40E4-856B-A0D90A187971}" type="pres">
      <dgm:prSet presAssocID="{AD19434A-C14E-4478-AD57-8D4A1DA02285}" presName="sibTrans" presStyleCnt="0"/>
      <dgm:spPr/>
    </dgm:pt>
    <dgm:pt modelId="{A7799332-B546-445E-B50A-B219179AC0A6}" type="pres">
      <dgm:prSet presAssocID="{9B171FC1-30AF-45BB-BAD9-6043CDAA3FBD}" presName="node" presStyleLbl="node1" presStyleIdx="9" presStyleCnt="23">
        <dgm:presLayoutVars>
          <dgm:bulletEnabled val="1"/>
        </dgm:presLayoutVars>
      </dgm:prSet>
      <dgm:spPr/>
    </dgm:pt>
    <dgm:pt modelId="{BF2818C9-9960-4708-9837-3F6E4F27613D}" type="pres">
      <dgm:prSet presAssocID="{B25D28F7-25D3-4D02-AAE2-5C31E6ADACC8}" presName="sibTrans" presStyleCnt="0"/>
      <dgm:spPr/>
    </dgm:pt>
    <dgm:pt modelId="{F4AFEBDC-F908-4AB0-A868-1CF77AE48385}" type="pres">
      <dgm:prSet presAssocID="{185FF32F-2D01-4E6D-AF57-BBF3D79349AD}" presName="node" presStyleLbl="node1" presStyleIdx="10" presStyleCnt="23">
        <dgm:presLayoutVars>
          <dgm:bulletEnabled val="1"/>
        </dgm:presLayoutVars>
      </dgm:prSet>
      <dgm:spPr/>
    </dgm:pt>
    <dgm:pt modelId="{971104C1-74F8-46AA-98F8-8F96993AA28C}" type="pres">
      <dgm:prSet presAssocID="{6508A1EC-081B-4CE6-A9EE-B3DF2EBE28D3}" presName="sibTrans" presStyleCnt="0"/>
      <dgm:spPr/>
    </dgm:pt>
    <dgm:pt modelId="{5EDD574E-95F8-4660-8299-EF3744081250}" type="pres">
      <dgm:prSet presAssocID="{52EA6900-F156-4F5C-A9F5-2E5CC4C059E2}" presName="node" presStyleLbl="node1" presStyleIdx="11" presStyleCnt="23">
        <dgm:presLayoutVars>
          <dgm:bulletEnabled val="1"/>
        </dgm:presLayoutVars>
      </dgm:prSet>
      <dgm:spPr/>
    </dgm:pt>
    <dgm:pt modelId="{DC748E52-A2F3-4188-BFE0-0CED78D091F9}" type="pres">
      <dgm:prSet presAssocID="{07829E7A-AE74-4BC3-AADB-36FF9D736E4B}" presName="sibTrans" presStyleCnt="0"/>
      <dgm:spPr/>
    </dgm:pt>
    <dgm:pt modelId="{CA8F25AB-98B8-44B3-9FC1-F21D971D1881}" type="pres">
      <dgm:prSet presAssocID="{0A2B51E7-4FFD-4237-8698-5D68C95C89D4}" presName="node" presStyleLbl="node1" presStyleIdx="12" presStyleCnt="23">
        <dgm:presLayoutVars>
          <dgm:bulletEnabled val="1"/>
        </dgm:presLayoutVars>
      </dgm:prSet>
      <dgm:spPr/>
    </dgm:pt>
    <dgm:pt modelId="{EEE041E9-DF0B-4A34-933F-436908B11230}" type="pres">
      <dgm:prSet presAssocID="{A1CA6C7B-61EE-4ABE-9055-A2F035D3E9D6}" presName="sibTrans" presStyleCnt="0"/>
      <dgm:spPr/>
    </dgm:pt>
    <dgm:pt modelId="{CD344EC9-0E27-4D67-87D3-D35266AAC5ED}" type="pres">
      <dgm:prSet presAssocID="{99806B4D-36F6-4464-949F-9D98F89D8C6F}" presName="node" presStyleLbl="node1" presStyleIdx="13" presStyleCnt="23">
        <dgm:presLayoutVars>
          <dgm:bulletEnabled val="1"/>
        </dgm:presLayoutVars>
      </dgm:prSet>
      <dgm:spPr/>
    </dgm:pt>
    <dgm:pt modelId="{02D290A6-CA2D-4716-9CF9-D92DC0DABA1D}" type="pres">
      <dgm:prSet presAssocID="{488F2EFE-ADCF-4CF0-AAD2-EAD1AE7248D1}" presName="sibTrans" presStyleCnt="0"/>
      <dgm:spPr/>
    </dgm:pt>
    <dgm:pt modelId="{A7215453-12BF-4121-AA53-479F3205BD28}" type="pres">
      <dgm:prSet presAssocID="{69F1B950-8D36-4928-8C1C-24CBD2963852}" presName="node" presStyleLbl="node1" presStyleIdx="14" presStyleCnt="23">
        <dgm:presLayoutVars>
          <dgm:bulletEnabled val="1"/>
        </dgm:presLayoutVars>
      </dgm:prSet>
      <dgm:spPr/>
    </dgm:pt>
    <dgm:pt modelId="{0825A7B7-7D56-45D4-BCFA-274CD98AED5C}" type="pres">
      <dgm:prSet presAssocID="{D12F9FD1-4BBC-4960-B2E2-DE716A060488}" presName="sibTrans" presStyleCnt="0"/>
      <dgm:spPr/>
    </dgm:pt>
    <dgm:pt modelId="{4A8B55CB-9A23-4CE2-BD5F-54DB1337AD38}" type="pres">
      <dgm:prSet presAssocID="{48C00A8D-1255-4FE9-B441-11440415C1AD}" presName="node" presStyleLbl="node1" presStyleIdx="15" presStyleCnt="23">
        <dgm:presLayoutVars>
          <dgm:bulletEnabled val="1"/>
        </dgm:presLayoutVars>
      </dgm:prSet>
      <dgm:spPr/>
    </dgm:pt>
    <dgm:pt modelId="{4E059900-E37C-4C30-A942-B68705F18468}" type="pres">
      <dgm:prSet presAssocID="{4DC23B2C-AFD2-4530-9597-9BC5E0BAC1AC}" presName="sibTrans" presStyleCnt="0"/>
      <dgm:spPr/>
    </dgm:pt>
    <dgm:pt modelId="{8AF9124B-9262-4840-8D26-0E52FFC12786}" type="pres">
      <dgm:prSet presAssocID="{DEFA167D-7118-4FFC-B2D3-73E723D351FE}" presName="node" presStyleLbl="node1" presStyleIdx="16" presStyleCnt="23">
        <dgm:presLayoutVars>
          <dgm:bulletEnabled val="1"/>
        </dgm:presLayoutVars>
      </dgm:prSet>
      <dgm:spPr/>
    </dgm:pt>
    <dgm:pt modelId="{94A6673F-3DAB-4A12-9177-E9F21A5C6588}" type="pres">
      <dgm:prSet presAssocID="{960AC741-F7A9-43AA-8019-78388945C23D}" presName="sibTrans" presStyleCnt="0"/>
      <dgm:spPr/>
    </dgm:pt>
    <dgm:pt modelId="{A547AC15-40F5-4255-AD61-E291A6618465}" type="pres">
      <dgm:prSet presAssocID="{4A80591E-B182-474F-99F0-80D38B9CA4B0}" presName="node" presStyleLbl="node1" presStyleIdx="17" presStyleCnt="23">
        <dgm:presLayoutVars>
          <dgm:bulletEnabled val="1"/>
        </dgm:presLayoutVars>
      </dgm:prSet>
      <dgm:spPr/>
    </dgm:pt>
    <dgm:pt modelId="{08584438-C509-4663-A3B2-562E90C444F8}" type="pres">
      <dgm:prSet presAssocID="{BC44DD2F-8D95-4803-886F-A4D846B72334}" presName="sibTrans" presStyleCnt="0"/>
      <dgm:spPr/>
    </dgm:pt>
    <dgm:pt modelId="{18547B21-B553-4768-88A8-D57CE3405A9A}" type="pres">
      <dgm:prSet presAssocID="{2285B860-9CE9-43F7-841F-C8DCBF2347D9}" presName="node" presStyleLbl="node1" presStyleIdx="18" presStyleCnt="23">
        <dgm:presLayoutVars>
          <dgm:bulletEnabled val="1"/>
        </dgm:presLayoutVars>
      </dgm:prSet>
      <dgm:spPr/>
    </dgm:pt>
    <dgm:pt modelId="{B0B0F1A9-59A3-460B-A326-458E58A45F05}" type="pres">
      <dgm:prSet presAssocID="{75DCA104-7865-483E-A187-AD40672250A3}" presName="sibTrans" presStyleCnt="0"/>
      <dgm:spPr/>
    </dgm:pt>
    <dgm:pt modelId="{54AA26A7-EF6F-4758-82EE-C2D852DE1D92}" type="pres">
      <dgm:prSet presAssocID="{EFBE20F1-587C-42B3-A261-30945527E2AB}" presName="node" presStyleLbl="node1" presStyleIdx="19" presStyleCnt="23">
        <dgm:presLayoutVars>
          <dgm:bulletEnabled val="1"/>
        </dgm:presLayoutVars>
      </dgm:prSet>
      <dgm:spPr/>
    </dgm:pt>
    <dgm:pt modelId="{FF308B10-A86F-4F5A-83F5-DE311D82A1C3}" type="pres">
      <dgm:prSet presAssocID="{21F10E71-065B-4B7F-9C3C-1F7F84EB7C0A}" presName="sibTrans" presStyleCnt="0"/>
      <dgm:spPr/>
    </dgm:pt>
    <dgm:pt modelId="{CF398DCF-BADD-4138-B73C-03B2E55F12E3}" type="pres">
      <dgm:prSet presAssocID="{50FF4640-1519-4881-B20D-014948FC4BCB}" presName="node" presStyleLbl="node1" presStyleIdx="20" presStyleCnt="23">
        <dgm:presLayoutVars>
          <dgm:bulletEnabled val="1"/>
        </dgm:presLayoutVars>
      </dgm:prSet>
      <dgm:spPr/>
    </dgm:pt>
    <dgm:pt modelId="{F4A37CE3-2405-477C-A6DB-98ED718E9B85}" type="pres">
      <dgm:prSet presAssocID="{0146E612-B507-4F80-B490-B52F7FB66190}" presName="sibTrans" presStyleCnt="0"/>
      <dgm:spPr/>
    </dgm:pt>
    <dgm:pt modelId="{146B313C-C2A0-43B6-910F-95BE7F0A6539}" type="pres">
      <dgm:prSet presAssocID="{3A4F01FA-D6C1-415A-9FB4-F415F66C42EC}" presName="node" presStyleLbl="node1" presStyleIdx="21" presStyleCnt="23">
        <dgm:presLayoutVars>
          <dgm:bulletEnabled val="1"/>
        </dgm:presLayoutVars>
      </dgm:prSet>
      <dgm:spPr/>
    </dgm:pt>
    <dgm:pt modelId="{C6B3448C-7508-492E-9CA3-98624E5FA02D}" type="pres">
      <dgm:prSet presAssocID="{A2F3F308-0D3D-41C5-AC58-C85E540B7593}" presName="sibTrans" presStyleCnt="0"/>
      <dgm:spPr/>
    </dgm:pt>
    <dgm:pt modelId="{FF66D753-54FA-4F7A-88B7-DC3AEB0FB0D1}" type="pres">
      <dgm:prSet presAssocID="{47130BE8-DDEA-44F3-B05D-93A939E3E72B}" presName="node" presStyleLbl="node1" presStyleIdx="22" presStyleCnt="23">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9B0A3703-1EC9-412E-854C-FD5D327B5296}" type="presOf" srcId="{55150165-89AD-4A2C-961A-AFC6FD042954}" destId="{6B8737CB-6C23-4331-B53E-365287512F22}" srcOrd="0" destOrd="0" presId="urn:microsoft.com/office/officeart/2005/8/layout/default"/>
    <dgm:cxn modelId="{F07EE306-94B3-42E4-B9E4-ACE23047FACC}" type="presOf" srcId="{9B171FC1-30AF-45BB-BAD9-6043CDAA3FBD}" destId="{A7799332-B546-445E-B50A-B219179AC0A6}" srcOrd="0" destOrd="0" presId="urn:microsoft.com/office/officeart/2005/8/layout/default"/>
    <dgm:cxn modelId="{7BF2AD07-E0B6-4E73-9BA4-927A73D23980}" type="presOf" srcId="{0C30FAF9-EFBB-4F6C-85AC-53B394B4B5B1}" destId="{B187B364-FD3F-46D0-AEB7-88CA90933649}" srcOrd="0" destOrd="0" presId="urn:microsoft.com/office/officeart/2005/8/layout/default"/>
    <dgm:cxn modelId="{4D3F910A-E6B8-4EB7-9C0E-E1FA42A324D0}" type="presOf" srcId="{25D1D2E0-2852-4E4E-ABAD-5368BECDB914}" destId="{39FEDA95-23FE-49DB-9E30-EF6C3EF529CD}" srcOrd="0" destOrd="0" presId="urn:microsoft.com/office/officeart/2005/8/layout/default"/>
    <dgm:cxn modelId="{6E085110-3468-4A88-AC0F-B76E9C6AE244}" srcId="{C429F172-266E-4194-B325-3535962682A2}" destId="{9B9C6DD0-8DFB-43F4-A488-F4C6DE343BAB}" srcOrd="2" destOrd="0" parTransId="{437C02BD-DE0E-4ED6-9AF6-F5753092F247}" sibTransId="{257631A1-1A92-4BF1-9CDB-5B7C73FD1ECA}"/>
    <dgm:cxn modelId="{B1FE7213-C4BB-442B-B2B4-1F5F0DD1564D}" type="presOf" srcId="{0A2B51E7-4FFD-4237-8698-5D68C95C89D4}" destId="{CA8F25AB-98B8-44B3-9FC1-F21D971D1881}" srcOrd="0" destOrd="0" presId="urn:microsoft.com/office/officeart/2005/8/layout/default"/>
    <dgm:cxn modelId="{6665A617-A07C-454D-89EA-8D85A3481E0F}" srcId="{C429F172-266E-4194-B325-3535962682A2}" destId="{47130BE8-DDEA-44F3-B05D-93A939E3E72B}" srcOrd="22" destOrd="0" parTransId="{253EFF8B-4760-4502-86F9-2E9C1C48A060}" sibTransId="{AAEFC12C-EC29-4647-B5BC-7B4562074E4F}"/>
    <dgm:cxn modelId="{CB92A618-F75A-4802-AECA-E26AF5C70854}" srcId="{C429F172-266E-4194-B325-3535962682A2}" destId="{2285B860-9CE9-43F7-841F-C8DCBF2347D9}" srcOrd="18" destOrd="0" parTransId="{BA32EEB9-0551-4A3B-B91F-3FAD6CC1E8FB}" sibTransId="{75DCA104-7865-483E-A187-AD40672250A3}"/>
    <dgm:cxn modelId="{5587AE18-8529-4E4F-B29B-F410E2B36868}" type="presOf" srcId="{C429F172-266E-4194-B325-3535962682A2}" destId="{F42F10AB-4B42-49A7-B360-2DE2A429F34D}" srcOrd="0" destOrd="0" presId="urn:microsoft.com/office/officeart/2005/8/layout/default"/>
    <dgm:cxn modelId="{03BCF41E-104B-48E7-9A4A-FD9588D0EEF0}" srcId="{C429F172-266E-4194-B325-3535962682A2}" destId="{185FF32F-2D01-4E6D-AF57-BBF3D79349AD}" srcOrd="10" destOrd="0" parTransId="{33C0BB21-0A4A-43F1-9583-F080F3D81ACD}" sibTransId="{6508A1EC-081B-4CE6-A9EE-B3DF2EBE28D3}"/>
    <dgm:cxn modelId="{47A7E721-9E1F-4F1F-B4F4-766B6EC49053}" type="presOf" srcId="{46B0A1BB-06F0-4CB0-AC13-B7598BAD1ED7}" destId="{D0E75F77-FDF3-43F5-BF49-9345F0AF20E8}" srcOrd="0" destOrd="0" presId="urn:microsoft.com/office/officeart/2005/8/layout/default"/>
    <dgm:cxn modelId="{6CCFA022-6B6F-43F1-B465-FDAECFE08975}" srcId="{C429F172-266E-4194-B325-3535962682A2}" destId="{93705A61-7CA0-4F87-B3D7-AACFFF79B6EB}" srcOrd="1" destOrd="0" parTransId="{BF6C80D3-2594-4F54-A894-413768BCE79F}" sibTransId="{72EAAA08-D1A5-43A2-89F9-7DD2862BCFCB}"/>
    <dgm:cxn modelId="{74ECDA2B-3C2A-400E-BE8F-924F7E70D74C}" type="presOf" srcId="{DEFA167D-7118-4FFC-B2D3-73E723D351FE}" destId="{8AF9124B-9262-4840-8D26-0E52FFC12786}" srcOrd="0" destOrd="0" presId="urn:microsoft.com/office/officeart/2005/8/layout/default"/>
    <dgm:cxn modelId="{B5CCAC2C-B248-49FE-BB65-4FE3D80F7B6E}" srcId="{C429F172-266E-4194-B325-3535962682A2}" destId="{DEFA167D-7118-4FFC-B2D3-73E723D351FE}" srcOrd="16" destOrd="0" parTransId="{3A635FDC-A8F1-444A-99B6-E71DD8AC6179}" sibTransId="{960AC741-F7A9-43AA-8019-78388945C23D}"/>
    <dgm:cxn modelId="{77CBAD30-7394-49B0-9F9D-9E03E94424F8}" srcId="{C429F172-266E-4194-B325-3535962682A2}" destId="{4A80591E-B182-474F-99F0-80D38B9CA4B0}" srcOrd="17" destOrd="0" parTransId="{E50CD904-846D-4C1A-BDA5-19F117BE5FA1}" sibTransId="{BC44DD2F-8D95-4803-886F-A4D846B72334}"/>
    <dgm:cxn modelId="{80015139-4DED-4111-A833-E073CE3F8FBA}" type="presOf" srcId="{185FF32F-2D01-4E6D-AF57-BBF3D79349AD}" destId="{F4AFEBDC-F908-4AB0-A868-1CF77AE48385}" srcOrd="0" destOrd="0" presId="urn:microsoft.com/office/officeart/2005/8/layout/default"/>
    <dgm:cxn modelId="{833B203C-B130-44BF-ADF8-7195BDAA3751}" type="presOf" srcId="{9B9C6DD0-8DFB-43F4-A488-F4C6DE343BAB}" destId="{B2BE80C3-9EC5-4246-B6E4-2B3F67FCBF1A}" srcOrd="0" destOrd="0" presId="urn:microsoft.com/office/officeart/2005/8/layout/default"/>
    <dgm:cxn modelId="{5CB5853D-3D30-4988-8E49-230D4A79CD32}" srcId="{C429F172-266E-4194-B325-3535962682A2}" destId="{9B171FC1-30AF-45BB-BAD9-6043CDAA3FBD}" srcOrd="9" destOrd="0" parTransId="{85E06E5A-DD0B-4E03-8BEC-0070CF7183B9}" sibTransId="{B25D28F7-25D3-4D02-AAE2-5C31E6ADACC8}"/>
    <dgm:cxn modelId="{A9F78C5F-7D69-42FE-A70C-D551D7DE354E}" type="presOf" srcId="{52EA6900-F156-4F5C-A9F5-2E5CC4C059E2}" destId="{5EDD574E-95F8-4660-8299-EF3744081250}" srcOrd="0" destOrd="0" presId="urn:microsoft.com/office/officeart/2005/8/layout/default"/>
    <dgm:cxn modelId="{8CC9BB60-8CD8-4E8D-9104-685C82A0C4C4}" type="presOf" srcId="{3A4F01FA-D6C1-415A-9FB4-F415F66C42EC}" destId="{146B313C-C2A0-43B6-910F-95BE7F0A6539}" srcOrd="0" destOrd="0" presId="urn:microsoft.com/office/officeart/2005/8/layout/default"/>
    <dgm:cxn modelId="{BA84C760-B4E4-456D-B417-EEC8C25BDA79}" srcId="{C429F172-266E-4194-B325-3535962682A2}" destId="{0C30FAF9-EFBB-4F6C-85AC-53B394B4B5B1}" srcOrd="6" destOrd="0" parTransId="{42FD2D0A-34EE-4BD2-8B7E-34B32C151FF8}" sibTransId="{3EA87BDF-DCCD-47E2-9AD3-A310D3613672}"/>
    <dgm:cxn modelId="{F1694762-08A0-4E50-85BD-C605EC867FF3}" type="presOf" srcId="{2285B860-9CE9-43F7-841F-C8DCBF2347D9}" destId="{18547B21-B553-4768-88A8-D57CE3405A9A}" srcOrd="0" destOrd="0" presId="urn:microsoft.com/office/officeart/2005/8/layout/default"/>
    <dgm:cxn modelId="{0EF1FA62-92E4-4626-BC06-F5BE06137E17}" srcId="{C429F172-266E-4194-B325-3535962682A2}" destId="{46B0A1BB-06F0-4CB0-AC13-B7598BAD1ED7}" srcOrd="4" destOrd="0" parTransId="{DABCBC4C-D746-43D3-8440-6984F33D274B}" sibTransId="{35518362-0C02-44A6-8C6D-30AA203827AA}"/>
    <dgm:cxn modelId="{ADB39548-53FA-43A4-84AA-13520B938F52}" srcId="{C429F172-266E-4194-B325-3535962682A2}" destId="{52EA6900-F156-4F5C-A9F5-2E5CC4C059E2}" srcOrd="11" destOrd="0" parTransId="{40160616-3AC2-4793-A231-145721B7F618}" sibTransId="{07829E7A-AE74-4BC3-AADB-36FF9D736E4B}"/>
    <dgm:cxn modelId="{F565B968-572F-4E65-8D4A-7543E4138A4A}" srcId="{C429F172-266E-4194-B325-3535962682A2}" destId="{EFBE20F1-587C-42B3-A261-30945527E2AB}" srcOrd="19" destOrd="0" parTransId="{CBD49520-31CE-499B-B4B7-101509877CAE}" sibTransId="{21F10E71-065B-4B7F-9C3C-1F7F84EB7C0A}"/>
    <dgm:cxn modelId="{D74E5C6A-4971-425A-AA7E-93AC2D05EDA9}" srcId="{C429F172-266E-4194-B325-3535962682A2}" destId="{3C45F6F0-0299-4219-8690-18D91D2390C3}" srcOrd="8" destOrd="0" parTransId="{263008D4-9728-44ED-A5F1-1126E08950AD}" sibTransId="{AD19434A-C14E-4478-AD57-8D4A1DA02285}"/>
    <dgm:cxn modelId="{AACECF6B-B8EE-4CFE-AD41-C4427E394297}" srcId="{C429F172-266E-4194-B325-3535962682A2}" destId="{55150165-89AD-4A2C-961A-AFC6FD042954}" srcOrd="7" destOrd="0" parTransId="{C2E421D1-9517-4870-893E-7B03261903AB}" sibTransId="{F445D2F4-ABD9-47CC-AF88-CA4F835748D9}"/>
    <dgm:cxn modelId="{2FA57F4C-78E4-43B9-9FE4-621161FFA0C6}" type="presOf" srcId="{47130BE8-DDEA-44F3-B05D-93A939E3E72B}" destId="{FF66D753-54FA-4F7A-88B7-DC3AEB0FB0D1}" srcOrd="0" destOrd="0" presId="urn:microsoft.com/office/officeart/2005/8/layout/default"/>
    <dgm:cxn modelId="{37E18B50-D50C-4A00-A9A1-B6C4C4E31A05}" srcId="{C429F172-266E-4194-B325-3535962682A2}" destId="{50FF4640-1519-4881-B20D-014948FC4BCB}" srcOrd="20" destOrd="0" parTransId="{25C37AA2-4A06-4464-AD95-E79C6E4A1E64}" sibTransId="{0146E612-B507-4F80-B490-B52F7FB66190}"/>
    <dgm:cxn modelId="{3CB1C572-9478-4CF7-A543-1B59E85DC2DA}" type="presOf" srcId="{4A80591E-B182-474F-99F0-80D38B9CA4B0}" destId="{A547AC15-40F5-4255-AD61-E291A6618465}" srcOrd="0" destOrd="0" presId="urn:microsoft.com/office/officeart/2005/8/layout/default"/>
    <dgm:cxn modelId="{DD122B74-0155-4D4B-B2B5-FDFC85C26DCF}" srcId="{C429F172-266E-4194-B325-3535962682A2}" destId="{0A2B51E7-4FFD-4237-8698-5D68C95C89D4}" srcOrd="12" destOrd="0" parTransId="{85A8DDB4-59D4-4BF6-8289-A4FC7E897E1D}" sibTransId="{A1CA6C7B-61EE-4ABE-9055-A2F035D3E9D6}"/>
    <dgm:cxn modelId="{7D34B48E-25CB-4EA3-8A4F-F4A941F05D8E}" type="presOf" srcId="{69F1B950-8D36-4928-8C1C-24CBD2963852}" destId="{A7215453-12BF-4121-AA53-479F3205BD28}" srcOrd="0" destOrd="0" presId="urn:microsoft.com/office/officeart/2005/8/layout/default"/>
    <dgm:cxn modelId="{BFA05E8F-484F-4C45-AC9F-3A3B125A30B3}" type="presOf" srcId="{A0C5606F-FC8C-4CE9-8BB6-A14ED87CB8BA}" destId="{B907C098-85C0-423B-BE73-E265BF4224FB}" srcOrd="0" destOrd="0" presId="urn:microsoft.com/office/officeart/2005/8/layout/default"/>
    <dgm:cxn modelId="{7BE25197-FFAE-4AC5-A0F2-D75A467E080B}" srcId="{C429F172-266E-4194-B325-3535962682A2}" destId="{69F1B950-8D36-4928-8C1C-24CBD2963852}" srcOrd="14" destOrd="0" parTransId="{72B6B5DA-0106-4253-84C1-D55AF3387EE6}" sibTransId="{D12F9FD1-4BBC-4960-B2E2-DE716A060488}"/>
    <dgm:cxn modelId="{C82BC59F-AD68-4813-99C5-E8F2AF16A7AE}" srcId="{C429F172-266E-4194-B325-3535962682A2}" destId="{3A4F01FA-D6C1-415A-9FB4-F415F66C42EC}" srcOrd="21" destOrd="0" parTransId="{ADED6335-459A-42B0-8352-16ECCABC96C2}" sibTransId="{A2F3F308-0D3D-41C5-AC58-C85E540B7593}"/>
    <dgm:cxn modelId="{A6B992A5-DDC2-4B03-8E5A-75B44D2DC3FA}" srcId="{C429F172-266E-4194-B325-3535962682A2}" destId="{A0C5606F-FC8C-4CE9-8BB6-A14ED87CB8BA}" srcOrd="5" destOrd="0" parTransId="{6985EAB4-F658-4625-8FEE-EB6198DA8EBE}" sibTransId="{348F3A74-1EC3-4A1C-B662-88FB3A9A8036}"/>
    <dgm:cxn modelId="{86CE9EA7-E4A6-41FA-B9D8-2FA1493CC1E3}" type="presOf" srcId="{48C00A8D-1255-4FE9-B441-11440415C1AD}" destId="{4A8B55CB-9A23-4CE2-BD5F-54DB1337AD38}" srcOrd="0" destOrd="0" presId="urn:microsoft.com/office/officeart/2005/8/layout/default"/>
    <dgm:cxn modelId="{B3C7ECAA-58A6-4908-8267-F868C38ED0E2}" type="presOf" srcId="{93705A61-7CA0-4F87-B3D7-AACFFF79B6EB}" destId="{0909C2B4-C659-4C5A-878A-A373B015E349}" srcOrd="0" destOrd="0" presId="urn:microsoft.com/office/officeart/2005/8/layout/default"/>
    <dgm:cxn modelId="{6FD38EBF-CDCE-4CE9-94B8-58629B180E2D}" type="presOf" srcId="{3C45F6F0-0299-4219-8690-18D91D2390C3}" destId="{3062C5F8-6F89-446B-B50F-FE62BEB4D3FB}" srcOrd="0" destOrd="0" presId="urn:microsoft.com/office/officeart/2005/8/layout/default"/>
    <dgm:cxn modelId="{AF939CC3-2E39-43B0-8CF3-5A66753B89C1}" srcId="{C429F172-266E-4194-B325-3535962682A2}" destId="{19D26646-8122-463A-84DC-7827C116EBAF}" srcOrd="3" destOrd="0" parTransId="{954FEE93-15A6-495A-983C-A043778C61D4}" sibTransId="{D62CAC0B-89E9-4B18-9B48-35853112690F}"/>
    <dgm:cxn modelId="{B305FDC8-88DF-410D-92C4-1A8F3A43F6EA}" type="presOf" srcId="{50FF4640-1519-4881-B20D-014948FC4BCB}" destId="{CF398DCF-BADD-4138-B73C-03B2E55F12E3}" srcOrd="0" destOrd="0" presId="urn:microsoft.com/office/officeart/2005/8/layout/default"/>
    <dgm:cxn modelId="{9C6718CF-BE1A-4137-A11B-F54B3872CA93}" type="presOf" srcId="{19D26646-8122-463A-84DC-7827C116EBAF}" destId="{BCF96262-7C34-4B54-8AEB-35A02DCF376B}" srcOrd="0" destOrd="0" presId="urn:microsoft.com/office/officeart/2005/8/layout/default"/>
    <dgm:cxn modelId="{F6C05DD4-1F9E-4DE9-95A0-7226DBCDBD8C}" srcId="{C429F172-266E-4194-B325-3535962682A2}" destId="{99806B4D-36F6-4464-949F-9D98F89D8C6F}" srcOrd="13" destOrd="0" parTransId="{46DBBCC3-9443-4F1A-953A-E5C440026FB2}" sibTransId="{488F2EFE-ADCF-4CF0-AAD2-EAD1AE7248D1}"/>
    <dgm:cxn modelId="{8F559ADB-F723-475D-9605-0A974DF60B56}" srcId="{C429F172-266E-4194-B325-3535962682A2}" destId="{48C00A8D-1255-4FE9-B441-11440415C1AD}" srcOrd="15" destOrd="0" parTransId="{18DDC2F8-EE3C-433A-B153-28772C20741B}" sibTransId="{4DC23B2C-AFD2-4530-9597-9BC5E0BAC1AC}"/>
    <dgm:cxn modelId="{DFE5E0DF-CF72-4479-BBF5-6A18BE92587A}" type="presOf" srcId="{EFBE20F1-587C-42B3-A261-30945527E2AB}" destId="{54AA26A7-EF6F-4758-82EE-C2D852DE1D92}" srcOrd="0" destOrd="0" presId="urn:microsoft.com/office/officeart/2005/8/layout/default"/>
    <dgm:cxn modelId="{3765DBEC-61FD-4B9D-887C-9C241910CA27}" type="presOf" srcId="{99806B4D-36F6-4464-949F-9D98F89D8C6F}" destId="{CD344EC9-0E27-4D67-87D3-D35266AAC5ED}" srcOrd="0" destOrd="0" presId="urn:microsoft.com/office/officeart/2005/8/layout/default"/>
    <dgm:cxn modelId="{D270038A-16A2-49BD-A2C1-B635E87CA795}" type="presParOf" srcId="{F42F10AB-4B42-49A7-B360-2DE2A429F34D}" destId="{39FEDA95-23FE-49DB-9E30-EF6C3EF529CD}" srcOrd="0" destOrd="0" presId="urn:microsoft.com/office/officeart/2005/8/layout/default"/>
    <dgm:cxn modelId="{29E2BA3E-8230-4E3B-8EE1-26CE8925DC49}" type="presParOf" srcId="{F42F10AB-4B42-49A7-B360-2DE2A429F34D}" destId="{27FDA425-1A93-4885-AB3E-BBF984DDDFCD}" srcOrd="1" destOrd="0" presId="urn:microsoft.com/office/officeart/2005/8/layout/default"/>
    <dgm:cxn modelId="{6152E198-E2F2-4766-AA7A-A5373663B47E}" type="presParOf" srcId="{F42F10AB-4B42-49A7-B360-2DE2A429F34D}" destId="{0909C2B4-C659-4C5A-878A-A373B015E349}" srcOrd="2" destOrd="0" presId="urn:microsoft.com/office/officeart/2005/8/layout/default"/>
    <dgm:cxn modelId="{6A33078C-ADBD-4A9F-9E90-4C1436EB803A}" type="presParOf" srcId="{F42F10AB-4B42-49A7-B360-2DE2A429F34D}" destId="{C6FF04D9-C27F-4F24-9D08-F03FDC473129}" srcOrd="3" destOrd="0" presId="urn:microsoft.com/office/officeart/2005/8/layout/default"/>
    <dgm:cxn modelId="{7321221A-EC5E-4D92-AEA8-B0CC2E427884}" type="presParOf" srcId="{F42F10AB-4B42-49A7-B360-2DE2A429F34D}" destId="{B2BE80C3-9EC5-4246-B6E4-2B3F67FCBF1A}" srcOrd="4" destOrd="0" presId="urn:microsoft.com/office/officeart/2005/8/layout/default"/>
    <dgm:cxn modelId="{97CC16AF-009E-4D7C-ACCC-7C200F83E1B9}" type="presParOf" srcId="{F42F10AB-4B42-49A7-B360-2DE2A429F34D}" destId="{995F2AF1-58D1-40A8-A213-42D4FD3ED9AC}" srcOrd="5" destOrd="0" presId="urn:microsoft.com/office/officeart/2005/8/layout/default"/>
    <dgm:cxn modelId="{FAA04DBE-9E7E-437F-A829-455F009DAE5C}" type="presParOf" srcId="{F42F10AB-4B42-49A7-B360-2DE2A429F34D}" destId="{BCF96262-7C34-4B54-8AEB-35A02DCF376B}" srcOrd="6" destOrd="0" presId="urn:microsoft.com/office/officeart/2005/8/layout/default"/>
    <dgm:cxn modelId="{81F5F2EC-DD57-46F4-80A5-04B363AE9247}" type="presParOf" srcId="{F42F10AB-4B42-49A7-B360-2DE2A429F34D}" destId="{4F0CA0D7-044C-4BDC-BE3F-C6ECC98760D9}" srcOrd="7" destOrd="0" presId="urn:microsoft.com/office/officeart/2005/8/layout/default"/>
    <dgm:cxn modelId="{AA68D6D9-B57D-41F1-B0B9-2CFC0B0F8A43}" type="presParOf" srcId="{F42F10AB-4B42-49A7-B360-2DE2A429F34D}" destId="{D0E75F77-FDF3-43F5-BF49-9345F0AF20E8}" srcOrd="8" destOrd="0" presId="urn:microsoft.com/office/officeart/2005/8/layout/default"/>
    <dgm:cxn modelId="{CCB5ECDE-7BB4-4591-A461-D01499D03F6F}" type="presParOf" srcId="{F42F10AB-4B42-49A7-B360-2DE2A429F34D}" destId="{3F678E94-8EC4-4CD4-8942-A33A7077267B}" srcOrd="9" destOrd="0" presId="urn:microsoft.com/office/officeart/2005/8/layout/default"/>
    <dgm:cxn modelId="{9A658FA8-7A78-459E-A456-8F803FDA8894}" type="presParOf" srcId="{F42F10AB-4B42-49A7-B360-2DE2A429F34D}" destId="{B907C098-85C0-423B-BE73-E265BF4224FB}" srcOrd="10" destOrd="0" presId="urn:microsoft.com/office/officeart/2005/8/layout/default"/>
    <dgm:cxn modelId="{ED4B8671-9DD9-479A-8E3C-FF30B3BC33D0}" type="presParOf" srcId="{F42F10AB-4B42-49A7-B360-2DE2A429F34D}" destId="{FA2E82FA-A178-428F-8E24-3EA1EC7FD1E3}" srcOrd="11" destOrd="0" presId="urn:microsoft.com/office/officeart/2005/8/layout/default"/>
    <dgm:cxn modelId="{708809B3-15C2-474F-AFF1-150D35E23B17}" type="presParOf" srcId="{F42F10AB-4B42-49A7-B360-2DE2A429F34D}" destId="{B187B364-FD3F-46D0-AEB7-88CA90933649}" srcOrd="12" destOrd="0" presId="urn:microsoft.com/office/officeart/2005/8/layout/default"/>
    <dgm:cxn modelId="{535E31F8-8328-4C30-A290-96FAEBE462BD}" type="presParOf" srcId="{F42F10AB-4B42-49A7-B360-2DE2A429F34D}" destId="{A5A91BEC-3963-44A7-88B5-B9398E47EE82}" srcOrd="13" destOrd="0" presId="urn:microsoft.com/office/officeart/2005/8/layout/default"/>
    <dgm:cxn modelId="{1F897C4E-B75A-459F-BA91-BF16C39F7EF5}" type="presParOf" srcId="{F42F10AB-4B42-49A7-B360-2DE2A429F34D}" destId="{6B8737CB-6C23-4331-B53E-365287512F22}" srcOrd="14" destOrd="0" presId="urn:microsoft.com/office/officeart/2005/8/layout/default"/>
    <dgm:cxn modelId="{F65816B9-A119-4AA2-8F5A-DC25274DEEBB}" type="presParOf" srcId="{F42F10AB-4B42-49A7-B360-2DE2A429F34D}" destId="{E288FB44-3B09-41A6-8C08-58A337D00FEC}" srcOrd="15" destOrd="0" presId="urn:microsoft.com/office/officeart/2005/8/layout/default"/>
    <dgm:cxn modelId="{33BEB628-4420-403E-8400-5FEA8B7AC962}" type="presParOf" srcId="{F42F10AB-4B42-49A7-B360-2DE2A429F34D}" destId="{3062C5F8-6F89-446B-B50F-FE62BEB4D3FB}" srcOrd="16" destOrd="0" presId="urn:microsoft.com/office/officeart/2005/8/layout/default"/>
    <dgm:cxn modelId="{97CC18B5-7FD5-4D39-90B0-D75091516D60}" type="presParOf" srcId="{F42F10AB-4B42-49A7-B360-2DE2A429F34D}" destId="{595DF957-E05A-40E4-856B-A0D90A187971}" srcOrd="17" destOrd="0" presId="urn:microsoft.com/office/officeart/2005/8/layout/default"/>
    <dgm:cxn modelId="{DC4DAA9B-7348-4DD7-AA0C-10A316770905}" type="presParOf" srcId="{F42F10AB-4B42-49A7-B360-2DE2A429F34D}" destId="{A7799332-B546-445E-B50A-B219179AC0A6}" srcOrd="18" destOrd="0" presId="urn:microsoft.com/office/officeart/2005/8/layout/default"/>
    <dgm:cxn modelId="{6B0169B9-B158-4444-BC72-F86A28AD5A05}" type="presParOf" srcId="{F42F10AB-4B42-49A7-B360-2DE2A429F34D}" destId="{BF2818C9-9960-4708-9837-3F6E4F27613D}" srcOrd="19" destOrd="0" presId="urn:microsoft.com/office/officeart/2005/8/layout/default"/>
    <dgm:cxn modelId="{65E7C5CA-17F3-49B3-9ACE-DFFA32A050C3}" type="presParOf" srcId="{F42F10AB-4B42-49A7-B360-2DE2A429F34D}" destId="{F4AFEBDC-F908-4AB0-A868-1CF77AE48385}" srcOrd="20" destOrd="0" presId="urn:microsoft.com/office/officeart/2005/8/layout/default"/>
    <dgm:cxn modelId="{20565DBB-BED8-417E-96C3-7DD8180C0F3A}" type="presParOf" srcId="{F42F10AB-4B42-49A7-B360-2DE2A429F34D}" destId="{971104C1-74F8-46AA-98F8-8F96993AA28C}" srcOrd="21" destOrd="0" presId="urn:microsoft.com/office/officeart/2005/8/layout/default"/>
    <dgm:cxn modelId="{5FE42A54-1E1A-4207-BC04-FC995767169A}" type="presParOf" srcId="{F42F10AB-4B42-49A7-B360-2DE2A429F34D}" destId="{5EDD574E-95F8-4660-8299-EF3744081250}" srcOrd="22" destOrd="0" presId="urn:microsoft.com/office/officeart/2005/8/layout/default"/>
    <dgm:cxn modelId="{187FDD49-1468-4C69-898F-BE9E899A03B9}" type="presParOf" srcId="{F42F10AB-4B42-49A7-B360-2DE2A429F34D}" destId="{DC748E52-A2F3-4188-BFE0-0CED78D091F9}" srcOrd="23" destOrd="0" presId="urn:microsoft.com/office/officeart/2005/8/layout/default"/>
    <dgm:cxn modelId="{295D3856-86F2-4256-BED4-52BE1DECB7FC}" type="presParOf" srcId="{F42F10AB-4B42-49A7-B360-2DE2A429F34D}" destId="{CA8F25AB-98B8-44B3-9FC1-F21D971D1881}" srcOrd="24" destOrd="0" presId="urn:microsoft.com/office/officeart/2005/8/layout/default"/>
    <dgm:cxn modelId="{B323A9AF-23A1-428B-8F26-B6DCED4D7316}" type="presParOf" srcId="{F42F10AB-4B42-49A7-B360-2DE2A429F34D}" destId="{EEE041E9-DF0B-4A34-933F-436908B11230}" srcOrd="25" destOrd="0" presId="urn:microsoft.com/office/officeart/2005/8/layout/default"/>
    <dgm:cxn modelId="{69FC763A-6831-4098-9894-EF567D61FC91}" type="presParOf" srcId="{F42F10AB-4B42-49A7-B360-2DE2A429F34D}" destId="{CD344EC9-0E27-4D67-87D3-D35266AAC5ED}" srcOrd="26" destOrd="0" presId="urn:microsoft.com/office/officeart/2005/8/layout/default"/>
    <dgm:cxn modelId="{C3F0A1FB-32F5-4F7A-BE38-0D8D63E55D7B}" type="presParOf" srcId="{F42F10AB-4B42-49A7-B360-2DE2A429F34D}" destId="{02D290A6-CA2D-4716-9CF9-D92DC0DABA1D}" srcOrd="27" destOrd="0" presId="urn:microsoft.com/office/officeart/2005/8/layout/default"/>
    <dgm:cxn modelId="{8A9BCCA6-B45C-445E-A8C1-3B64647DE7E7}" type="presParOf" srcId="{F42F10AB-4B42-49A7-B360-2DE2A429F34D}" destId="{A7215453-12BF-4121-AA53-479F3205BD28}" srcOrd="28" destOrd="0" presId="urn:microsoft.com/office/officeart/2005/8/layout/default"/>
    <dgm:cxn modelId="{44237921-4C67-44FC-A901-8D8EEA7CC584}" type="presParOf" srcId="{F42F10AB-4B42-49A7-B360-2DE2A429F34D}" destId="{0825A7B7-7D56-45D4-BCFA-274CD98AED5C}" srcOrd="29" destOrd="0" presId="urn:microsoft.com/office/officeart/2005/8/layout/default"/>
    <dgm:cxn modelId="{E5CE427A-C5BB-4E94-9F33-DCA683D9DC4A}" type="presParOf" srcId="{F42F10AB-4B42-49A7-B360-2DE2A429F34D}" destId="{4A8B55CB-9A23-4CE2-BD5F-54DB1337AD38}" srcOrd="30" destOrd="0" presId="urn:microsoft.com/office/officeart/2005/8/layout/default"/>
    <dgm:cxn modelId="{D87E2391-A12C-410C-95BC-435BD69586DB}" type="presParOf" srcId="{F42F10AB-4B42-49A7-B360-2DE2A429F34D}" destId="{4E059900-E37C-4C30-A942-B68705F18468}" srcOrd="31" destOrd="0" presId="urn:microsoft.com/office/officeart/2005/8/layout/default"/>
    <dgm:cxn modelId="{E362AF33-54B1-4101-8978-1262FFF5E527}" type="presParOf" srcId="{F42F10AB-4B42-49A7-B360-2DE2A429F34D}" destId="{8AF9124B-9262-4840-8D26-0E52FFC12786}" srcOrd="32" destOrd="0" presId="urn:microsoft.com/office/officeart/2005/8/layout/default"/>
    <dgm:cxn modelId="{F1343BBF-1515-40B5-B373-AAF1593B930F}" type="presParOf" srcId="{F42F10AB-4B42-49A7-B360-2DE2A429F34D}" destId="{94A6673F-3DAB-4A12-9177-E9F21A5C6588}" srcOrd="33" destOrd="0" presId="urn:microsoft.com/office/officeart/2005/8/layout/default"/>
    <dgm:cxn modelId="{454BD640-F0B8-48D7-B981-BEDC22675248}" type="presParOf" srcId="{F42F10AB-4B42-49A7-B360-2DE2A429F34D}" destId="{A547AC15-40F5-4255-AD61-E291A6618465}" srcOrd="34" destOrd="0" presId="urn:microsoft.com/office/officeart/2005/8/layout/default"/>
    <dgm:cxn modelId="{7082A9D1-1B37-42B8-B5FF-C04F68854466}" type="presParOf" srcId="{F42F10AB-4B42-49A7-B360-2DE2A429F34D}" destId="{08584438-C509-4663-A3B2-562E90C444F8}" srcOrd="35" destOrd="0" presId="urn:microsoft.com/office/officeart/2005/8/layout/default"/>
    <dgm:cxn modelId="{3EBE1557-243B-46AC-B6BB-9A34FF4180EA}" type="presParOf" srcId="{F42F10AB-4B42-49A7-B360-2DE2A429F34D}" destId="{18547B21-B553-4768-88A8-D57CE3405A9A}" srcOrd="36" destOrd="0" presId="urn:microsoft.com/office/officeart/2005/8/layout/default"/>
    <dgm:cxn modelId="{593B04E3-3364-4ECE-AEB1-70808D1447F9}" type="presParOf" srcId="{F42F10AB-4B42-49A7-B360-2DE2A429F34D}" destId="{B0B0F1A9-59A3-460B-A326-458E58A45F05}" srcOrd="37" destOrd="0" presId="urn:microsoft.com/office/officeart/2005/8/layout/default"/>
    <dgm:cxn modelId="{7F590FAD-5641-4A5D-AA11-9D946A64B123}" type="presParOf" srcId="{F42F10AB-4B42-49A7-B360-2DE2A429F34D}" destId="{54AA26A7-EF6F-4758-82EE-C2D852DE1D92}" srcOrd="38" destOrd="0" presId="urn:microsoft.com/office/officeart/2005/8/layout/default"/>
    <dgm:cxn modelId="{FCCB0454-6E79-4FAC-9DCB-0DCC133C716D}" type="presParOf" srcId="{F42F10AB-4B42-49A7-B360-2DE2A429F34D}" destId="{FF308B10-A86F-4F5A-83F5-DE311D82A1C3}" srcOrd="39" destOrd="0" presId="urn:microsoft.com/office/officeart/2005/8/layout/default"/>
    <dgm:cxn modelId="{2138655C-347C-4D1E-8C06-D37A768ADEAC}" type="presParOf" srcId="{F42F10AB-4B42-49A7-B360-2DE2A429F34D}" destId="{CF398DCF-BADD-4138-B73C-03B2E55F12E3}" srcOrd="40" destOrd="0" presId="urn:microsoft.com/office/officeart/2005/8/layout/default"/>
    <dgm:cxn modelId="{4621DD35-8B8C-43A7-A625-24F82650A251}" type="presParOf" srcId="{F42F10AB-4B42-49A7-B360-2DE2A429F34D}" destId="{F4A37CE3-2405-477C-A6DB-98ED718E9B85}" srcOrd="41" destOrd="0" presId="urn:microsoft.com/office/officeart/2005/8/layout/default"/>
    <dgm:cxn modelId="{3E12203D-6D48-440D-BE49-05EE33F5B0AE}" type="presParOf" srcId="{F42F10AB-4B42-49A7-B360-2DE2A429F34D}" destId="{146B313C-C2A0-43B6-910F-95BE7F0A6539}" srcOrd="42" destOrd="0" presId="urn:microsoft.com/office/officeart/2005/8/layout/default"/>
    <dgm:cxn modelId="{74552B6B-7AE0-4557-AB16-8B6E1A18CB80}" type="presParOf" srcId="{F42F10AB-4B42-49A7-B360-2DE2A429F34D}" destId="{C6B3448C-7508-492E-9CA3-98624E5FA02D}" srcOrd="43" destOrd="0" presId="urn:microsoft.com/office/officeart/2005/8/layout/default"/>
    <dgm:cxn modelId="{1C411032-55AA-4EF9-A9D0-4246F983403B}" type="presParOf" srcId="{F42F10AB-4B42-49A7-B360-2DE2A429F34D}" destId="{FF66D753-54FA-4F7A-88B7-DC3AEB0FB0D1}" srcOrd="4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29F172-266E-4194-B325-3535962682A2}" type="doc">
      <dgm:prSet loTypeId="urn:microsoft.com/office/officeart/2005/8/layout/default" loCatId="list" qsTypeId="urn:microsoft.com/office/officeart/2005/8/quickstyle/simple5" qsCatId="simple" csTypeId="urn:microsoft.com/office/officeart/2005/8/colors/colorful1" csCatId="colorful" phldr="1"/>
      <dgm:spPr/>
      <dgm:t>
        <a:bodyPr/>
        <a:lstStyle/>
        <a:p>
          <a:endParaRPr lang="en-US"/>
        </a:p>
      </dgm:t>
    </dgm:pt>
    <dgm:pt modelId="{25D1D2E0-2852-4E4E-ABAD-5368BECDB914}">
      <dgm:prSet/>
      <dgm:spPr/>
      <dgm:t>
        <a:bodyPr/>
        <a:lstStyle/>
        <a:p>
          <a:r>
            <a:rPr lang="en-US" dirty="0"/>
            <a:t>Trend Micro</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48352595-9799-4A73-9006-ADDCFF821A30}">
      <dgm:prSet/>
      <dgm:spPr/>
      <dgm:t>
        <a:bodyPr/>
        <a:lstStyle/>
        <a:p>
          <a:r>
            <a:rPr lang="en-US" dirty="0"/>
            <a:t>Microsoft Antimalware</a:t>
          </a:r>
        </a:p>
      </dgm:t>
    </dgm:pt>
    <dgm:pt modelId="{94EFC79A-B414-4CB6-84CC-BBFAE39C9418}" type="parTrans" cxnId="{977CDBBF-967C-4F1A-8206-F478D2101504}">
      <dgm:prSet/>
      <dgm:spPr/>
      <dgm:t>
        <a:bodyPr/>
        <a:lstStyle/>
        <a:p>
          <a:endParaRPr lang="en-US"/>
        </a:p>
      </dgm:t>
    </dgm:pt>
    <dgm:pt modelId="{3405CAAD-7D5C-4019-A5A3-3C4A3C39B034}" type="sibTrans" cxnId="{977CDBBF-967C-4F1A-8206-F478D2101504}">
      <dgm:prSet/>
      <dgm:spPr/>
      <dgm:t>
        <a:bodyPr/>
        <a:lstStyle/>
        <a:p>
          <a:endParaRPr lang="en-US"/>
        </a:p>
      </dgm:t>
    </dgm:pt>
    <dgm:pt modelId="{93C095B1-ECB3-45F9-931D-965310170F48}">
      <dgm:prSet/>
      <dgm:spPr/>
      <dgm:t>
        <a:bodyPr/>
        <a:lstStyle/>
        <a:p>
          <a:r>
            <a:rPr lang="en-US" dirty="0"/>
            <a:t>Barracuda</a:t>
          </a:r>
        </a:p>
      </dgm:t>
    </dgm:pt>
    <dgm:pt modelId="{4C1F98C7-D98F-400B-9627-7BAFC8E56757}" type="parTrans" cxnId="{DB6F03B9-3680-45C8-A595-B58514D423F8}">
      <dgm:prSet/>
      <dgm:spPr/>
      <dgm:t>
        <a:bodyPr/>
        <a:lstStyle/>
        <a:p>
          <a:endParaRPr lang="en-US"/>
        </a:p>
      </dgm:t>
    </dgm:pt>
    <dgm:pt modelId="{2E7581EB-BA56-445A-9F9A-9A5658AC4281}" type="sibTrans" cxnId="{DB6F03B9-3680-45C8-A595-B58514D423F8}">
      <dgm:prSet/>
      <dgm:spPr/>
      <dgm:t>
        <a:bodyPr/>
        <a:lstStyle/>
        <a:p>
          <a:endParaRPr lang="en-US"/>
        </a:p>
      </dgm:t>
    </dgm:pt>
    <dgm:pt modelId="{2F8A2428-235E-4E04-9A87-DD3B108894D1}">
      <dgm:prSet/>
      <dgm:spPr/>
      <dgm:t>
        <a:bodyPr/>
        <a:lstStyle/>
        <a:p>
          <a:r>
            <a:rPr lang="en-US" dirty="0"/>
            <a:t>F5</a:t>
          </a:r>
        </a:p>
      </dgm:t>
    </dgm:pt>
    <dgm:pt modelId="{56D1E64B-8D7C-4FF5-87C6-E481E523F5AC}" type="parTrans" cxnId="{17E2958E-58D9-4B61-9177-50DD429D01D6}">
      <dgm:prSet/>
      <dgm:spPr/>
      <dgm:t>
        <a:bodyPr/>
        <a:lstStyle/>
        <a:p>
          <a:endParaRPr lang="en-US"/>
        </a:p>
      </dgm:t>
    </dgm:pt>
    <dgm:pt modelId="{FB820F41-44F3-4C77-B0A2-A3917D1238E5}" type="sibTrans" cxnId="{17E2958E-58D9-4B61-9177-50DD429D01D6}">
      <dgm:prSet/>
      <dgm:spPr/>
      <dgm:t>
        <a:bodyPr/>
        <a:lstStyle/>
        <a:p>
          <a:endParaRPr lang="en-US"/>
        </a:p>
      </dgm:t>
    </dgm:pt>
    <dgm:pt modelId="{DBEFD9A5-0741-4627-9D85-A56B684E7F3C}">
      <dgm:prSet/>
      <dgm:spPr/>
      <dgm:t>
        <a:bodyPr/>
        <a:lstStyle/>
        <a:p>
          <a:r>
            <a:rPr lang="en-US" dirty="0"/>
            <a:t>Imperva</a:t>
          </a:r>
        </a:p>
      </dgm:t>
    </dgm:pt>
    <dgm:pt modelId="{429203D1-EECD-4C8B-BD4E-A8439B1C0023}" type="parTrans" cxnId="{6626E79B-BC5D-4AA9-AA03-13B533B9C664}">
      <dgm:prSet/>
      <dgm:spPr/>
      <dgm:t>
        <a:bodyPr/>
        <a:lstStyle/>
        <a:p>
          <a:endParaRPr lang="en-US"/>
        </a:p>
      </dgm:t>
    </dgm:pt>
    <dgm:pt modelId="{B6A2B5BA-8D67-49D6-A5D1-EFB9F40C2574}" type="sibTrans" cxnId="{6626E79B-BC5D-4AA9-AA03-13B533B9C664}">
      <dgm:prSet/>
      <dgm:spPr/>
      <dgm:t>
        <a:bodyPr/>
        <a:lstStyle/>
        <a:p>
          <a:endParaRPr lang="en-US"/>
        </a:p>
      </dgm:t>
    </dgm:pt>
    <dgm:pt modelId="{4A715A1A-D6DE-4C22-91AD-F79AB1C744D9}">
      <dgm:prSet/>
      <dgm:spPr/>
      <dgm:t>
        <a:bodyPr/>
        <a:lstStyle/>
        <a:p>
          <a:r>
            <a:rPr lang="en-US" dirty="0"/>
            <a:t>Fortinet</a:t>
          </a:r>
        </a:p>
      </dgm:t>
    </dgm:pt>
    <dgm:pt modelId="{31B40485-F949-4525-95B1-38F94F14A385}" type="parTrans" cxnId="{48C3D84D-B2CA-4412-9DF2-217281D1C3CC}">
      <dgm:prSet/>
      <dgm:spPr/>
      <dgm:t>
        <a:bodyPr/>
        <a:lstStyle/>
        <a:p>
          <a:endParaRPr lang="en-US"/>
        </a:p>
      </dgm:t>
    </dgm:pt>
    <dgm:pt modelId="{34F7DB43-54BB-4E1A-B6AC-FE492083E042}" type="sibTrans" cxnId="{48C3D84D-B2CA-4412-9DF2-217281D1C3CC}">
      <dgm:prSet/>
      <dgm:spPr/>
      <dgm:t>
        <a:bodyPr/>
        <a:lstStyle/>
        <a:p>
          <a:endParaRPr lang="en-US"/>
        </a:p>
      </dgm:t>
    </dgm:pt>
    <dgm:pt modelId="{BEDCA8A7-2B78-4C34-B83A-CFABA7C1BA9D}">
      <dgm:prSet/>
      <dgm:spPr/>
      <dgm:t>
        <a:bodyPr/>
        <a:lstStyle/>
        <a:p>
          <a:r>
            <a:rPr lang="en-US" dirty="0"/>
            <a:t>Azure Application Gateway</a:t>
          </a:r>
        </a:p>
      </dgm:t>
    </dgm:pt>
    <dgm:pt modelId="{AD92AE41-287F-4386-A18A-8188BE0CF937}" type="parTrans" cxnId="{260F6923-21A5-468E-83B3-37DFC98BE6A3}">
      <dgm:prSet/>
      <dgm:spPr/>
      <dgm:t>
        <a:bodyPr/>
        <a:lstStyle/>
        <a:p>
          <a:endParaRPr lang="en-US"/>
        </a:p>
      </dgm:t>
    </dgm:pt>
    <dgm:pt modelId="{8057B51D-03E6-4E2D-9FE2-EBD262FBBD5D}" type="sibTrans" cxnId="{260F6923-21A5-468E-83B3-37DFC98BE6A3}">
      <dgm:prSet/>
      <dgm:spPr/>
      <dgm:t>
        <a:bodyPr/>
        <a:lstStyle/>
        <a:p>
          <a:endParaRPr lang="en-US"/>
        </a:p>
      </dgm:t>
    </dgm:pt>
    <dgm:pt modelId="{A1A98001-9712-4C48-9249-44CF54A00403}">
      <dgm:prSet/>
      <dgm:spPr/>
      <dgm:t>
        <a:bodyPr/>
        <a:lstStyle/>
        <a:p>
          <a:r>
            <a:rPr lang="en-US" dirty="0"/>
            <a:t>Check Point</a:t>
          </a:r>
        </a:p>
      </dgm:t>
    </dgm:pt>
    <dgm:pt modelId="{62C37B20-2A2E-46E4-B04D-95CB9299B95F}" type="parTrans" cxnId="{EECBB055-CF58-4848-A436-618664001353}">
      <dgm:prSet/>
      <dgm:spPr/>
      <dgm:t>
        <a:bodyPr/>
        <a:lstStyle/>
        <a:p>
          <a:endParaRPr lang="en-US"/>
        </a:p>
      </dgm:t>
    </dgm:pt>
    <dgm:pt modelId="{076137A0-01CD-4F81-AEAF-1830760956C4}" type="sibTrans" cxnId="{EECBB055-CF58-4848-A436-618664001353}">
      <dgm:prSet/>
      <dgm:spPr/>
      <dgm:t>
        <a:bodyPr/>
        <a:lstStyle/>
        <a:p>
          <a:endParaRPr lang="en-US"/>
        </a:p>
      </dgm:t>
    </dgm:pt>
    <dgm:pt modelId="{B0B2AB1A-666B-4213-AFFB-D80C4D718166}">
      <dgm:prSet/>
      <dgm:spPr/>
      <dgm:t>
        <a:bodyPr/>
        <a:lstStyle/>
        <a:p>
          <a:r>
            <a:rPr lang="en-US" dirty="0"/>
            <a:t>Cisco</a:t>
          </a:r>
        </a:p>
      </dgm:t>
    </dgm:pt>
    <dgm:pt modelId="{BEB4E172-7AA0-4E7E-A748-E5263312E0E4}" type="parTrans" cxnId="{EB2085AC-AB72-4B47-86A9-F9097BC391A9}">
      <dgm:prSet/>
      <dgm:spPr/>
      <dgm:t>
        <a:bodyPr/>
        <a:lstStyle/>
        <a:p>
          <a:endParaRPr lang="en-US"/>
        </a:p>
      </dgm:t>
    </dgm:pt>
    <dgm:pt modelId="{7A132A8C-A55B-49B8-95A8-5EA1B55A9B43}" type="sibTrans" cxnId="{EB2085AC-AB72-4B47-86A9-F9097BC391A9}">
      <dgm:prSet/>
      <dgm:spPr/>
      <dgm:t>
        <a:bodyPr/>
        <a:lstStyle/>
        <a:p>
          <a:endParaRPr lang="en-US"/>
        </a:p>
      </dgm:t>
    </dgm:pt>
    <dgm:pt modelId="{55E394D7-44BA-41A6-A590-CC1817E184BC}">
      <dgm:prSet/>
      <dgm:spPr/>
      <dgm:t>
        <a:bodyPr/>
        <a:lstStyle/>
        <a:p>
          <a:r>
            <a:rPr lang="en-US" dirty="0"/>
            <a:t>Qualys</a:t>
          </a:r>
        </a:p>
      </dgm:t>
    </dgm:pt>
    <dgm:pt modelId="{ACB677E4-27E7-4657-A09F-5AD36E3C4CA6}" type="parTrans" cxnId="{755A0C11-CD96-40B0-8CA9-AB1BA7FDB64C}">
      <dgm:prSet/>
      <dgm:spPr/>
      <dgm:t>
        <a:bodyPr/>
        <a:lstStyle/>
        <a:p>
          <a:endParaRPr lang="en-US"/>
        </a:p>
      </dgm:t>
    </dgm:pt>
    <dgm:pt modelId="{3B7767A4-2A01-446C-A490-578DB7725ED7}" type="sibTrans" cxnId="{755A0C11-CD96-40B0-8CA9-AB1BA7FDB64C}">
      <dgm:prSet/>
      <dgm:spPr/>
      <dgm:t>
        <a:bodyPr/>
        <a:lstStyle/>
        <a:p>
          <a:endParaRPr lang="en-US"/>
        </a:p>
      </dgm:t>
    </dgm:pt>
    <dgm:pt modelId="{980B777A-0A92-48C0-93D2-4B0336BD1A05}" type="pres">
      <dgm:prSet presAssocID="{C429F172-266E-4194-B325-3535962682A2}" presName="diagram" presStyleCnt="0">
        <dgm:presLayoutVars>
          <dgm:dir/>
          <dgm:resizeHandles val="exact"/>
        </dgm:presLayoutVars>
      </dgm:prSet>
      <dgm:spPr/>
    </dgm:pt>
    <dgm:pt modelId="{16D1BAC0-33F6-4CBE-B0E4-02B5814E532B}" type="pres">
      <dgm:prSet presAssocID="{25D1D2E0-2852-4E4E-ABAD-5368BECDB914}" presName="node" presStyleLbl="node1" presStyleIdx="0" presStyleCnt="10">
        <dgm:presLayoutVars>
          <dgm:bulletEnabled val="1"/>
        </dgm:presLayoutVars>
      </dgm:prSet>
      <dgm:spPr/>
    </dgm:pt>
    <dgm:pt modelId="{F76BC67F-9884-489B-8D65-5C78C2535FC0}" type="pres">
      <dgm:prSet presAssocID="{EAA04C2B-DA46-46E2-8AFE-4872D6953DF5}" presName="sibTrans" presStyleCnt="0"/>
      <dgm:spPr/>
    </dgm:pt>
    <dgm:pt modelId="{9119FA99-A6AF-4099-82A7-8C24B70FE159}" type="pres">
      <dgm:prSet presAssocID="{48352595-9799-4A73-9006-ADDCFF821A30}" presName="node" presStyleLbl="node1" presStyleIdx="1" presStyleCnt="10">
        <dgm:presLayoutVars>
          <dgm:bulletEnabled val="1"/>
        </dgm:presLayoutVars>
      </dgm:prSet>
      <dgm:spPr/>
    </dgm:pt>
    <dgm:pt modelId="{BC8F2EA6-643B-4E54-9DFB-4A5E3D7A592C}" type="pres">
      <dgm:prSet presAssocID="{3405CAAD-7D5C-4019-A5A3-3C4A3C39B034}" presName="sibTrans" presStyleCnt="0"/>
      <dgm:spPr/>
    </dgm:pt>
    <dgm:pt modelId="{E89BC89C-0D75-4278-AD22-D5E8A1CA0E81}" type="pres">
      <dgm:prSet presAssocID="{93C095B1-ECB3-45F9-931D-965310170F48}" presName="node" presStyleLbl="node1" presStyleIdx="2" presStyleCnt="10">
        <dgm:presLayoutVars>
          <dgm:bulletEnabled val="1"/>
        </dgm:presLayoutVars>
      </dgm:prSet>
      <dgm:spPr/>
    </dgm:pt>
    <dgm:pt modelId="{46EE4BCE-D601-4457-96EE-BBB12DB42759}" type="pres">
      <dgm:prSet presAssocID="{2E7581EB-BA56-445A-9F9A-9A5658AC4281}" presName="sibTrans" presStyleCnt="0"/>
      <dgm:spPr/>
    </dgm:pt>
    <dgm:pt modelId="{B9B1A806-33F0-4B71-8AE0-95D91255503F}" type="pres">
      <dgm:prSet presAssocID="{2F8A2428-235E-4E04-9A87-DD3B108894D1}" presName="node" presStyleLbl="node1" presStyleIdx="3" presStyleCnt="10">
        <dgm:presLayoutVars>
          <dgm:bulletEnabled val="1"/>
        </dgm:presLayoutVars>
      </dgm:prSet>
      <dgm:spPr/>
    </dgm:pt>
    <dgm:pt modelId="{EB5FCB86-7638-4D09-BDA2-781FAFFB00A8}" type="pres">
      <dgm:prSet presAssocID="{FB820F41-44F3-4C77-B0A2-A3917D1238E5}" presName="sibTrans" presStyleCnt="0"/>
      <dgm:spPr/>
    </dgm:pt>
    <dgm:pt modelId="{325B5309-D9A0-4459-8AF4-F7C707F63A75}" type="pres">
      <dgm:prSet presAssocID="{DBEFD9A5-0741-4627-9D85-A56B684E7F3C}" presName="node" presStyleLbl="node1" presStyleIdx="4" presStyleCnt="10">
        <dgm:presLayoutVars>
          <dgm:bulletEnabled val="1"/>
        </dgm:presLayoutVars>
      </dgm:prSet>
      <dgm:spPr/>
    </dgm:pt>
    <dgm:pt modelId="{BDFA40A1-95B3-46F3-8B38-0B39AFCCA546}" type="pres">
      <dgm:prSet presAssocID="{B6A2B5BA-8D67-49D6-A5D1-EFB9F40C2574}" presName="sibTrans" presStyleCnt="0"/>
      <dgm:spPr/>
    </dgm:pt>
    <dgm:pt modelId="{0B5F9948-5798-4BC7-92CF-0412F27FE112}" type="pres">
      <dgm:prSet presAssocID="{4A715A1A-D6DE-4C22-91AD-F79AB1C744D9}" presName="node" presStyleLbl="node1" presStyleIdx="5" presStyleCnt="10">
        <dgm:presLayoutVars>
          <dgm:bulletEnabled val="1"/>
        </dgm:presLayoutVars>
      </dgm:prSet>
      <dgm:spPr/>
    </dgm:pt>
    <dgm:pt modelId="{F30F5F64-69E5-472E-A786-3DFF28D55FF3}" type="pres">
      <dgm:prSet presAssocID="{34F7DB43-54BB-4E1A-B6AC-FE492083E042}" presName="sibTrans" presStyleCnt="0"/>
      <dgm:spPr/>
    </dgm:pt>
    <dgm:pt modelId="{84A975DF-2915-452A-AC07-BC45C466D9B2}" type="pres">
      <dgm:prSet presAssocID="{BEDCA8A7-2B78-4C34-B83A-CFABA7C1BA9D}" presName="node" presStyleLbl="node1" presStyleIdx="6" presStyleCnt="10">
        <dgm:presLayoutVars>
          <dgm:bulletEnabled val="1"/>
        </dgm:presLayoutVars>
      </dgm:prSet>
      <dgm:spPr/>
    </dgm:pt>
    <dgm:pt modelId="{3BC73941-6D9B-4993-9FB9-442D6AE9E8E6}" type="pres">
      <dgm:prSet presAssocID="{8057B51D-03E6-4E2D-9FE2-EBD262FBBD5D}" presName="sibTrans" presStyleCnt="0"/>
      <dgm:spPr/>
    </dgm:pt>
    <dgm:pt modelId="{19248172-6157-497B-BA70-FA56FE6BF3C5}" type="pres">
      <dgm:prSet presAssocID="{A1A98001-9712-4C48-9249-44CF54A00403}" presName="node" presStyleLbl="node1" presStyleIdx="7" presStyleCnt="10">
        <dgm:presLayoutVars>
          <dgm:bulletEnabled val="1"/>
        </dgm:presLayoutVars>
      </dgm:prSet>
      <dgm:spPr/>
    </dgm:pt>
    <dgm:pt modelId="{8723A695-C4B2-4B66-8BF8-A3F50E52D163}" type="pres">
      <dgm:prSet presAssocID="{076137A0-01CD-4F81-AEAF-1830760956C4}" presName="sibTrans" presStyleCnt="0"/>
      <dgm:spPr/>
    </dgm:pt>
    <dgm:pt modelId="{6D183435-34CF-4B12-9DA8-2F47FE0D5A58}" type="pres">
      <dgm:prSet presAssocID="{B0B2AB1A-666B-4213-AFFB-D80C4D718166}" presName="node" presStyleLbl="node1" presStyleIdx="8" presStyleCnt="10">
        <dgm:presLayoutVars>
          <dgm:bulletEnabled val="1"/>
        </dgm:presLayoutVars>
      </dgm:prSet>
      <dgm:spPr/>
    </dgm:pt>
    <dgm:pt modelId="{62BA2D07-8ED0-4727-92A3-41E0DAE89D48}" type="pres">
      <dgm:prSet presAssocID="{7A132A8C-A55B-49B8-95A8-5EA1B55A9B43}" presName="sibTrans" presStyleCnt="0"/>
      <dgm:spPr/>
    </dgm:pt>
    <dgm:pt modelId="{9AEA98C7-4090-4C05-97E1-03FBA897BDD3}" type="pres">
      <dgm:prSet presAssocID="{55E394D7-44BA-41A6-A590-CC1817E184BC}" presName="node" presStyleLbl="node1" presStyleIdx="9" presStyleCnt="10">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755A0C11-CD96-40B0-8CA9-AB1BA7FDB64C}" srcId="{C429F172-266E-4194-B325-3535962682A2}" destId="{55E394D7-44BA-41A6-A590-CC1817E184BC}" srcOrd="9" destOrd="0" parTransId="{ACB677E4-27E7-4657-A09F-5AD36E3C4CA6}" sibTransId="{3B7767A4-2A01-446C-A490-578DB7725ED7}"/>
    <dgm:cxn modelId="{1430541A-27C0-4B2C-A56D-616934CB0C9E}" type="presOf" srcId="{2F8A2428-235E-4E04-9A87-DD3B108894D1}" destId="{B9B1A806-33F0-4B71-8AE0-95D91255503F}" srcOrd="0" destOrd="0" presId="urn:microsoft.com/office/officeart/2005/8/layout/default"/>
    <dgm:cxn modelId="{79EAF11F-58D2-4CE4-A218-F5B8E3836011}" type="presOf" srcId="{C429F172-266E-4194-B325-3535962682A2}" destId="{980B777A-0A92-48C0-93D2-4B0336BD1A05}" srcOrd="0" destOrd="0" presId="urn:microsoft.com/office/officeart/2005/8/layout/default"/>
    <dgm:cxn modelId="{260F6923-21A5-468E-83B3-37DFC98BE6A3}" srcId="{C429F172-266E-4194-B325-3535962682A2}" destId="{BEDCA8A7-2B78-4C34-B83A-CFABA7C1BA9D}" srcOrd="6" destOrd="0" parTransId="{AD92AE41-287F-4386-A18A-8188BE0CF937}" sibTransId="{8057B51D-03E6-4E2D-9FE2-EBD262FBBD5D}"/>
    <dgm:cxn modelId="{0A135028-038E-43D0-A446-185FCBEC47FB}" type="presOf" srcId="{4A715A1A-D6DE-4C22-91AD-F79AB1C744D9}" destId="{0B5F9948-5798-4BC7-92CF-0412F27FE112}" srcOrd="0" destOrd="0" presId="urn:microsoft.com/office/officeart/2005/8/layout/default"/>
    <dgm:cxn modelId="{7A899842-B6A9-45EF-9FBC-E6143D3555C6}" type="presOf" srcId="{55E394D7-44BA-41A6-A590-CC1817E184BC}" destId="{9AEA98C7-4090-4C05-97E1-03FBA897BDD3}" srcOrd="0" destOrd="0" presId="urn:microsoft.com/office/officeart/2005/8/layout/default"/>
    <dgm:cxn modelId="{42FA2246-53F7-4A17-9E9C-0ADAA2EBD5CE}" type="presOf" srcId="{93C095B1-ECB3-45F9-931D-965310170F48}" destId="{E89BC89C-0D75-4278-AD22-D5E8A1CA0E81}" srcOrd="0" destOrd="0" presId="urn:microsoft.com/office/officeart/2005/8/layout/default"/>
    <dgm:cxn modelId="{AE5D026D-BD94-4703-B91F-37E15750E594}" type="presOf" srcId="{BEDCA8A7-2B78-4C34-B83A-CFABA7C1BA9D}" destId="{84A975DF-2915-452A-AC07-BC45C466D9B2}" srcOrd="0" destOrd="0" presId="urn:microsoft.com/office/officeart/2005/8/layout/default"/>
    <dgm:cxn modelId="{48C3D84D-B2CA-4412-9DF2-217281D1C3CC}" srcId="{C429F172-266E-4194-B325-3535962682A2}" destId="{4A715A1A-D6DE-4C22-91AD-F79AB1C744D9}" srcOrd="5" destOrd="0" parTransId="{31B40485-F949-4525-95B1-38F94F14A385}" sibTransId="{34F7DB43-54BB-4E1A-B6AC-FE492083E042}"/>
    <dgm:cxn modelId="{8F93214F-87F4-4E94-A157-51C7B2CF7276}" type="presOf" srcId="{B0B2AB1A-666B-4213-AFFB-D80C4D718166}" destId="{6D183435-34CF-4B12-9DA8-2F47FE0D5A58}" srcOrd="0" destOrd="0" presId="urn:microsoft.com/office/officeart/2005/8/layout/default"/>
    <dgm:cxn modelId="{EECBB055-CF58-4848-A436-618664001353}" srcId="{C429F172-266E-4194-B325-3535962682A2}" destId="{A1A98001-9712-4C48-9249-44CF54A00403}" srcOrd="7" destOrd="0" parTransId="{62C37B20-2A2E-46E4-B04D-95CB9299B95F}" sibTransId="{076137A0-01CD-4F81-AEAF-1830760956C4}"/>
    <dgm:cxn modelId="{C6DA837C-D1F3-4B47-8316-91B277EFE70E}" type="presOf" srcId="{48352595-9799-4A73-9006-ADDCFF821A30}" destId="{9119FA99-A6AF-4099-82A7-8C24B70FE159}" srcOrd="0" destOrd="0" presId="urn:microsoft.com/office/officeart/2005/8/layout/default"/>
    <dgm:cxn modelId="{17E2958E-58D9-4B61-9177-50DD429D01D6}" srcId="{C429F172-266E-4194-B325-3535962682A2}" destId="{2F8A2428-235E-4E04-9A87-DD3B108894D1}" srcOrd="3" destOrd="0" parTransId="{56D1E64B-8D7C-4FF5-87C6-E481E523F5AC}" sibTransId="{FB820F41-44F3-4C77-B0A2-A3917D1238E5}"/>
    <dgm:cxn modelId="{6626E79B-BC5D-4AA9-AA03-13B533B9C664}" srcId="{C429F172-266E-4194-B325-3535962682A2}" destId="{DBEFD9A5-0741-4627-9D85-A56B684E7F3C}" srcOrd="4" destOrd="0" parTransId="{429203D1-EECD-4C8B-BD4E-A8439B1C0023}" sibTransId="{B6A2B5BA-8D67-49D6-A5D1-EFB9F40C2574}"/>
    <dgm:cxn modelId="{72E2A9AB-BB83-430C-A8A8-0C34E78AAA53}" type="presOf" srcId="{A1A98001-9712-4C48-9249-44CF54A00403}" destId="{19248172-6157-497B-BA70-FA56FE6BF3C5}" srcOrd="0" destOrd="0" presId="urn:microsoft.com/office/officeart/2005/8/layout/default"/>
    <dgm:cxn modelId="{EB2085AC-AB72-4B47-86A9-F9097BC391A9}" srcId="{C429F172-266E-4194-B325-3535962682A2}" destId="{B0B2AB1A-666B-4213-AFFB-D80C4D718166}" srcOrd="8" destOrd="0" parTransId="{BEB4E172-7AA0-4E7E-A748-E5263312E0E4}" sibTransId="{7A132A8C-A55B-49B8-95A8-5EA1B55A9B43}"/>
    <dgm:cxn modelId="{DB6F03B9-3680-45C8-A595-B58514D423F8}" srcId="{C429F172-266E-4194-B325-3535962682A2}" destId="{93C095B1-ECB3-45F9-931D-965310170F48}" srcOrd="2" destOrd="0" parTransId="{4C1F98C7-D98F-400B-9627-7BAFC8E56757}" sibTransId="{2E7581EB-BA56-445A-9F9A-9A5658AC4281}"/>
    <dgm:cxn modelId="{977CDBBF-967C-4F1A-8206-F478D2101504}" srcId="{C429F172-266E-4194-B325-3535962682A2}" destId="{48352595-9799-4A73-9006-ADDCFF821A30}" srcOrd="1" destOrd="0" parTransId="{94EFC79A-B414-4CB6-84CC-BBFAE39C9418}" sibTransId="{3405CAAD-7D5C-4019-A5A3-3C4A3C39B034}"/>
    <dgm:cxn modelId="{475ABCC5-4213-4261-A9B8-7CA40F7736A1}" type="presOf" srcId="{25D1D2E0-2852-4E4E-ABAD-5368BECDB914}" destId="{16D1BAC0-33F6-4CBE-B0E4-02B5814E532B}" srcOrd="0" destOrd="0" presId="urn:microsoft.com/office/officeart/2005/8/layout/default"/>
    <dgm:cxn modelId="{11160BE8-50C9-485F-A3CC-A0BC73CD2E29}" type="presOf" srcId="{DBEFD9A5-0741-4627-9D85-A56B684E7F3C}" destId="{325B5309-D9A0-4459-8AF4-F7C707F63A75}" srcOrd="0" destOrd="0" presId="urn:microsoft.com/office/officeart/2005/8/layout/default"/>
    <dgm:cxn modelId="{9A18752F-7FF7-48AF-B51A-39B40255DCDC}" type="presParOf" srcId="{980B777A-0A92-48C0-93D2-4B0336BD1A05}" destId="{16D1BAC0-33F6-4CBE-B0E4-02B5814E532B}" srcOrd="0" destOrd="0" presId="urn:microsoft.com/office/officeart/2005/8/layout/default"/>
    <dgm:cxn modelId="{D15354C9-1F43-438D-B3F3-388EFC2D3CDC}" type="presParOf" srcId="{980B777A-0A92-48C0-93D2-4B0336BD1A05}" destId="{F76BC67F-9884-489B-8D65-5C78C2535FC0}" srcOrd="1" destOrd="0" presId="urn:microsoft.com/office/officeart/2005/8/layout/default"/>
    <dgm:cxn modelId="{77B46529-0ABC-406B-82DD-75F1D6980323}" type="presParOf" srcId="{980B777A-0A92-48C0-93D2-4B0336BD1A05}" destId="{9119FA99-A6AF-4099-82A7-8C24B70FE159}" srcOrd="2" destOrd="0" presId="urn:microsoft.com/office/officeart/2005/8/layout/default"/>
    <dgm:cxn modelId="{8CEC9CB2-0449-4855-8C49-2E58B14DC6F4}" type="presParOf" srcId="{980B777A-0A92-48C0-93D2-4B0336BD1A05}" destId="{BC8F2EA6-643B-4E54-9DFB-4A5E3D7A592C}" srcOrd="3" destOrd="0" presId="urn:microsoft.com/office/officeart/2005/8/layout/default"/>
    <dgm:cxn modelId="{16133A58-86A3-4DF4-8F19-8F7C906AE562}" type="presParOf" srcId="{980B777A-0A92-48C0-93D2-4B0336BD1A05}" destId="{E89BC89C-0D75-4278-AD22-D5E8A1CA0E81}" srcOrd="4" destOrd="0" presId="urn:microsoft.com/office/officeart/2005/8/layout/default"/>
    <dgm:cxn modelId="{66D255B4-0E4B-400E-A6FB-5C501114C8E6}" type="presParOf" srcId="{980B777A-0A92-48C0-93D2-4B0336BD1A05}" destId="{46EE4BCE-D601-4457-96EE-BBB12DB42759}" srcOrd="5" destOrd="0" presId="urn:microsoft.com/office/officeart/2005/8/layout/default"/>
    <dgm:cxn modelId="{648C5FD9-08B3-4C80-AEB9-81C075A8E822}" type="presParOf" srcId="{980B777A-0A92-48C0-93D2-4B0336BD1A05}" destId="{B9B1A806-33F0-4B71-8AE0-95D91255503F}" srcOrd="6" destOrd="0" presId="urn:microsoft.com/office/officeart/2005/8/layout/default"/>
    <dgm:cxn modelId="{8B6071AE-8CC3-48A9-A5F2-B907495EFAE3}" type="presParOf" srcId="{980B777A-0A92-48C0-93D2-4B0336BD1A05}" destId="{EB5FCB86-7638-4D09-BDA2-781FAFFB00A8}" srcOrd="7" destOrd="0" presId="urn:microsoft.com/office/officeart/2005/8/layout/default"/>
    <dgm:cxn modelId="{298948AD-D822-4EEA-959F-2CC6F082BEAE}" type="presParOf" srcId="{980B777A-0A92-48C0-93D2-4B0336BD1A05}" destId="{325B5309-D9A0-4459-8AF4-F7C707F63A75}" srcOrd="8" destOrd="0" presId="urn:microsoft.com/office/officeart/2005/8/layout/default"/>
    <dgm:cxn modelId="{600CE72F-4F37-4812-B02E-E8477F093E40}" type="presParOf" srcId="{980B777A-0A92-48C0-93D2-4B0336BD1A05}" destId="{BDFA40A1-95B3-46F3-8B38-0B39AFCCA546}" srcOrd="9" destOrd="0" presId="urn:microsoft.com/office/officeart/2005/8/layout/default"/>
    <dgm:cxn modelId="{E32CCA4C-9E3D-495F-B327-350B6972FE19}" type="presParOf" srcId="{980B777A-0A92-48C0-93D2-4B0336BD1A05}" destId="{0B5F9948-5798-4BC7-92CF-0412F27FE112}" srcOrd="10" destOrd="0" presId="urn:microsoft.com/office/officeart/2005/8/layout/default"/>
    <dgm:cxn modelId="{D60FD70F-803E-429B-8185-BEA7FEFFA5C7}" type="presParOf" srcId="{980B777A-0A92-48C0-93D2-4B0336BD1A05}" destId="{F30F5F64-69E5-472E-A786-3DFF28D55FF3}" srcOrd="11" destOrd="0" presId="urn:microsoft.com/office/officeart/2005/8/layout/default"/>
    <dgm:cxn modelId="{D28ECDFE-E79F-4EB4-B857-CDE806AF45C0}" type="presParOf" srcId="{980B777A-0A92-48C0-93D2-4B0336BD1A05}" destId="{84A975DF-2915-452A-AC07-BC45C466D9B2}" srcOrd="12" destOrd="0" presId="urn:microsoft.com/office/officeart/2005/8/layout/default"/>
    <dgm:cxn modelId="{68613953-106D-4397-ADF2-415C40D89370}" type="presParOf" srcId="{980B777A-0A92-48C0-93D2-4B0336BD1A05}" destId="{3BC73941-6D9B-4993-9FB9-442D6AE9E8E6}" srcOrd="13" destOrd="0" presId="urn:microsoft.com/office/officeart/2005/8/layout/default"/>
    <dgm:cxn modelId="{2740B8BD-E21A-426F-886C-8ADD3AD37AC8}" type="presParOf" srcId="{980B777A-0A92-48C0-93D2-4B0336BD1A05}" destId="{19248172-6157-497B-BA70-FA56FE6BF3C5}" srcOrd="14" destOrd="0" presId="urn:microsoft.com/office/officeart/2005/8/layout/default"/>
    <dgm:cxn modelId="{E67D7E49-3BF9-4438-A956-2D8F4CF3A056}" type="presParOf" srcId="{980B777A-0A92-48C0-93D2-4B0336BD1A05}" destId="{8723A695-C4B2-4B66-8BF8-A3F50E52D163}" srcOrd="15" destOrd="0" presId="urn:microsoft.com/office/officeart/2005/8/layout/default"/>
    <dgm:cxn modelId="{37D560BA-63E1-499B-9724-563CB5E7D245}" type="presParOf" srcId="{980B777A-0A92-48C0-93D2-4B0336BD1A05}" destId="{6D183435-34CF-4B12-9DA8-2F47FE0D5A58}" srcOrd="16" destOrd="0" presId="urn:microsoft.com/office/officeart/2005/8/layout/default"/>
    <dgm:cxn modelId="{C84E04A8-DCA1-4922-8BCE-8CB34613D151}" type="presParOf" srcId="{980B777A-0A92-48C0-93D2-4B0336BD1A05}" destId="{62BA2D07-8ED0-4727-92A3-41E0DAE89D48}" srcOrd="17" destOrd="0" presId="urn:microsoft.com/office/officeart/2005/8/layout/default"/>
    <dgm:cxn modelId="{9DF98530-0455-47E0-B34C-75AEBF045899}" type="presParOf" srcId="{980B777A-0A92-48C0-93D2-4B0336BD1A05}" destId="{9AEA98C7-4090-4C05-97E1-03FBA897BDD3}"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Turn off non-prod VMs during off hour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Delete expired resourc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Monitor connections and integration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Respond to monitoring aler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Produce compliance report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Azure Service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Office 365</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SAP</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Salesforce</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400" dirty="0"/>
            <a:t>Oracle</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5">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1D912BD-5577-4418-BC1B-0703A0C0DCF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ADF9B0-14E3-4361-946D-DD26AE0E077E}">
      <dgm:prSet phldrT="[Text]"/>
      <dgm:spPr/>
      <dgm:t>
        <a:bodyPr/>
        <a:lstStyle/>
        <a:p>
          <a:r>
            <a:rPr lang="en-US" dirty="0"/>
            <a:t>UD 1</a:t>
          </a:r>
        </a:p>
      </dgm:t>
    </dgm:pt>
    <dgm:pt modelId="{56B8DB5C-6967-4D74-A162-37B713073927}" type="parTrans" cxnId="{C9A64884-AEE9-4E83-987B-D371A36E70D7}">
      <dgm:prSet/>
      <dgm:spPr/>
      <dgm:t>
        <a:bodyPr/>
        <a:lstStyle/>
        <a:p>
          <a:endParaRPr lang="en-US"/>
        </a:p>
      </dgm:t>
    </dgm:pt>
    <dgm:pt modelId="{E5EBB7BE-E1A9-41B3-9B4D-6E857DC91DDA}" type="sibTrans" cxnId="{C9A64884-AEE9-4E83-987B-D371A36E70D7}">
      <dgm:prSet/>
      <dgm:spPr/>
      <dgm:t>
        <a:bodyPr/>
        <a:lstStyle/>
        <a:p>
          <a:endParaRPr lang="en-US"/>
        </a:p>
      </dgm:t>
    </dgm:pt>
    <dgm:pt modelId="{CF8CDEAC-D2FD-439A-A965-BEDB60019C27}">
      <dgm:prSet phldrT="[Text]"/>
      <dgm:spPr/>
      <dgm:t>
        <a:bodyPr/>
        <a:lstStyle/>
        <a:p>
          <a:r>
            <a:rPr lang="en-US" dirty="0"/>
            <a:t>UD 2</a:t>
          </a:r>
        </a:p>
      </dgm:t>
    </dgm:pt>
    <dgm:pt modelId="{84E25DB0-C0C7-49B3-8C12-BDAF472F4664}" type="parTrans" cxnId="{C3FD6E28-25EE-4494-902A-3916D7431F4A}">
      <dgm:prSet/>
      <dgm:spPr/>
      <dgm:t>
        <a:bodyPr/>
        <a:lstStyle/>
        <a:p>
          <a:endParaRPr lang="en-US"/>
        </a:p>
      </dgm:t>
    </dgm:pt>
    <dgm:pt modelId="{73722D22-3617-425F-95A3-79943AF46D0B}" type="sibTrans" cxnId="{C3FD6E28-25EE-4494-902A-3916D7431F4A}">
      <dgm:prSet/>
      <dgm:spPr/>
      <dgm:t>
        <a:bodyPr/>
        <a:lstStyle/>
        <a:p>
          <a:endParaRPr lang="en-US"/>
        </a:p>
      </dgm:t>
    </dgm:pt>
    <dgm:pt modelId="{B5A2EEA9-441A-4507-A933-C7A1A7FD2699}">
      <dgm:prSet phldrT="[Text]"/>
      <dgm:spPr/>
      <dgm:t>
        <a:bodyPr/>
        <a:lstStyle/>
        <a:p>
          <a:r>
            <a:rPr lang="en-US" dirty="0"/>
            <a:t>UD 3</a:t>
          </a:r>
        </a:p>
      </dgm:t>
    </dgm:pt>
    <dgm:pt modelId="{C1A7586F-2C5D-47D1-975A-E93EA0FE81FF}" type="parTrans" cxnId="{23479CC3-5AF2-4DB8-8F84-2DBC779CD1E7}">
      <dgm:prSet/>
      <dgm:spPr/>
      <dgm:t>
        <a:bodyPr/>
        <a:lstStyle/>
        <a:p>
          <a:endParaRPr lang="en-US"/>
        </a:p>
      </dgm:t>
    </dgm:pt>
    <dgm:pt modelId="{C7D9858E-B03D-493C-87DE-4657FF8D2192}" type="sibTrans" cxnId="{23479CC3-5AF2-4DB8-8F84-2DBC779CD1E7}">
      <dgm:prSet/>
      <dgm:spPr/>
      <dgm:t>
        <a:bodyPr/>
        <a:lstStyle/>
        <a:p>
          <a:endParaRPr lang="en-US"/>
        </a:p>
      </dgm:t>
    </dgm:pt>
    <dgm:pt modelId="{FE0E2E51-95A0-4FD5-95E4-105A605FF84A}">
      <dgm:prSet phldrT="[Text]"/>
      <dgm:spPr/>
      <dgm:t>
        <a:bodyPr/>
        <a:lstStyle/>
        <a:p>
          <a:r>
            <a:rPr lang="en-US" dirty="0"/>
            <a:t>UD 4</a:t>
          </a:r>
        </a:p>
      </dgm:t>
    </dgm:pt>
    <dgm:pt modelId="{A1B8C42E-41F6-40DF-8647-F647A904E571}" type="parTrans" cxnId="{0BA03064-380D-4EA8-AF92-F4DB9091C9B1}">
      <dgm:prSet/>
      <dgm:spPr/>
      <dgm:t>
        <a:bodyPr/>
        <a:lstStyle/>
        <a:p>
          <a:endParaRPr lang="en-US"/>
        </a:p>
      </dgm:t>
    </dgm:pt>
    <dgm:pt modelId="{9E477599-1EFC-4AF0-B475-E2BF00CA57D0}" type="sibTrans" cxnId="{0BA03064-380D-4EA8-AF92-F4DB9091C9B1}">
      <dgm:prSet/>
      <dgm:spPr/>
      <dgm:t>
        <a:bodyPr/>
        <a:lstStyle/>
        <a:p>
          <a:endParaRPr lang="en-US"/>
        </a:p>
      </dgm:t>
    </dgm:pt>
    <dgm:pt modelId="{9A574BB0-8E8B-4DAA-ABFA-0D8257709FF4}">
      <dgm:prSet phldrT="[Text]"/>
      <dgm:spPr/>
      <dgm:t>
        <a:bodyPr/>
        <a:lstStyle/>
        <a:p>
          <a:r>
            <a:rPr lang="en-US" dirty="0"/>
            <a:t>UD 5</a:t>
          </a:r>
        </a:p>
      </dgm:t>
    </dgm:pt>
    <dgm:pt modelId="{01A14266-874B-4862-9467-C75B8C5F9861}" type="parTrans" cxnId="{8962C4D2-7FC4-4472-8E82-B314B8017B9E}">
      <dgm:prSet/>
      <dgm:spPr/>
      <dgm:t>
        <a:bodyPr/>
        <a:lstStyle/>
        <a:p>
          <a:endParaRPr lang="en-US"/>
        </a:p>
      </dgm:t>
    </dgm:pt>
    <dgm:pt modelId="{33F6973E-4CC3-4BA8-9B76-D86EDCAC7420}" type="sibTrans" cxnId="{8962C4D2-7FC4-4472-8E82-B314B8017B9E}">
      <dgm:prSet/>
      <dgm:spPr/>
      <dgm:t>
        <a:bodyPr/>
        <a:lstStyle/>
        <a:p>
          <a:endParaRPr lang="en-US"/>
        </a:p>
      </dgm:t>
    </dgm:pt>
    <dgm:pt modelId="{0640781E-F88D-4745-95D9-2BD8B5CCF4FF}">
      <dgm:prSet phldrT="[Text]"/>
      <dgm:spPr/>
      <dgm:t>
        <a:bodyPr/>
        <a:lstStyle/>
        <a:p>
          <a:r>
            <a:rPr lang="en-US" dirty="0"/>
            <a:t>UD 6</a:t>
          </a:r>
        </a:p>
      </dgm:t>
    </dgm:pt>
    <dgm:pt modelId="{E5C243B4-9CC2-47EC-849D-297DEC289F29}" type="parTrans" cxnId="{E5C5714B-05AD-4D66-9112-F04FB23C73F5}">
      <dgm:prSet/>
      <dgm:spPr/>
      <dgm:t>
        <a:bodyPr/>
        <a:lstStyle/>
        <a:p>
          <a:endParaRPr lang="en-US"/>
        </a:p>
      </dgm:t>
    </dgm:pt>
    <dgm:pt modelId="{BBF49B5B-3BE9-49EB-BA1C-C07CDF9A3EA1}" type="sibTrans" cxnId="{E5C5714B-05AD-4D66-9112-F04FB23C73F5}">
      <dgm:prSet/>
      <dgm:spPr/>
      <dgm:t>
        <a:bodyPr/>
        <a:lstStyle/>
        <a:p>
          <a:endParaRPr lang="en-US"/>
        </a:p>
      </dgm:t>
    </dgm:pt>
    <dgm:pt modelId="{85848149-7509-4806-8E57-80FA234839A5}">
      <dgm:prSet phldrT="[Text]"/>
      <dgm:spPr/>
      <dgm:t>
        <a:bodyPr/>
        <a:lstStyle/>
        <a:p>
          <a:r>
            <a:rPr lang="en-US" dirty="0"/>
            <a:t>UD 7</a:t>
          </a:r>
        </a:p>
      </dgm:t>
    </dgm:pt>
    <dgm:pt modelId="{D15B98E4-3FBA-46BE-89C4-F7095CB30B30}" type="parTrans" cxnId="{DC041436-D62D-4F21-B259-2E1C4A7463AF}">
      <dgm:prSet/>
      <dgm:spPr/>
      <dgm:t>
        <a:bodyPr/>
        <a:lstStyle/>
        <a:p>
          <a:endParaRPr lang="en-US"/>
        </a:p>
      </dgm:t>
    </dgm:pt>
    <dgm:pt modelId="{B99C46BD-1482-442D-95D9-2DB72E3607D7}" type="sibTrans" cxnId="{DC041436-D62D-4F21-B259-2E1C4A7463AF}">
      <dgm:prSet/>
      <dgm:spPr/>
      <dgm:t>
        <a:bodyPr/>
        <a:lstStyle/>
        <a:p>
          <a:endParaRPr lang="en-US"/>
        </a:p>
      </dgm:t>
    </dgm:pt>
    <dgm:pt modelId="{1D8BF45C-AF59-4FE9-A148-3901985CBC1F}">
      <dgm:prSet phldrT="[Text]"/>
      <dgm:spPr/>
      <dgm:t>
        <a:bodyPr/>
        <a:lstStyle/>
        <a:p>
          <a:r>
            <a:rPr lang="en-US" dirty="0"/>
            <a:t>UD 8</a:t>
          </a:r>
        </a:p>
      </dgm:t>
    </dgm:pt>
    <dgm:pt modelId="{28DEC143-429B-4743-B343-3C8FE724573A}" type="parTrans" cxnId="{B99839E3-5DBF-4902-A35F-8EC9B5E7414C}">
      <dgm:prSet/>
      <dgm:spPr/>
      <dgm:t>
        <a:bodyPr/>
        <a:lstStyle/>
        <a:p>
          <a:endParaRPr lang="en-US"/>
        </a:p>
      </dgm:t>
    </dgm:pt>
    <dgm:pt modelId="{0047AF9E-4971-48C0-A44F-D559B6C84841}" type="sibTrans" cxnId="{B99839E3-5DBF-4902-A35F-8EC9B5E7414C}">
      <dgm:prSet/>
      <dgm:spPr/>
      <dgm:t>
        <a:bodyPr/>
        <a:lstStyle/>
        <a:p>
          <a:endParaRPr lang="en-US"/>
        </a:p>
      </dgm:t>
    </dgm:pt>
    <dgm:pt modelId="{8CE8580F-D61D-463A-841C-1E8E3BBF7C41}">
      <dgm:prSet phldrT="[Text]"/>
      <dgm:spPr/>
      <dgm:t>
        <a:bodyPr/>
        <a:lstStyle/>
        <a:p>
          <a:r>
            <a:rPr lang="en-US" dirty="0"/>
            <a:t>UD 9</a:t>
          </a:r>
        </a:p>
      </dgm:t>
    </dgm:pt>
    <dgm:pt modelId="{764C2E69-3EA1-4B3B-8AD2-9EBEBBFD66A2}" type="parTrans" cxnId="{E0CE5CA1-13C3-41D8-BA36-17CEDEF35304}">
      <dgm:prSet/>
      <dgm:spPr/>
      <dgm:t>
        <a:bodyPr/>
        <a:lstStyle/>
        <a:p>
          <a:endParaRPr lang="en-US"/>
        </a:p>
      </dgm:t>
    </dgm:pt>
    <dgm:pt modelId="{BF38492D-D251-4B29-8ABB-C103697518C7}" type="sibTrans" cxnId="{E0CE5CA1-13C3-41D8-BA36-17CEDEF35304}">
      <dgm:prSet/>
      <dgm:spPr/>
      <dgm:t>
        <a:bodyPr/>
        <a:lstStyle/>
        <a:p>
          <a:endParaRPr lang="en-US"/>
        </a:p>
      </dgm:t>
    </dgm:pt>
    <dgm:pt modelId="{41CC7167-829D-461D-B361-3EAF751CC402}">
      <dgm:prSet phldrT="[Text]"/>
      <dgm:spPr/>
      <dgm:t>
        <a:bodyPr/>
        <a:lstStyle/>
        <a:p>
          <a:r>
            <a:rPr lang="en-US" dirty="0"/>
            <a:t>UD 10</a:t>
          </a:r>
        </a:p>
      </dgm:t>
    </dgm:pt>
    <dgm:pt modelId="{C101ABB8-A9D5-4088-A129-486A02EBE094}" type="parTrans" cxnId="{73C08C51-FEDA-43DD-85BA-E0F3EA7CB14C}">
      <dgm:prSet/>
      <dgm:spPr/>
      <dgm:t>
        <a:bodyPr/>
        <a:lstStyle/>
        <a:p>
          <a:endParaRPr lang="en-US"/>
        </a:p>
      </dgm:t>
    </dgm:pt>
    <dgm:pt modelId="{1B5831CC-3B5D-4C17-BFC1-F0304ECFB919}" type="sibTrans" cxnId="{73C08C51-FEDA-43DD-85BA-E0F3EA7CB14C}">
      <dgm:prSet/>
      <dgm:spPr/>
      <dgm:t>
        <a:bodyPr/>
        <a:lstStyle/>
        <a:p>
          <a:endParaRPr lang="en-US"/>
        </a:p>
      </dgm:t>
    </dgm:pt>
    <dgm:pt modelId="{B43A4957-6412-4073-9D89-6DE8C067F0EE}" type="pres">
      <dgm:prSet presAssocID="{B1D912BD-5577-4418-BC1B-0703A0C0DCF4}" presName="diagram" presStyleCnt="0">
        <dgm:presLayoutVars>
          <dgm:dir/>
          <dgm:resizeHandles val="exact"/>
        </dgm:presLayoutVars>
      </dgm:prSet>
      <dgm:spPr/>
    </dgm:pt>
    <dgm:pt modelId="{2D7856ED-AB73-4EE1-857C-4EEC4FA498F4}" type="pres">
      <dgm:prSet presAssocID="{0DADF9B0-14E3-4361-946D-DD26AE0E077E}" presName="node" presStyleLbl="node1" presStyleIdx="0" presStyleCnt="10">
        <dgm:presLayoutVars>
          <dgm:bulletEnabled val="1"/>
        </dgm:presLayoutVars>
      </dgm:prSet>
      <dgm:spPr/>
    </dgm:pt>
    <dgm:pt modelId="{9EC70A8A-DF2F-4A98-8CB4-BB34AABA321F}" type="pres">
      <dgm:prSet presAssocID="{E5EBB7BE-E1A9-41B3-9B4D-6E857DC91DDA}" presName="sibTrans" presStyleCnt="0"/>
      <dgm:spPr/>
    </dgm:pt>
    <dgm:pt modelId="{D1210EBF-2B00-460B-B4E2-490A4C6D26AA}" type="pres">
      <dgm:prSet presAssocID="{CF8CDEAC-D2FD-439A-A965-BEDB60019C27}" presName="node" presStyleLbl="node1" presStyleIdx="1" presStyleCnt="10">
        <dgm:presLayoutVars>
          <dgm:bulletEnabled val="1"/>
        </dgm:presLayoutVars>
      </dgm:prSet>
      <dgm:spPr/>
    </dgm:pt>
    <dgm:pt modelId="{E5FBC5CB-35CB-4D3D-9613-CD6355FD8FA1}" type="pres">
      <dgm:prSet presAssocID="{73722D22-3617-425F-95A3-79943AF46D0B}" presName="sibTrans" presStyleCnt="0"/>
      <dgm:spPr/>
    </dgm:pt>
    <dgm:pt modelId="{B67C0479-8C7F-4B4C-8067-B717794BE932}" type="pres">
      <dgm:prSet presAssocID="{B5A2EEA9-441A-4507-A933-C7A1A7FD2699}" presName="node" presStyleLbl="node1" presStyleIdx="2" presStyleCnt="10">
        <dgm:presLayoutVars>
          <dgm:bulletEnabled val="1"/>
        </dgm:presLayoutVars>
      </dgm:prSet>
      <dgm:spPr/>
    </dgm:pt>
    <dgm:pt modelId="{239DDDB4-A3FE-4A56-B7EF-EEB701E7EDB3}" type="pres">
      <dgm:prSet presAssocID="{C7D9858E-B03D-493C-87DE-4657FF8D2192}" presName="sibTrans" presStyleCnt="0"/>
      <dgm:spPr/>
    </dgm:pt>
    <dgm:pt modelId="{5CFA7A53-1FC3-4001-BAC8-0FD6651493D7}" type="pres">
      <dgm:prSet presAssocID="{FE0E2E51-95A0-4FD5-95E4-105A605FF84A}" presName="node" presStyleLbl="node1" presStyleIdx="3" presStyleCnt="10">
        <dgm:presLayoutVars>
          <dgm:bulletEnabled val="1"/>
        </dgm:presLayoutVars>
      </dgm:prSet>
      <dgm:spPr/>
    </dgm:pt>
    <dgm:pt modelId="{0C42253A-5BD7-489C-99CA-512102114F43}" type="pres">
      <dgm:prSet presAssocID="{9E477599-1EFC-4AF0-B475-E2BF00CA57D0}" presName="sibTrans" presStyleCnt="0"/>
      <dgm:spPr/>
    </dgm:pt>
    <dgm:pt modelId="{EF6E218F-F4A3-4901-9314-DE3069B4EE3C}" type="pres">
      <dgm:prSet presAssocID="{9A574BB0-8E8B-4DAA-ABFA-0D8257709FF4}" presName="node" presStyleLbl="node1" presStyleIdx="4" presStyleCnt="10">
        <dgm:presLayoutVars>
          <dgm:bulletEnabled val="1"/>
        </dgm:presLayoutVars>
      </dgm:prSet>
      <dgm:spPr/>
    </dgm:pt>
    <dgm:pt modelId="{019D8BD8-C5BB-4AEA-840D-DF07E1F7A30A}" type="pres">
      <dgm:prSet presAssocID="{33F6973E-4CC3-4BA8-9B76-D86EDCAC7420}" presName="sibTrans" presStyleCnt="0"/>
      <dgm:spPr/>
    </dgm:pt>
    <dgm:pt modelId="{D238A3FF-A2F3-45FE-8D52-5D6133D83A72}" type="pres">
      <dgm:prSet presAssocID="{0640781E-F88D-4745-95D9-2BD8B5CCF4FF}" presName="node" presStyleLbl="node1" presStyleIdx="5" presStyleCnt="10">
        <dgm:presLayoutVars>
          <dgm:bulletEnabled val="1"/>
        </dgm:presLayoutVars>
      </dgm:prSet>
      <dgm:spPr/>
    </dgm:pt>
    <dgm:pt modelId="{B2AF49E9-979D-426C-9C81-76BFEEB21D69}" type="pres">
      <dgm:prSet presAssocID="{BBF49B5B-3BE9-49EB-BA1C-C07CDF9A3EA1}" presName="sibTrans" presStyleCnt="0"/>
      <dgm:spPr/>
    </dgm:pt>
    <dgm:pt modelId="{59BEE0CF-B99C-4BDE-9B3F-9DB41B8AF34E}" type="pres">
      <dgm:prSet presAssocID="{85848149-7509-4806-8E57-80FA234839A5}" presName="node" presStyleLbl="node1" presStyleIdx="6" presStyleCnt="10">
        <dgm:presLayoutVars>
          <dgm:bulletEnabled val="1"/>
        </dgm:presLayoutVars>
      </dgm:prSet>
      <dgm:spPr/>
    </dgm:pt>
    <dgm:pt modelId="{4426A509-3F40-44F0-8B2B-BDF1673F94D9}" type="pres">
      <dgm:prSet presAssocID="{B99C46BD-1482-442D-95D9-2DB72E3607D7}" presName="sibTrans" presStyleCnt="0"/>
      <dgm:spPr/>
    </dgm:pt>
    <dgm:pt modelId="{01F77A6F-A8C8-43B9-9623-EA0577125C93}" type="pres">
      <dgm:prSet presAssocID="{1D8BF45C-AF59-4FE9-A148-3901985CBC1F}" presName="node" presStyleLbl="node1" presStyleIdx="7" presStyleCnt="10">
        <dgm:presLayoutVars>
          <dgm:bulletEnabled val="1"/>
        </dgm:presLayoutVars>
      </dgm:prSet>
      <dgm:spPr/>
    </dgm:pt>
    <dgm:pt modelId="{6A6DCA53-C1B1-46C8-8F94-5717EC37358F}" type="pres">
      <dgm:prSet presAssocID="{0047AF9E-4971-48C0-A44F-D559B6C84841}" presName="sibTrans" presStyleCnt="0"/>
      <dgm:spPr/>
    </dgm:pt>
    <dgm:pt modelId="{47543818-EF56-4B84-AD43-D66CA858D03A}" type="pres">
      <dgm:prSet presAssocID="{8CE8580F-D61D-463A-841C-1E8E3BBF7C41}" presName="node" presStyleLbl="node1" presStyleIdx="8" presStyleCnt="10">
        <dgm:presLayoutVars>
          <dgm:bulletEnabled val="1"/>
        </dgm:presLayoutVars>
      </dgm:prSet>
      <dgm:spPr/>
    </dgm:pt>
    <dgm:pt modelId="{18B35C7C-7C94-4B1A-9F84-498DA7DE9DC2}" type="pres">
      <dgm:prSet presAssocID="{BF38492D-D251-4B29-8ABB-C103697518C7}" presName="sibTrans" presStyleCnt="0"/>
      <dgm:spPr/>
    </dgm:pt>
    <dgm:pt modelId="{3E0834CC-50A1-4261-BDFD-604545D3A895}" type="pres">
      <dgm:prSet presAssocID="{41CC7167-829D-461D-B361-3EAF751CC402}" presName="node" presStyleLbl="node1" presStyleIdx="9" presStyleCnt="10">
        <dgm:presLayoutVars>
          <dgm:bulletEnabled val="1"/>
        </dgm:presLayoutVars>
      </dgm:prSet>
      <dgm:spPr/>
    </dgm:pt>
  </dgm:ptLst>
  <dgm:cxnLst>
    <dgm:cxn modelId="{F7AFEF00-F483-4567-B938-C67585C5E0E8}" type="presOf" srcId="{9A574BB0-8E8B-4DAA-ABFA-0D8257709FF4}" destId="{EF6E218F-F4A3-4901-9314-DE3069B4EE3C}" srcOrd="0" destOrd="0" presId="urn:microsoft.com/office/officeart/2005/8/layout/default"/>
    <dgm:cxn modelId="{92560108-F9CD-454F-84B7-8C7BA2A00D9D}" type="presOf" srcId="{0640781E-F88D-4745-95D9-2BD8B5CCF4FF}" destId="{D238A3FF-A2F3-45FE-8D52-5D6133D83A72}" srcOrd="0" destOrd="0" presId="urn:microsoft.com/office/officeart/2005/8/layout/default"/>
    <dgm:cxn modelId="{C3FD6E28-25EE-4494-902A-3916D7431F4A}" srcId="{B1D912BD-5577-4418-BC1B-0703A0C0DCF4}" destId="{CF8CDEAC-D2FD-439A-A965-BEDB60019C27}" srcOrd="1" destOrd="0" parTransId="{84E25DB0-C0C7-49B3-8C12-BDAF472F4664}" sibTransId="{73722D22-3617-425F-95A3-79943AF46D0B}"/>
    <dgm:cxn modelId="{F4A1CC33-D8D5-4412-98B4-DABD4DB43D73}" type="presOf" srcId="{0DADF9B0-14E3-4361-946D-DD26AE0E077E}" destId="{2D7856ED-AB73-4EE1-857C-4EEC4FA498F4}" srcOrd="0" destOrd="0" presId="urn:microsoft.com/office/officeart/2005/8/layout/default"/>
    <dgm:cxn modelId="{DC041436-D62D-4F21-B259-2E1C4A7463AF}" srcId="{B1D912BD-5577-4418-BC1B-0703A0C0DCF4}" destId="{85848149-7509-4806-8E57-80FA234839A5}" srcOrd="6" destOrd="0" parTransId="{D15B98E4-3FBA-46BE-89C4-F7095CB30B30}" sibTransId="{B99C46BD-1482-442D-95D9-2DB72E3607D7}"/>
    <dgm:cxn modelId="{02967537-DBDC-4CCD-9FE0-89AF69F393D0}" type="presOf" srcId="{85848149-7509-4806-8E57-80FA234839A5}" destId="{59BEE0CF-B99C-4BDE-9B3F-9DB41B8AF34E}" srcOrd="0" destOrd="0" presId="urn:microsoft.com/office/officeart/2005/8/layout/default"/>
    <dgm:cxn modelId="{0BA03064-380D-4EA8-AF92-F4DB9091C9B1}" srcId="{B1D912BD-5577-4418-BC1B-0703A0C0DCF4}" destId="{FE0E2E51-95A0-4FD5-95E4-105A605FF84A}" srcOrd="3" destOrd="0" parTransId="{A1B8C42E-41F6-40DF-8647-F647A904E571}" sibTransId="{9E477599-1EFC-4AF0-B475-E2BF00CA57D0}"/>
    <dgm:cxn modelId="{345C6764-3F74-415F-BEBA-8A24BBB05207}" type="presOf" srcId="{41CC7167-829D-461D-B361-3EAF751CC402}" destId="{3E0834CC-50A1-4261-BDFD-604545D3A895}" srcOrd="0" destOrd="0" presId="urn:microsoft.com/office/officeart/2005/8/layout/default"/>
    <dgm:cxn modelId="{1D3FEA64-645A-4123-8FCA-E5572E238AD5}" type="presOf" srcId="{CF8CDEAC-D2FD-439A-A965-BEDB60019C27}" destId="{D1210EBF-2B00-460B-B4E2-490A4C6D26AA}" srcOrd="0" destOrd="0" presId="urn:microsoft.com/office/officeart/2005/8/layout/default"/>
    <dgm:cxn modelId="{D3C36B46-8204-4BF5-BCA4-EFD722C001AB}" type="presOf" srcId="{B1D912BD-5577-4418-BC1B-0703A0C0DCF4}" destId="{B43A4957-6412-4073-9D89-6DE8C067F0EE}" srcOrd="0" destOrd="0" presId="urn:microsoft.com/office/officeart/2005/8/layout/default"/>
    <dgm:cxn modelId="{E5C5714B-05AD-4D66-9112-F04FB23C73F5}" srcId="{B1D912BD-5577-4418-BC1B-0703A0C0DCF4}" destId="{0640781E-F88D-4745-95D9-2BD8B5CCF4FF}" srcOrd="5" destOrd="0" parTransId="{E5C243B4-9CC2-47EC-849D-297DEC289F29}" sibTransId="{BBF49B5B-3BE9-49EB-BA1C-C07CDF9A3EA1}"/>
    <dgm:cxn modelId="{73C08C51-FEDA-43DD-85BA-E0F3EA7CB14C}" srcId="{B1D912BD-5577-4418-BC1B-0703A0C0DCF4}" destId="{41CC7167-829D-461D-B361-3EAF751CC402}" srcOrd="9" destOrd="0" parTransId="{C101ABB8-A9D5-4088-A129-486A02EBE094}" sibTransId="{1B5831CC-3B5D-4C17-BFC1-F0304ECFB919}"/>
    <dgm:cxn modelId="{6EA2F57D-9F8A-4A65-8B9B-02386A31476D}" type="presOf" srcId="{B5A2EEA9-441A-4507-A933-C7A1A7FD2699}" destId="{B67C0479-8C7F-4B4C-8067-B717794BE932}" srcOrd="0" destOrd="0" presId="urn:microsoft.com/office/officeart/2005/8/layout/default"/>
    <dgm:cxn modelId="{C9A64884-AEE9-4E83-987B-D371A36E70D7}" srcId="{B1D912BD-5577-4418-BC1B-0703A0C0DCF4}" destId="{0DADF9B0-14E3-4361-946D-DD26AE0E077E}" srcOrd="0" destOrd="0" parTransId="{56B8DB5C-6967-4D74-A162-37B713073927}" sibTransId="{E5EBB7BE-E1A9-41B3-9B4D-6E857DC91DDA}"/>
    <dgm:cxn modelId="{3712C390-8B66-46B5-85BF-0A838701B8A6}" type="presOf" srcId="{8CE8580F-D61D-463A-841C-1E8E3BBF7C41}" destId="{47543818-EF56-4B84-AD43-D66CA858D03A}" srcOrd="0" destOrd="0" presId="urn:microsoft.com/office/officeart/2005/8/layout/default"/>
    <dgm:cxn modelId="{E0CE5CA1-13C3-41D8-BA36-17CEDEF35304}" srcId="{B1D912BD-5577-4418-BC1B-0703A0C0DCF4}" destId="{8CE8580F-D61D-463A-841C-1E8E3BBF7C41}" srcOrd="8" destOrd="0" parTransId="{764C2E69-3EA1-4B3B-8AD2-9EBEBBFD66A2}" sibTransId="{BF38492D-D251-4B29-8ABB-C103697518C7}"/>
    <dgm:cxn modelId="{23479CC3-5AF2-4DB8-8F84-2DBC779CD1E7}" srcId="{B1D912BD-5577-4418-BC1B-0703A0C0DCF4}" destId="{B5A2EEA9-441A-4507-A933-C7A1A7FD2699}" srcOrd="2" destOrd="0" parTransId="{C1A7586F-2C5D-47D1-975A-E93EA0FE81FF}" sibTransId="{C7D9858E-B03D-493C-87DE-4657FF8D2192}"/>
    <dgm:cxn modelId="{8CB2C9CD-F946-497F-A230-4D354F5BFF93}" type="presOf" srcId="{FE0E2E51-95A0-4FD5-95E4-105A605FF84A}" destId="{5CFA7A53-1FC3-4001-BAC8-0FD6651493D7}" srcOrd="0" destOrd="0" presId="urn:microsoft.com/office/officeart/2005/8/layout/default"/>
    <dgm:cxn modelId="{8962C4D2-7FC4-4472-8E82-B314B8017B9E}" srcId="{B1D912BD-5577-4418-BC1B-0703A0C0DCF4}" destId="{9A574BB0-8E8B-4DAA-ABFA-0D8257709FF4}" srcOrd="4" destOrd="0" parTransId="{01A14266-874B-4862-9467-C75B8C5F9861}" sibTransId="{33F6973E-4CC3-4BA8-9B76-D86EDCAC7420}"/>
    <dgm:cxn modelId="{B99839E3-5DBF-4902-A35F-8EC9B5E7414C}" srcId="{B1D912BD-5577-4418-BC1B-0703A0C0DCF4}" destId="{1D8BF45C-AF59-4FE9-A148-3901985CBC1F}" srcOrd="7" destOrd="0" parTransId="{28DEC143-429B-4743-B343-3C8FE724573A}" sibTransId="{0047AF9E-4971-48C0-A44F-D559B6C84841}"/>
    <dgm:cxn modelId="{A56AB3F2-83AA-485A-9A8A-E709045255E4}" type="presOf" srcId="{1D8BF45C-AF59-4FE9-A148-3901985CBC1F}" destId="{01F77A6F-A8C8-43B9-9623-EA0577125C93}" srcOrd="0" destOrd="0" presId="urn:microsoft.com/office/officeart/2005/8/layout/default"/>
    <dgm:cxn modelId="{56F25A70-2770-4A3E-BC3A-29E9E4C46C46}" type="presParOf" srcId="{B43A4957-6412-4073-9D89-6DE8C067F0EE}" destId="{2D7856ED-AB73-4EE1-857C-4EEC4FA498F4}" srcOrd="0" destOrd="0" presId="urn:microsoft.com/office/officeart/2005/8/layout/default"/>
    <dgm:cxn modelId="{1B7C1190-6832-495F-9660-409A13E769FC}" type="presParOf" srcId="{B43A4957-6412-4073-9D89-6DE8C067F0EE}" destId="{9EC70A8A-DF2F-4A98-8CB4-BB34AABA321F}" srcOrd="1" destOrd="0" presId="urn:microsoft.com/office/officeart/2005/8/layout/default"/>
    <dgm:cxn modelId="{73D77B9B-CDFF-442A-97DA-034FFFD15DFC}" type="presParOf" srcId="{B43A4957-6412-4073-9D89-6DE8C067F0EE}" destId="{D1210EBF-2B00-460B-B4E2-490A4C6D26AA}" srcOrd="2" destOrd="0" presId="urn:microsoft.com/office/officeart/2005/8/layout/default"/>
    <dgm:cxn modelId="{47CE526C-7D96-43B4-9FE6-7FC3D6A95D4A}" type="presParOf" srcId="{B43A4957-6412-4073-9D89-6DE8C067F0EE}" destId="{E5FBC5CB-35CB-4D3D-9613-CD6355FD8FA1}" srcOrd="3" destOrd="0" presId="urn:microsoft.com/office/officeart/2005/8/layout/default"/>
    <dgm:cxn modelId="{996F1292-D42F-452E-8950-AC45005191AE}" type="presParOf" srcId="{B43A4957-6412-4073-9D89-6DE8C067F0EE}" destId="{B67C0479-8C7F-4B4C-8067-B717794BE932}" srcOrd="4" destOrd="0" presId="urn:microsoft.com/office/officeart/2005/8/layout/default"/>
    <dgm:cxn modelId="{BD2FA082-BEBD-49D4-8E24-B117E400DF97}" type="presParOf" srcId="{B43A4957-6412-4073-9D89-6DE8C067F0EE}" destId="{239DDDB4-A3FE-4A56-B7EF-EEB701E7EDB3}" srcOrd="5" destOrd="0" presId="urn:microsoft.com/office/officeart/2005/8/layout/default"/>
    <dgm:cxn modelId="{4D464534-97EA-4BB4-A423-F091041C9E5A}" type="presParOf" srcId="{B43A4957-6412-4073-9D89-6DE8C067F0EE}" destId="{5CFA7A53-1FC3-4001-BAC8-0FD6651493D7}" srcOrd="6" destOrd="0" presId="urn:microsoft.com/office/officeart/2005/8/layout/default"/>
    <dgm:cxn modelId="{C32062E8-EEF1-4FB1-B399-A456404CC8F0}" type="presParOf" srcId="{B43A4957-6412-4073-9D89-6DE8C067F0EE}" destId="{0C42253A-5BD7-489C-99CA-512102114F43}" srcOrd="7" destOrd="0" presId="urn:microsoft.com/office/officeart/2005/8/layout/default"/>
    <dgm:cxn modelId="{BD064564-8FD0-4D13-8BAE-9D0CCB414BF3}" type="presParOf" srcId="{B43A4957-6412-4073-9D89-6DE8C067F0EE}" destId="{EF6E218F-F4A3-4901-9314-DE3069B4EE3C}" srcOrd="8" destOrd="0" presId="urn:microsoft.com/office/officeart/2005/8/layout/default"/>
    <dgm:cxn modelId="{B77A6732-B628-4912-AB00-130054EC23BE}" type="presParOf" srcId="{B43A4957-6412-4073-9D89-6DE8C067F0EE}" destId="{019D8BD8-C5BB-4AEA-840D-DF07E1F7A30A}" srcOrd="9" destOrd="0" presId="urn:microsoft.com/office/officeart/2005/8/layout/default"/>
    <dgm:cxn modelId="{D2094652-A1F5-48C1-8291-4466ABEC5725}" type="presParOf" srcId="{B43A4957-6412-4073-9D89-6DE8C067F0EE}" destId="{D238A3FF-A2F3-45FE-8D52-5D6133D83A72}" srcOrd="10" destOrd="0" presId="urn:microsoft.com/office/officeart/2005/8/layout/default"/>
    <dgm:cxn modelId="{5D457E29-697F-4AE7-977A-447E7BC373F3}" type="presParOf" srcId="{B43A4957-6412-4073-9D89-6DE8C067F0EE}" destId="{B2AF49E9-979D-426C-9C81-76BFEEB21D69}" srcOrd="11" destOrd="0" presId="urn:microsoft.com/office/officeart/2005/8/layout/default"/>
    <dgm:cxn modelId="{EBC833FF-AC55-4C60-9026-E7BD755ED47D}" type="presParOf" srcId="{B43A4957-6412-4073-9D89-6DE8C067F0EE}" destId="{59BEE0CF-B99C-4BDE-9B3F-9DB41B8AF34E}" srcOrd="12" destOrd="0" presId="urn:microsoft.com/office/officeart/2005/8/layout/default"/>
    <dgm:cxn modelId="{03F3F3D5-EDD7-446C-A0E9-9E4F93B6BD70}" type="presParOf" srcId="{B43A4957-6412-4073-9D89-6DE8C067F0EE}" destId="{4426A509-3F40-44F0-8B2B-BDF1673F94D9}" srcOrd="13" destOrd="0" presId="urn:microsoft.com/office/officeart/2005/8/layout/default"/>
    <dgm:cxn modelId="{4F67ADFD-7E8E-4BE4-AEE1-F4CCF340A890}" type="presParOf" srcId="{B43A4957-6412-4073-9D89-6DE8C067F0EE}" destId="{01F77A6F-A8C8-43B9-9623-EA0577125C93}" srcOrd="14" destOrd="0" presId="urn:microsoft.com/office/officeart/2005/8/layout/default"/>
    <dgm:cxn modelId="{F682DE3C-3975-47DA-989E-5A374AEFCA74}" type="presParOf" srcId="{B43A4957-6412-4073-9D89-6DE8C067F0EE}" destId="{6A6DCA53-C1B1-46C8-8F94-5717EC37358F}" srcOrd="15" destOrd="0" presId="urn:microsoft.com/office/officeart/2005/8/layout/default"/>
    <dgm:cxn modelId="{0D6CA882-F10F-4FD2-A91D-B17A8362B69C}" type="presParOf" srcId="{B43A4957-6412-4073-9D89-6DE8C067F0EE}" destId="{47543818-EF56-4B84-AD43-D66CA858D03A}" srcOrd="16" destOrd="0" presId="urn:microsoft.com/office/officeart/2005/8/layout/default"/>
    <dgm:cxn modelId="{4EC02BA6-8AB7-4790-AF34-552A187C00F0}" type="presParOf" srcId="{B43A4957-6412-4073-9D89-6DE8C067F0EE}" destId="{18B35C7C-7C94-4B1A-9F84-498DA7DE9DC2}" srcOrd="17" destOrd="0" presId="urn:microsoft.com/office/officeart/2005/8/layout/default"/>
    <dgm:cxn modelId="{E08E2C96-B972-4831-A8BB-9D12E0030C1D}" type="presParOf" srcId="{B43A4957-6412-4073-9D89-6DE8C067F0EE}" destId="{3E0834CC-50A1-4261-BDFD-604545D3A895}" srcOrd="1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400" dirty="0"/>
            <a:t>Service usage characterist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400" dirty="0"/>
            <a:t>Service errors and deployment failure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400" dirty="0"/>
            <a:t>Newly created resource instances</a:t>
          </a:r>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400" dirty="0"/>
            <a:t>Custom audit events</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85183F91-A04B-42F7-8FB3-9549C1D43CFD}">
      <dgm:prSet phldrT="[Text]" custT="1"/>
      <dgm:spPr/>
      <dgm:t>
        <a:bodyPr/>
        <a:lstStyle/>
        <a:p>
          <a:r>
            <a:rPr lang="en-US" sz="1400" dirty="0"/>
            <a:t>Specific user activity</a:t>
          </a:r>
        </a:p>
      </dgm:t>
    </dgm:pt>
    <dgm:pt modelId="{2F684032-4A36-4CF2-A895-D804DC99AD10}" type="parTrans" cxnId="{608C3DC5-72AE-4DA9-9E09-0337A3547378}">
      <dgm:prSet/>
      <dgm:spPr/>
      <dgm:t>
        <a:bodyPr/>
        <a:lstStyle/>
        <a:p>
          <a:endParaRPr lang="en-US"/>
        </a:p>
      </dgm:t>
    </dgm:pt>
    <dgm:pt modelId="{AD371E8A-AAC4-4CB2-BC9A-91BDC0F00931}" type="sibTrans" cxnId="{608C3DC5-72AE-4DA9-9E09-0337A3547378}">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5">
        <dgm:presLayoutVars>
          <dgm:bulletEnabled val="1"/>
        </dgm:presLayoutVars>
      </dgm:prSet>
      <dgm:spPr/>
    </dgm:pt>
    <dgm:pt modelId="{2BB61371-5D10-47C4-94F0-F09B710FBE0A}" type="pres">
      <dgm:prSet presAssocID="{970AA576-E357-4132-BDAF-25D76CD911FD}" presName="sibTrans" presStyleCnt="0"/>
      <dgm:spPr/>
    </dgm:pt>
    <dgm:pt modelId="{85D84BEA-0AC9-40C8-A195-E3B126B28A09}" type="pres">
      <dgm:prSet presAssocID="{85183F91-A04B-42F7-8FB3-9549C1D43CFD}" presName="node" presStyleLbl="node1" presStyleIdx="1" presStyleCnt="5">
        <dgm:presLayoutVars>
          <dgm:bulletEnabled val="1"/>
        </dgm:presLayoutVars>
      </dgm:prSet>
      <dgm:spPr/>
    </dgm:pt>
    <dgm:pt modelId="{AFCC87AC-3BB5-435B-9A08-29EB9F48C364}" type="pres">
      <dgm:prSet presAssocID="{AD371E8A-AAC4-4CB2-BC9A-91BDC0F00931}" presName="sibTrans" presStyleCnt="0"/>
      <dgm:spPr/>
    </dgm:pt>
    <dgm:pt modelId="{DBCD4A4B-4A7B-4F56-939C-CC772B5E474C}" type="pres">
      <dgm:prSet presAssocID="{9531987F-180D-475F-A632-1C8F7D0ADBC5}" presName="node" presStyleLbl="node1" presStyleIdx="2" presStyleCnt="5">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3" presStyleCnt="5">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4" presStyleCnt="5">
        <dgm:presLayoutVars>
          <dgm:bulletEnabled val="1"/>
        </dgm:presLayoutVars>
      </dgm:prSet>
      <dgm:spPr/>
    </dgm:pt>
  </dgm:ptLst>
  <dgm:cxnLst>
    <dgm:cxn modelId="{BE0C4D07-12B7-4281-A018-699179696DEC}" srcId="{9CECF758-994C-4E7E-B051-07D3481B0B10}" destId="{7587B3CD-CD96-4CF8-9CE1-C779CC71DC6E}" srcOrd="3" destOrd="0" parTransId="{0B164518-4492-41CB-B2E6-6564E5162FF7}" sibTransId="{86042FB1-D84E-4D97-A369-D26296F09DB2}"/>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4"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608C3DC5-72AE-4DA9-9E09-0337A3547378}" srcId="{9CECF758-994C-4E7E-B051-07D3481B0B10}" destId="{85183F91-A04B-42F7-8FB3-9549C1D43CFD}" srcOrd="1" destOrd="0" parTransId="{2F684032-4A36-4CF2-A895-D804DC99AD10}" sibTransId="{AD371E8A-AAC4-4CB2-BC9A-91BDC0F00931}"/>
    <dgm:cxn modelId="{53010DC9-5584-4C16-846E-2FAECE560B74}" srcId="{9CECF758-994C-4E7E-B051-07D3481B0B10}" destId="{9531987F-180D-475F-A632-1C8F7D0ADBC5}" srcOrd="2"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F07EC1D7-63DE-4B8F-9BA9-132E11F3566D}" type="presOf" srcId="{85183F91-A04B-42F7-8FB3-9549C1D43CFD}" destId="{85D84BEA-0AC9-40C8-A195-E3B126B28A09}" srcOrd="0" destOrd="0" presId="urn:microsoft.com/office/officeart/2005/8/layout/default"/>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27BB6DB9-B3AC-410E-B803-26E6D084F3F6}" type="presParOf" srcId="{FC40B9F4-0E35-4777-A1FC-2EBA280553D4}" destId="{85D84BEA-0AC9-40C8-A195-E3B126B28A09}" srcOrd="2" destOrd="0" presId="urn:microsoft.com/office/officeart/2005/8/layout/default"/>
    <dgm:cxn modelId="{FDCB9D31-DC65-4443-9132-524C603C8BDD}" type="presParOf" srcId="{FC40B9F4-0E35-4777-A1FC-2EBA280553D4}" destId="{AFCC87AC-3BB5-435B-9A08-29EB9F48C364}" srcOrd="3" destOrd="0" presId="urn:microsoft.com/office/officeart/2005/8/layout/default"/>
    <dgm:cxn modelId="{0AB33CCA-A72C-4F3F-B206-87002AA891E2}" type="presParOf" srcId="{FC40B9F4-0E35-4777-A1FC-2EBA280553D4}" destId="{DBCD4A4B-4A7B-4F56-939C-CC772B5E474C}" srcOrd="4" destOrd="0" presId="urn:microsoft.com/office/officeart/2005/8/layout/default"/>
    <dgm:cxn modelId="{4A665DD5-9AEF-4F0E-9BFD-414090B7724C}" type="presParOf" srcId="{FC40B9F4-0E35-4777-A1FC-2EBA280553D4}" destId="{91E087CD-CD4D-426B-BC8B-0343BAD63AAC}" srcOrd="5" destOrd="0" presId="urn:microsoft.com/office/officeart/2005/8/layout/default"/>
    <dgm:cxn modelId="{66772340-7807-4FC1-BFF9-F271F190C85C}" type="presParOf" srcId="{FC40B9F4-0E35-4777-A1FC-2EBA280553D4}" destId="{24F7414B-96AC-4156-B5A9-E9256EE3A38B}" srcOrd="6" destOrd="0" presId="urn:microsoft.com/office/officeart/2005/8/layout/default"/>
    <dgm:cxn modelId="{437A9CCE-FEB4-4FDB-805C-41B204AEDF65}" type="presParOf" srcId="{FC40B9F4-0E35-4777-A1FC-2EBA280553D4}" destId="{62F45525-06FB-4E15-87B0-7EF3C6A5C6BD}" srcOrd="7" destOrd="0" presId="urn:microsoft.com/office/officeart/2005/8/layout/default"/>
    <dgm:cxn modelId="{5A382ACA-5E89-4CB6-9AEF-BA92EA71958D}" type="presParOf" srcId="{FC40B9F4-0E35-4777-A1FC-2EBA280553D4}" destId="{CACC16B1-C980-478D-81B9-9497B45E3E3C}"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dirty="0"/>
            <a:t>Communication</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7BA7D084-4E2E-406E-9C36-2DCE8307EEC4}">
      <dgm:prSet/>
      <dgm:spPr/>
      <dgm:t>
        <a:bodyPr/>
        <a:lstStyle/>
        <a:p>
          <a:r>
            <a:rPr lang="en-US" dirty="0"/>
            <a:t>Management Server </a:t>
          </a:r>
          <a:r>
            <a:rPr lang="en-US" dirty="0">
              <a:sym typeface="Wingdings" panose="05000000000000000000" pitchFamily="2" charset="2"/>
            </a:rPr>
            <a:t></a:t>
          </a:r>
          <a:r>
            <a:rPr lang="en-US" dirty="0"/>
            <a:t> Log Analytics web service</a:t>
          </a:r>
        </a:p>
      </dgm:t>
    </dgm:pt>
    <dgm:pt modelId="{28DE889A-EF14-44E6-ABE2-7F24805BCABC}" type="parTrans" cxnId="{3756C80F-531F-46B8-8CE9-DC0640955F01}">
      <dgm:prSet/>
      <dgm:spPr/>
      <dgm:t>
        <a:bodyPr/>
        <a:lstStyle/>
        <a:p>
          <a:endParaRPr lang="en-US"/>
        </a:p>
      </dgm:t>
    </dgm:pt>
    <dgm:pt modelId="{855B3D70-0F67-4C5B-94CB-F4CB4DAD446F}" type="sibTrans" cxnId="{3756C80F-531F-46B8-8CE9-DC0640955F01}">
      <dgm:prSet/>
      <dgm:spPr/>
      <dgm:t>
        <a:bodyPr/>
        <a:lstStyle/>
        <a:p>
          <a:endParaRPr lang="en-US"/>
        </a:p>
      </dgm:t>
    </dgm:pt>
    <dgm:pt modelId="{7365EC82-A9EB-49AE-AA95-3CCCD5B67B87}">
      <dgm:prSet/>
      <dgm:spPr/>
      <dgm:t>
        <a:bodyPr/>
        <a:lstStyle/>
        <a:p>
          <a:r>
            <a:rPr lang="en-US" dirty="0"/>
            <a:t>Agents –Log Analytics web services</a:t>
          </a:r>
        </a:p>
      </dgm:t>
    </dgm:pt>
    <dgm:pt modelId="{85E20EED-0604-4923-9DED-75D02EBE1142}" type="parTrans" cxnId="{FD2A6A3F-C521-4490-891B-A727FA55066E}">
      <dgm:prSet/>
      <dgm:spPr/>
      <dgm:t>
        <a:bodyPr/>
        <a:lstStyle/>
        <a:p>
          <a:endParaRPr lang="en-US"/>
        </a:p>
      </dgm:t>
    </dgm:pt>
    <dgm:pt modelId="{1693811B-6BE7-4A2C-9FCA-B1E657BE4AA4}" type="sibTrans" cxnId="{FD2A6A3F-C521-4490-891B-A727FA55066E}">
      <dgm:prSet/>
      <dgm:spPr/>
      <dgm:t>
        <a:bodyPr/>
        <a:lstStyle/>
        <a:p>
          <a:endParaRPr lang="en-US"/>
        </a:p>
      </dgm:t>
    </dgm:pt>
    <dgm:pt modelId="{D57CCB89-84FA-4106-B090-EC8A717BA00B}">
      <dgm:prSet/>
      <dgm:spPr/>
      <dgm:t>
        <a:bodyPr/>
        <a:lstStyle/>
        <a:p>
          <a:r>
            <a:rPr lang="en-US" dirty="0"/>
            <a:t>OMS Gateway service </a:t>
          </a:r>
          <a:r>
            <a:rPr lang="en-US" dirty="0">
              <a:sym typeface="Wingdings" panose="05000000000000000000" pitchFamily="2" charset="2"/>
            </a:rPr>
            <a:t> Log Analytics web services</a:t>
          </a:r>
          <a:endParaRPr lang="en-US" dirty="0"/>
        </a:p>
      </dgm:t>
    </dgm:pt>
    <dgm:pt modelId="{61DB19E2-8C12-42F1-92DF-E78E0AD91FD0}" type="parTrans" cxnId="{03EDEBB8-4680-41A9-8EFD-59F913F2B9C3}">
      <dgm:prSet/>
      <dgm:spPr/>
      <dgm:t>
        <a:bodyPr/>
        <a:lstStyle/>
        <a:p>
          <a:endParaRPr lang="en-US"/>
        </a:p>
      </dgm:t>
    </dgm:pt>
    <dgm:pt modelId="{A568D7EC-316B-4A7D-971A-2CF059E5D9A7}" type="sibTrans" cxnId="{03EDEBB8-4680-41A9-8EFD-59F913F2B9C3}">
      <dgm:prSet/>
      <dgm:spPr/>
      <dgm:t>
        <a:bodyPr/>
        <a:lstStyle/>
        <a:p>
          <a:endParaRPr lang="en-US"/>
        </a:p>
      </dgm:t>
    </dgm:pt>
    <dgm:pt modelId="{CE953849-E35C-4A23-A4F6-0CFE829F83C1}">
      <dgm:prSet/>
      <dgm:spPr/>
      <dgm:t>
        <a:bodyPr/>
        <a:lstStyle/>
        <a:p>
          <a:r>
            <a:rPr lang="en-US" dirty="0"/>
            <a:t>Benefits</a:t>
          </a:r>
        </a:p>
      </dgm:t>
    </dgm:pt>
    <dgm:pt modelId="{BD53E565-C9C8-4D1C-BAA4-8271BA0A0B7A}" type="parTrans" cxnId="{139635D0-6E5E-4B16-8AB9-221C267AE35B}">
      <dgm:prSet/>
      <dgm:spPr/>
      <dgm:t>
        <a:bodyPr/>
        <a:lstStyle/>
        <a:p>
          <a:endParaRPr lang="en-US"/>
        </a:p>
      </dgm:t>
    </dgm:pt>
    <dgm:pt modelId="{FEC416B3-EA12-445A-9D8C-9C424E2076A8}" type="sibTrans" cxnId="{139635D0-6E5E-4B16-8AB9-221C267AE35B}">
      <dgm:prSet/>
      <dgm:spPr/>
      <dgm:t>
        <a:bodyPr/>
        <a:lstStyle/>
        <a:p>
          <a:endParaRPr lang="en-US"/>
        </a:p>
      </dgm:t>
    </dgm:pt>
    <dgm:pt modelId="{9F1E1821-3548-4831-9D79-6F8BDBEFC04F}">
      <dgm:prSet/>
      <dgm:spPr/>
      <dgm:t>
        <a:bodyPr/>
        <a:lstStyle/>
        <a:p>
          <a:r>
            <a:rPr lang="en-US" dirty="0"/>
            <a:t>Continue monitoring the health of your IT services with Operations Manager</a:t>
          </a:r>
        </a:p>
      </dgm:t>
    </dgm:pt>
    <dgm:pt modelId="{379B53D8-7663-4B83-869B-73E925BBFCBC}" type="parTrans" cxnId="{5CA4558A-A4FA-47C0-8E24-90118A68EFCB}">
      <dgm:prSet/>
      <dgm:spPr/>
      <dgm:t>
        <a:bodyPr/>
        <a:lstStyle/>
        <a:p>
          <a:endParaRPr lang="en-US"/>
        </a:p>
      </dgm:t>
    </dgm:pt>
    <dgm:pt modelId="{3BFF725B-E5B8-4176-AD89-34B02F4E7346}" type="sibTrans" cxnId="{5CA4558A-A4FA-47C0-8E24-90118A68EFCB}">
      <dgm:prSet/>
      <dgm:spPr/>
      <dgm:t>
        <a:bodyPr/>
        <a:lstStyle/>
        <a:p>
          <a:endParaRPr lang="en-US"/>
        </a:p>
      </dgm:t>
    </dgm:pt>
    <dgm:pt modelId="{61881561-5621-4F4A-AD89-6D1E77EAAAFF}">
      <dgm:prSet/>
      <dgm:spPr/>
      <dgm:t>
        <a:bodyPr/>
        <a:lstStyle/>
        <a:p>
          <a:r>
            <a:rPr lang="en-US" dirty="0"/>
            <a:t>Maintain integration with your ITSM solutions supporting incident and problem management</a:t>
          </a:r>
        </a:p>
      </dgm:t>
    </dgm:pt>
    <dgm:pt modelId="{FD65493E-2961-4645-88DA-E5E93A54F76A}" type="parTrans" cxnId="{AFCE5F0B-1758-4046-BDA9-BC0F7370CDA0}">
      <dgm:prSet/>
      <dgm:spPr/>
      <dgm:t>
        <a:bodyPr/>
        <a:lstStyle/>
        <a:p>
          <a:endParaRPr lang="en-US"/>
        </a:p>
      </dgm:t>
    </dgm:pt>
    <dgm:pt modelId="{407DDCDC-DD10-406D-AB5D-11733CB4A6A9}" type="sibTrans" cxnId="{AFCE5F0B-1758-4046-BDA9-BC0F7370CDA0}">
      <dgm:prSet/>
      <dgm:spPr/>
      <dgm:t>
        <a:bodyPr/>
        <a:lstStyle/>
        <a:p>
          <a:endParaRPr lang="en-US"/>
        </a:p>
      </dgm:t>
    </dgm:pt>
    <dgm:pt modelId="{11371C45-C1C4-4321-B0C0-5E2C6AC8E546}">
      <dgm:prSet/>
      <dgm:spPr/>
      <dgm:t>
        <a:bodyPr/>
        <a:lstStyle/>
        <a:p>
          <a:r>
            <a:rPr lang="en-US" dirty="0"/>
            <a:t>Manage the lifecycle of agents deployed to on-premises and public cloud IaaS virtual machines that you monitor with Operations Manager</a:t>
          </a:r>
        </a:p>
      </dgm:t>
    </dgm:pt>
    <dgm:pt modelId="{422829AE-7B38-41FC-9958-290E4BE3ADA5}" type="parTrans" cxnId="{73115C4C-4953-4763-881E-4C1E2BFBD88A}">
      <dgm:prSet/>
      <dgm:spPr/>
      <dgm:t>
        <a:bodyPr/>
        <a:lstStyle/>
        <a:p>
          <a:endParaRPr lang="en-US"/>
        </a:p>
      </dgm:t>
    </dgm:pt>
    <dgm:pt modelId="{89175AA8-091C-46B5-827E-859D35614534}" type="sibTrans" cxnId="{73115C4C-4953-4763-881E-4C1E2BFBD88A}">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2">
        <dgm:presLayoutVars>
          <dgm:chMax val="0"/>
          <dgm:bulletEnabled val="1"/>
        </dgm:presLayoutVars>
      </dgm:prSet>
      <dgm:spPr/>
    </dgm:pt>
    <dgm:pt modelId="{C507344E-9998-4274-8F33-5D72D645D895}" type="pres">
      <dgm:prSet presAssocID="{25D1D2E0-2852-4E4E-ABAD-5368BECDB914}" presName="childText" presStyleLbl="revTx" presStyleIdx="0" presStyleCnt="2">
        <dgm:presLayoutVars>
          <dgm:bulletEnabled val="1"/>
        </dgm:presLayoutVars>
      </dgm:prSet>
      <dgm:spPr/>
    </dgm:pt>
    <dgm:pt modelId="{C89AE3DB-F856-45A2-AACD-1749D0A31957}" type="pres">
      <dgm:prSet presAssocID="{CE953849-E35C-4A23-A4F6-0CFE829F83C1}" presName="parentText" presStyleLbl="node1" presStyleIdx="1" presStyleCnt="2">
        <dgm:presLayoutVars>
          <dgm:chMax val="0"/>
          <dgm:bulletEnabled val="1"/>
        </dgm:presLayoutVars>
      </dgm:prSet>
      <dgm:spPr/>
    </dgm:pt>
    <dgm:pt modelId="{1F7FEF9A-DB3A-4DEA-B615-A12D30231C59}" type="pres">
      <dgm:prSet presAssocID="{CE953849-E35C-4A23-A4F6-0CFE829F83C1}" presName="childText" presStyleLbl="revTx" presStyleIdx="1" presStyleCnt="2">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AFCE5F0B-1758-4046-BDA9-BC0F7370CDA0}" srcId="{CE953849-E35C-4A23-A4F6-0CFE829F83C1}" destId="{61881561-5621-4F4A-AD89-6D1E77EAAAFF}" srcOrd="1" destOrd="0" parTransId="{FD65493E-2961-4645-88DA-E5E93A54F76A}" sibTransId="{407DDCDC-DD10-406D-AB5D-11733CB4A6A9}"/>
    <dgm:cxn modelId="{3756C80F-531F-46B8-8CE9-DC0640955F01}" srcId="{25D1D2E0-2852-4E4E-ABAD-5368BECDB914}" destId="{7BA7D084-4E2E-406E-9C36-2DCE8307EEC4}" srcOrd="0" destOrd="0" parTransId="{28DE889A-EF14-44E6-ABE2-7F24805BCABC}" sibTransId="{855B3D70-0F67-4C5B-94CB-F4CB4DAD446F}"/>
    <dgm:cxn modelId="{7335D511-A015-4A9A-925D-8564E3C80C77}" type="presOf" srcId="{25D1D2E0-2852-4E4E-ABAD-5368BECDB914}" destId="{E9D4DB52-AC2C-4954-BFDE-CAC4FCB7E1A4}" srcOrd="0" destOrd="0" presId="urn:microsoft.com/office/officeart/2005/8/layout/vList2"/>
    <dgm:cxn modelId="{325E013E-9125-4860-A969-B55755500D24}" type="presOf" srcId="{D57CCB89-84FA-4106-B090-EC8A717BA00B}" destId="{C507344E-9998-4274-8F33-5D72D645D895}" srcOrd="0" destOrd="2" presId="urn:microsoft.com/office/officeart/2005/8/layout/vList2"/>
    <dgm:cxn modelId="{FD2A6A3F-C521-4490-891B-A727FA55066E}" srcId="{25D1D2E0-2852-4E4E-ABAD-5368BECDB914}" destId="{7365EC82-A9EB-49AE-AA95-3CCCD5B67B87}" srcOrd="1" destOrd="0" parTransId="{85E20EED-0604-4923-9DED-75D02EBE1142}" sibTransId="{1693811B-6BE7-4A2C-9FCA-B1E657BE4AA4}"/>
    <dgm:cxn modelId="{73115C4C-4953-4763-881E-4C1E2BFBD88A}" srcId="{CE953849-E35C-4A23-A4F6-0CFE829F83C1}" destId="{11371C45-C1C4-4321-B0C0-5E2C6AC8E546}" srcOrd="2" destOrd="0" parTransId="{422829AE-7B38-41FC-9958-290E4BE3ADA5}" sibTransId="{89175AA8-091C-46B5-827E-859D35614534}"/>
    <dgm:cxn modelId="{C5D3C373-1199-4CCF-82D1-0C4D3C9E7BC1}" type="presOf" srcId="{CE953849-E35C-4A23-A4F6-0CFE829F83C1}" destId="{C89AE3DB-F856-45A2-AACD-1749D0A31957}" srcOrd="0" destOrd="0" presId="urn:microsoft.com/office/officeart/2005/8/layout/vList2"/>
    <dgm:cxn modelId="{30F28956-1E38-409A-8EA5-A4D47C9E48ED}" type="presOf" srcId="{7365EC82-A9EB-49AE-AA95-3CCCD5B67B87}" destId="{C507344E-9998-4274-8F33-5D72D645D895}" srcOrd="0" destOrd="1" presId="urn:microsoft.com/office/officeart/2005/8/layout/vList2"/>
    <dgm:cxn modelId="{FE349B58-9AD2-481D-BA58-7261B9206B3E}" type="presOf" srcId="{9F1E1821-3548-4831-9D79-6F8BDBEFC04F}" destId="{1F7FEF9A-DB3A-4DEA-B615-A12D30231C59}" srcOrd="0" destOrd="0" presId="urn:microsoft.com/office/officeart/2005/8/layout/vList2"/>
    <dgm:cxn modelId="{5CA4558A-A4FA-47C0-8E24-90118A68EFCB}" srcId="{CE953849-E35C-4A23-A4F6-0CFE829F83C1}" destId="{9F1E1821-3548-4831-9D79-6F8BDBEFC04F}" srcOrd="0" destOrd="0" parTransId="{379B53D8-7663-4B83-869B-73E925BBFCBC}" sibTransId="{3BFF725B-E5B8-4176-AD89-34B02F4E7346}"/>
    <dgm:cxn modelId="{114DC19E-1D8E-49AD-AE38-AB8CBCF7A369}" type="presOf" srcId="{7BA7D084-4E2E-406E-9C36-2DCE8307EEC4}" destId="{C507344E-9998-4274-8F33-5D72D645D895}" srcOrd="0" destOrd="0" presId="urn:microsoft.com/office/officeart/2005/8/layout/vList2"/>
    <dgm:cxn modelId="{03EDEBB8-4680-41A9-8EFD-59F913F2B9C3}" srcId="{25D1D2E0-2852-4E4E-ABAD-5368BECDB914}" destId="{D57CCB89-84FA-4106-B090-EC8A717BA00B}" srcOrd="2" destOrd="0" parTransId="{61DB19E2-8C12-42F1-92DF-E78E0AD91FD0}" sibTransId="{A568D7EC-316B-4A7D-971A-2CF059E5D9A7}"/>
    <dgm:cxn modelId="{139635D0-6E5E-4B16-8AB9-221C267AE35B}" srcId="{C429F172-266E-4194-B325-3535962682A2}" destId="{CE953849-E35C-4A23-A4F6-0CFE829F83C1}" srcOrd="1" destOrd="0" parTransId="{BD53E565-C9C8-4D1C-BAA4-8271BA0A0B7A}" sibTransId="{FEC416B3-EA12-445A-9D8C-9C424E2076A8}"/>
    <dgm:cxn modelId="{71641ADE-6436-411B-B176-961B5B85A638}" type="presOf" srcId="{11371C45-C1C4-4321-B0C0-5E2C6AC8E546}" destId="{1F7FEF9A-DB3A-4DEA-B615-A12D30231C59}" srcOrd="0" destOrd="2" presId="urn:microsoft.com/office/officeart/2005/8/layout/vList2"/>
    <dgm:cxn modelId="{5963A4EF-2E5D-443F-97EC-E08B76B569A5}" type="presOf" srcId="{61881561-5621-4F4A-AD89-6D1E77EAAAFF}" destId="{1F7FEF9A-DB3A-4DEA-B615-A12D30231C59}" srcOrd="0" destOrd="1" presId="urn:microsoft.com/office/officeart/2005/8/layout/vList2"/>
    <dgm:cxn modelId="{4B52C10B-1463-4931-B7A8-6AB6B0C42A08}" type="presParOf" srcId="{2109A9DD-8C7B-45D0-B615-76894D43E0E0}" destId="{E9D4DB52-AC2C-4954-BFDE-CAC4FCB7E1A4}" srcOrd="0" destOrd="0" presId="urn:microsoft.com/office/officeart/2005/8/layout/vList2"/>
    <dgm:cxn modelId="{2B4F9152-5002-430D-B214-0A1E711ACE3B}" type="presParOf" srcId="{2109A9DD-8C7B-45D0-B615-76894D43E0E0}" destId="{C507344E-9998-4274-8F33-5D72D645D895}" srcOrd="1" destOrd="0" presId="urn:microsoft.com/office/officeart/2005/8/layout/vList2"/>
    <dgm:cxn modelId="{DB940D0D-9072-41C4-8017-E68B939E293A}" type="presParOf" srcId="{2109A9DD-8C7B-45D0-B615-76894D43E0E0}" destId="{C89AE3DB-F856-45A2-AACD-1749D0A31957}" srcOrd="2" destOrd="0" presId="urn:microsoft.com/office/officeart/2005/8/layout/vList2"/>
    <dgm:cxn modelId="{FC32E567-ED88-440D-BE69-6C9C2A46305F}" type="presParOf" srcId="{2109A9DD-8C7B-45D0-B615-76894D43E0E0}" destId="{1F7FEF9A-DB3A-4DEA-B615-A12D30231C59}"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6_1" csCatId="accent6" phldr="1"/>
      <dgm:spPr/>
    </dgm:pt>
    <dgm:pt modelId="{9861747C-9E0D-42EA-89D8-412D03CF7E37}">
      <dgm:prSet phldrT="[Text]"/>
      <dgm:spPr/>
      <dgm:t>
        <a:bodyPr/>
        <a:lstStyle/>
        <a:p>
          <a:r>
            <a:rPr lang="en-US" b="1" dirty="0">
              <a:solidFill>
                <a:schemeClr val="accent6"/>
              </a:solidFill>
            </a:rPr>
            <a:t>AUTOMATION</a:t>
          </a:r>
        </a:p>
      </dgm:t>
    </dgm:pt>
    <dgm:pt modelId="{9C4BD807-54C6-4C44-8FEA-296898BC39F2}" type="parTrans" cxnId="{61636525-3ACE-4DCA-8E3C-F7A4DD622647}">
      <dgm:prSet/>
      <dgm:spPr/>
      <dgm:t>
        <a:bodyPr/>
        <a:lstStyle/>
        <a:p>
          <a:endParaRPr lang="en-US"/>
        </a:p>
      </dgm:t>
    </dgm:pt>
    <dgm:pt modelId="{A627D808-10F4-4721-8336-D401C7628CD6}" type="sibTrans" cxnId="{61636525-3ACE-4DCA-8E3C-F7A4DD622647}">
      <dgm:prSet/>
      <dgm:spPr/>
      <dgm:t>
        <a:bodyPr/>
        <a:lstStyle/>
        <a:p>
          <a:endParaRPr lang="en-US"/>
        </a:p>
      </dgm:t>
    </dgm:pt>
    <dgm:pt modelId="{5A2AB42F-96D5-4A18-8D80-ECDDEA32D589}">
      <dgm:prSet phldrT="[Text]"/>
      <dgm:spPr/>
      <dgm:t>
        <a:bodyPr/>
        <a:lstStyle/>
        <a:p>
          <a:r>
            <a:rPr lang="en-US" dirty="0"/>
            <a:t>Standardize recurring tasks</a:t>
          </a:r>
        </a:p>
      </dgm:t>
    </dgm:pt>
    <dgm:pt modelId="{A2B0789A-DD14-4019-9869-69E1C357DA73}" type="parTrans" cxnId="{6C74254A-FF99-46C1-8FD9-2CEB1B7B230F}">
      <dgm:prSet/>
      <dgm:spPr/>
      <dgm:t>
        <a:bodyPr/>
        <a:lstStyle/>
        <a:p>
          <a:endParaRPr lang="en-US"/>
        </a:p>
      </dgm:t>
    </dgm:pt>
    <dgm:pt modelId="{61777549-CCBA-4FCC-8215-21C4187CE59D}" type="sibTrans" cxnId="{6C74254A-FF99-46C1-8FD9-2CEB1B7B230F}">
      <dgm:prSet/>
      <dgm:spPr/>
      <dgm:t>
        <a:bodyPr/>
        <a:lstStyle/>
        <a:p>
          <a:endParaRPr lang="en-US"/>
        </a:p>
      </dgm:t>
    </dgm:pt>
    <dgm:pt modelId="{E8E78A58-63D5-4AFF-BF12-CAB3CDD5FBD8}">
      <dgm:prSet phldrT="[Text]"/>
      <dgm:spPr/>
      <dgm:t>
        <a:bodyPr/>
        <a:lstStyle/>
        <a:p>
          <a:r>
            <a:rPr lang="en-US" dirty="0"/>
            <a:t>Automate remediation</a:t>
          </a:r>
        </a:p>
      </dgm:t>
    </dgm:pt>
    <dgm:pt modelId="{89606023-3AE4-4463-B44E-8A5190745FBE}" type="parTrans" cxnId="{91B77A10-22F0-4BEE-9A56-37DB7BE539C7}">
      <dgm:prSet/>
      <dgm:spPr/>
      <dgm:t>
        <a:bodyPr/>
        <a:lstStyle/>
        <a:p>
          <a:endParaRPr lang="en-US"/>
        </a:p>
      </dgm:t>
    </dgm:pt>
    <dgm:pt modelId="{FA3AC767-0C35-44E4-A4A8-277C9C60F278}" type="sibTrans" cxnId="{91B77A10-22F0-4BEE-9A56-37DB7BE539C7}">
      <dgm:prSet/>
      <dgm:spPr/>
      <dgm:t>
        <a:bodyPr/>
        <a:lstStyle/>
        <a:p>
          <a:endParaRPr lang="en-US"/>
        </a:p>
      </dgm:t>
    </dgm:pt>
    <dgm:pt modelId="{ACCE0837-D982-4B56-AA71-CB0D29CC57E6}">
      <dgm:prSet phldrT="[Text]"/>
      <dgm:spPr/>
      <dgm:t>
        <a:bodyPr/>
        <a:lstStyle/>
        <a:p>
          <a:r>
            <a:rPr lang="en-US" b="1" dirty="0">
              <a:solidFill>
                <a:schemeClr val="accent6"/>
              </a:solidFill>
            </a:rPr>
            <a:t>SUBSCRIPTIONS</a:t>
          </a:r>
          <a:endParaRPr lang="en-US" dirty="0"/>
        </a:p>
      </dgm:t>
    </dgm:pt>
    <dgm:pt modelId="{62D8B87D-D97A-4F9B-991B-01775FF55790}" type="parTrans" cxnId="{85EC8CDC-A06D-459E-8BAF-5F040FC1F3AE}">
      <dgm:prSet/>
      <dgm:spPr/>
      <dgm:t>
        <a:bodyPr/>
        <a:lstStyle/>
        <a:p>
          <a:endParaRPr lang="en-US"/>
        </a:p>
      </dgm:t>
    </dgm:pt>
    <dgm:pt modelId="{BBC2C3D3-A9FE-4B25-90C0-D73C4938AB23}" type="sibTrans" cxnId="{85EC8CDC-A06D-459E-8BAF-5F040FC1F3AE}">
      <dgm:prSet/>
      <dgm:spPr/>
      <dgm:t>
        <a:bodyPr/>
        <a:lstStyle/>
        <a:p>
          <a:endParaRPr lang="en-US"/>
        </a:p>
      </dgm:t>
    </dgm:pt>
    <dgm:pt modelId="{6A743301-0C51-4394-89F2-0CB50A9F9BEB}">
      <dgm:prSet phldrT="[Text]"/>
      <dgm:spPr/>
      <dgm:t>
        <a:bodyPr/>
        <a:lstStyle/>
        <a:p>
          <a:r>
            <a:rPr lang="en-US" dirty="0"/>
            <a:t>Security boundary</a:t>
          </a:r>
        </a:p>
      </dgm:t>
    </dgm:pt>
    <dgm:pt modelId="{1C9B23D5-F1A7-43C3-BDB6-C31BD4402184}" type="parTrans" cxnId="{F6EB1BAD-3066-4591-83AB-53D79BB8CB25}">
      <dgm:prSet/>
      <dgm:spPr/>
      <dgm:t>
        <a:bodyPr/>
        <a:lstStyle/>
        <a:p>
          <a:endParaRPr lang="en-US"/>
        </a:p>
      </dgm:t>
    </dgm:pt>
    <dgm:pt modelId="{163F3E8F-BBA9-423E-9E9B-EE501889D008}" type="sibTrans" cxnId="{F6EB1BAD-3066-4591-83AB-53D79BB8CB25}">
      <dgm:prSet/>
      <dgm:spPr/>
      <dgm:t>
        <a:bodyPr/>
        <a:lstStyle/>
        <a:p>
          <a:endParaRPr lang="en-US"/>
        </a:p>
      </dgm:t>
    </dgm:pt>
    <dgm:pt modelId="{3B83FBD0-E0B9-4596-9A32-98CCCFBCA3F7}">
      <dgm:prSet phldrT="[Text]"/>
      <dgm:spPr/>
      <dgm:t>
        <a:bodyPr/>
        <a:lstStyle/>
        <a:p>
          <a:r>
            <a:rPr lang="en-US" dirty="0"/>
            <a:t>Billing boundary</a:t>
          </a:r>
        </a:p>
      </dgm:t>
    </dgm:pt>
    <dgm:pt modelId="{374B46C5-CA92-446B-B953-41951292CBEF}" type="parTrans" cxnId="{F202EE5C-A4F8-4835-9668-9EFB905EAFF0}">
      <dgm:prSet/>
      <dgm:spPr/>
      <dgm:t>
        <a:bodyPr/>
        <a:lstStyle/>
        <a:p>
          <a:endParaRPr lang="en-US"/>
        </a:p>
      </dgm:t>
    </dgm:pt>
    <dgm:pt modelId="{D91C7839-D983-45D7-8356-48CF4839E50B}" type="sibTrans" cxnId="{F202EE5C-A4F8-4835-9668-9EFB905EAFF0}">
      <dgm:prSet/>
      <dgm:spPr/>
      <dgm:t>
        <a:bodyPr/>
        <a:lstStyle/>
        <a:p>
          <a:endParaRPr lang="en-US"/>
        </a:p>
      </dgm:t>
    </dgm:pt>
    <dgm:pt modelId="{D20FD198-A94C-4C65-ABE3-100782D18967}">
      <dgm:prSet phldrT="[Text]"/>
      <dgm:spPr/>
      <dgm:t>
        <a:bodyPr/>
        <a:lstStyle/>
        <a:p>
          <a:r>
            <a:rPr lang="en-US" b="1" dirty="0">
              <a:solidFill>
                <a:schemeClr val="accent6"/>
              </a:solidFill>
            </a:rPr>
            <a:t>POLICIES</a:t>
          </a:r>
          <a:endParaRPr lang="en-US" dirty="0"/>
        </a:p>
      </dgm:t>
    </dgm:pt>
    <dgm:pt modelId="{C7C42526-9FDE-4AD1-8B73-28E4EDF642A7}" type="parTrans" cxnId="{313F07A2-9E93-4D97-AFD3-BD3E463398F4}">
      <dgm:prSet/>
      <dgm:spPr/>
      <dgm:t>
        <a:bodyPr/>
        <a:lstStyle/>
        <a:p>
          <a:endParaRPr lang="en-US"/>
        </a:p>
      </dgm:t>
    </dgm:pt>
    <dgm:pt modelId="{E4FFB1A0-CC7D-4969-A7DA-AB6D8D75E1BA}" type="sibTrans" cxnId="{313F07A2-9E93-4D97-AFD3-BD3E463398F4}">
      <dgm:prSet/>
      <dgm:spPr/>
      <dgm:t>
        <a:bodyPr/>
        <a:lstStyle/>
        <a:p>
          <a:endParaRPr lang="en-US"/>
        </a:p>
      </dgm:t>
    </dgm:pt>
    <dgm:pt modelId="{60A7F13B-96DB-4BA0-ABD9-58CFF06C4163}">
      <dgm:prSet phldrT="[Text]"/>
      <dgm:spPr/>
      <dgm:t>
        <a:bodyPr/>
        <a:lstStyle/>
        <a:p>
          <a:r>
            <a:rPr lang="en-US" dirty="0"/>
            <a:t>Estimates, tags reports</a:t>
          </a:r>
        </a:p>
      </dgm:t>
    </dgm:pt>
    <dgm:pt modelId="{F46BC6E2-1470-4990-8B05-F62D932C242D}" type="parTrans" cxnId="{F2AFEA8D-3B24-4058-835F-88DF2E2FFFCD}">
      <dgm:prSet/>
      <dgm:spPr/>
      <dgm:t>
        <a:bodyPr/>
        <a:lstStyle/>
        <a:p>
          <a:endParaRPr lang="en-US"/>
        </a:p>
      </dgm:t>
    </dgm:pt>
    <dgm:pt modelId="{AE6D784C-5659-4955-93C1-CBBA8DC8F1AD}" type="sibTrans" cxnId="{F2AFEA8D-3B24-4058-835F-88DF2E2FFFCD}">
      <dgm:prSet/>
      <dgm:spPr/>
      <dgm:t>
        <a:bodyPr/>
        <a:lstStyle/>
        <a:p>
          <a:endParaRPr lang="en-US"/>
        </a:p>
      </dgm:t>
    </dgm:pt>
    <dgm:pt modelId="{AEEA0D1F-69AC-4499-8A02-6F9324367006}">
      <dgm:prSet phldrT="[Text]"/>
      <dgm:spPr/>
      <dgm:t>
        <a:bodyPr/>
        <a:lstStyle/>
        <a:p>
          <a:r>
            <a:rPr lang="en-US" dirty="0"/>
            <a:t>Budgets, chargebacks</a:t>
          </a:r>
        </a:p>
      </dgm:t>
    </dgm:pt>
    <dgm:pt modelId="{34C4D95F-1406-4350-B7BA-DA310FE6C339}" type="parTrans" cxnId="{7D09E273-559B-496E-9770-AC282C4CE53D}">
      <dgm:prSet/>
      <dgm:spPr/>
      <dgm:t>
        <a:bodyPr/>
        <a:lstStyle/>
        <a:p>
          <a:endParaRPr lang="en-US"/>
        </a:p>
      </dgm:t>
    </dgm:pt>
    <dgm:pt modelId="{F5C5A8B7-66EC-4CA9-9336-1FB6E79CA86A}" type="sibTrans" cxnId="{7D09E273-559B-496E-9770-AC282C4CE53D}">
      <dgm:prSet/>
      <dgm:spPr/>
      <dgm:t>
        <a:bodyPr/>
        <a:lstStyle/>
        <a:p>
          <a:endParaRPr lang="en-US"/>
        </a:p>
      </dgm:t>
    </dgm:pt>
    <dgm:pt modelId="{DEAC75AD-AFBE-44D7-9633-1A1489CF953D}">
      <dgm:prSet phldrT="[Text]"/>
      <dgm:spPr/>
      <dgm:t>
        <a:bodyPr/>
        <a:lstStyle/>
        <a:p>
          <a:r>
            <a:rPr lang="en-US" dirty="0"/>
            <a:t>Management groups</a:t>
          </a:r>
        </a:p>
      </dgm:t>
    </dgm:pt>
    <dgm:pt modelId="{C3E0872B-D74A-4C33-A187-956F1932FF09}" type="parTrans" cxnId="{E95D4908-B495-46ED-9F4F-81534D9A8F1C}">
      <dgm:prSet/>
      <dgm:spPr/>
      <dgm:t>
        <a:bodyPr/>
        <a:lstStyle/>
        <a:p>
          <a:endParaRPr lang="en-US"/>
        </a:p>
      </dgm:t>
    </dgm:pt>
    <dgm:pt modelId="{BD14B363-5864-43A7-9518-6F482CC0BD20}" type="sibTrans" cxnId="{E95D4908-B495-46ED-9F4F-81534D9A8F1C}">
      <dgm:prSet/>
      <dgm:spPr/>
      <dgm:t>
        <a:bodyPr/>
        <a:lstStyle/>
        <a:p>
          <a:endParaRPr lang="en-US"/>
        </a:p>
      </dgm:t>
    </dgm:pt>
    <dgm:pt modelId="{76A4B87C-F4BE-4FE8-AC81-19A4348831C9}">
      <dgm:prSet phldrT="[Text]"/>
      <dgm:spPr/>
      <dgm:t>
        <a:bodyPr/>
        <a:lstStyle/>
        <a:p>
          <a:r>
            <a:rPr lang="en-US" dirty="0"/>
            <a:t>Security roles</a:t>
          </a:r>
        </a:p>
      </dgm:t>
    </dgm:pt>
    <dgm:pt modelId="{2FD93A15-F7A4-40F6-8C34-3FCC96ABE5E6}" type="parTrans" cxnId="{C4B2941C-48FA-4C1D-82D5-4B5A3E9DDC99}">
      <dgm:prSet/>
      <dgm:spPr/>
      <dgm:t>
        <a:bodyPr/>
        <a:lstStyle/>
        <a:p>
          <a:endParaRPr lang="en-US"/>
        </a:p>
      </dgm:t>
    </dgm:pt>
    <dgm:pt modelId="{B65F1232-33C2-4DEC-8986-89B86B00A69C}" type="sibTrans" cxnId="{C4B2941C-48FA-4C1D-82D5-4B5A3E9DDC99}">
      <dgm:prSet/>
      <dgm:spPr/>
      <dgm:t>
        <a:bodyPr/>
        <a:lstStyle/>
        <a:p>
          <a:endParaRPr lang="en-US"/>
        </a:p>
      </dgm:t>
    </dgm:pt>
    <dgm:pt modelId="{04E0091B-1DB1-4988-8F45-FA0D58B4F35B}">
      <dgm:prSet phldrT="[Text]"/>
      <dgm:spPr/>
      <dgm:t>
        <a:bodyPr/>
        <a:lstStyle/>
        <a:p>
          <a:r>
            <a:rPr lang="en-US" b="1" dirty="0">
              <a:solidFill>
                <a:schemeClr val="accent6"/>
              </a:solidFill>
            </a:rPr>
            <a:t>COST MANAGEMENT</a:t>
          </a:r>
          <a:endParaRPr lang="en-US" dirty="0"/>
        </a:p>
      </dgm:t>
    </dgm:pt>
    <dgm:pt modelId="{6E74FE85-71E7-4D6F-941E-9679D604622E}" type="parTrans" cxnId="{E3FFD035-CEAD-4C5F-8C09-76FA469766D5}">
      <dgm:prSet/>
      <dgm:spPr/>
      <dgm:t>
        <a:bodyPr/>
        <a:lstStyle/>
        <a:p>
          <a:endParaRPr lang="en-US"/>
        </a:p>
      </dgm:t>
    </dgm:pt>
    <dgm:pt modelId="{7334E4AF-2634-42DA-809A-8D85C44F32C4}" type="sibTrans" cxnId="{E3FFD035-CEAD-4C5F-8C09-76FA469766D5}">
      <dgm:prSet/>
      <dgm:spPr/>
      <dgm:t>
        <a:bodyPr/>
        <a:lstStyle/>
        <a:p>
          <a:endParaRPr lang="en-US"/>
        </a:p>
      </dgm:t>
    </dgm:pt>
    <dgm:pt modelId="{C6071E44-EBBE-4970-8782-035173CAC99B}">
      <dgm:prSet phldrT="[Text]"/>
      <dgm:spPr/>
      <dgm:t>
        <a:bodyPr/>
        <a:lstStyle/>
        <a:p>
          <a:r>
            <a:rPr lang="en-US" dirty="0"/>
            <a:t>Usage compliance</a:t>
          </a:r>
        </a:p>
      </dgm:t>
    </dgm:pt>
    <dgm:pt modelId="{CE1FD924-0F43-4A85-9106-E91AFA464813}" type="parTrans" cxnId="{DC80154D-F499-49ED-BB40-630F2701A41A}">
      <dgm:prSet/>
      <dgm:spPr/>
      <dgm:t>
        <a:bodyPr/>
        <a:lstStyle/>
        <a:p>
          <a:endParaRPr lang="en-US"/>
        </a:p>
      </dgm:t>
    </dgm:pt>
    <dgm:pt modelId="{AE3CEB29-68DE-47AF-8C58-BAF894DCD2CF}" type="sibTrans" cxnId="{DC80154D-F499-49ED-BB40-630F2701A41A}">
      <dgm:prSet/>
      <dgm:spPr/>
      <dgm:t>
        <a:bodyPr/>
        <a:lstStyle/>
        <a:p>
          <a:endParaRPr lang="en-US"/>
        </a:p>
      </dgm:t>
    </dgm:pt>
    <dgm:pt modelId="{5EB2C351-C2EB-47D1-B550-D1FAAB28B325}">
      <dgm:prSet phldrT="[Text]"/>
      <dgm:spPr/>
      <dgm:t>
        <a:bodyPr/>
        <a:lstStyle/>
        <a:p>
          <a:r>
            <a:rPr lang="en-US" dirty="0"/>
            <a:t>Enforce standards</a:t>
          </a:r>
        </a:p>
      </dgm:t>
    </dgm:pt>
    <dgm:pt modelId="{094612EC-5541-4C63-8A63-0A1ECC506953}" type="parTrans" cxnId="{5C8AFE38-4B17-4F02-A23E-93E041BA6CC6}">
      <dgm:prSet/>
      <dgm:spPr/>
      <dgm:t>
        <a:bodyPr/>
        <a:lstStyle/>
        <a:p>
          <a:endParaRPr lang="en-US"/>
        </a:p>
      </dgm:t>
    </dgm:pt>
    <dgm:pt modelId="{7A4F11D2-FDD3-42B1-88B8-76EF72B5E11A}" type="sibTrans" cxnId="{5C8AFE38-4B17-4F02-A23E-93E041BA6CC6}">
      <dgm:prSet/>
      <dgm:spPr/>
      <dgm:t>
        <a:bodyPr/>
        <a:lstStyle/>
        <a:p>
          <a:endParaRPr lang="en-US"/>
        </a:p>
      </dgm:t>
    </dgm:pt>
    <dgm:pt modelId="{609BBCC0-83FB-4FCB-8D67-82CD502EAD0E}">
      <dgm:prSet phldrT="[Text]"/>
      <dgm:spPr/>
      <dgm:t>
        <a:bodyPr/>
        <a:lstStyle/>
        <a:p>
          <a:r>
            <a:rPr lang="en-US" b="1">
              <a:solidFill>
                <a:schemeClr val="accent6"/>
              </a:solidFill>
            </a:rPr>
            <a:t>ROLE</a:t>
          </a:r>
          <a:r>
            <a:rPr lang="en-US" b="1"/>
            <a:t> </a:t>
          </a:r>
          <a:r>
            <a:rPr lang="en-US" b="1" dirty="0">
              <a:solidFill>
                <a:schemeClr val="accent6"/>
              </a:solidFill>
            </a:rPr>
            <a:t>BASED</a:t>
          </a:r>
          <a:r>
            <a:rPr lang="en-US" b="1" dirty="0"/>
            <a:t> </a:t>
          </a:r>
          <a:r>
            <a:rPr lang="en-US" b="1" dirty="0">
              <a:solidFill>
                <a:schemeClr val="accent6"/>
              </a:solidFill>
            </a:rPr>
            <a:t>ACCESS</a:t>
          </a:r>
          <a:endParaRPr lang="en-US" dirty="0"/>
        </a:p>
      </dgm:t>
    </dgm:pt>
    <dgm:pt modelId="{7A2A790A-C289-4D9A-9D29-D81A254B77CB}" type="parTrans" cxnId="{4AC877AE-2DC3-4CF7-8FF3-6867FD601C6A}">
      <dgm:prSet/>
      <dgm:spPr/>
      <dgm:t>
        <a:bodyPr/>
        <a:lstStyle/>
        <a:p>
          <a:endParaRPr lang="en-US"/>
        </a:p>
      </dgm:t>
    </dgm:pt>
    <dgm:pt modelId="{78196FBE-940E-479E-AEC7-44A6C22BD358}" type="sibTrans" cxnId="{4AC877AE-2DC3-4CF7-8FF3-6867FD601C6A}">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206E44B1-770B-4DA9-BF45-5EA35811C35C}" type="pres">
      <dgm:prSet presAssocID="{9861747C-9E0D-42EA-89D8-412D03CF7E37}" presName="composite" presStyleCnt="0"/>
      <dgm:spPr/>
    </dgm:pt>
    <dgm:pt modelId="{B4A1FC9E-DE61-4851-A9C2-3392D8BC748C}" type="pres">
      <dgm:prSet presAssocID="{9861747C-9E0D-42EA-89D8-412D03CF7E37}" presName="rect1" presStyleLbl="trAlignAcc1" presStyleIdx="0" presStyleCnt="5">
        <dgm:presLayoutVars>
          <dgm:bulletEnabled val="1"/>
        </dgm:presLayoutVars>
      </dgm:prSet>
      <dgm:spPr/>
    </dgm:pt>
    <dgm:pt modelId="{0BB77135-2D39-4711-9F35-B992675CC2F3}" type="pres">
      <dgm:prSet presAssocID="{9861747C-9E0D-42EA-89D8-412D03CF7E37}" presName="rect2"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dgm:spPr>
    </dgm:pt>
    <dgm:pt modelId="{87C0B846-08E4-4BC6-9F6D-550CF02733D5}" type="pres">
      <dgm:prSet presAssocID="{A627D808-10F4-4721-8336-D401C7628CD6}" presName="sibTrans" presStyleCnt="0"/>
      <dgm:spPr/>
    </dgm:pt>
    <dgm:pt modelId="{042744D3-9EE4-4763-9F2D-3AE59CA7EEB3}" type="pres">
      <dgm:prSet presAssocID="{D20FD198-A94C-4C65-ABE3-100782D18967}" presName="composite" presStyleCnt="0"/>
      <dgm:spPr/>
    </dgm:pt>
    <dgm:pt modelId="{D75976F8-1086-4F1A-900A-57FC9584D112}" type="pres">
      <dgm:prSet presAssocID="{D20FD198-A94C-4C65-ABE3-100782D18967}" presName="rect1" presStyleLbl="trAlignAcc1" presStyleIdx="1" presStyleCnt="5">
        <dgm:presLayoutVars>
          <dgm:bulletEnabled val="1"/>
        </dgm:presLayoutVars>
      </dgm:prSet>
      <dgm:spPr/>
    </dgm:pt>
    <dgm:pt modelId="{72AF72E3-62BC-4E33-A63A-710D4053AC72}" type="pres">
      <dgm:prSet presAssocID="{D20FD198-A94C-4C65-ABE3-100782D18967}" presName="rect2"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t="-3000" b="-3000"/>
          </a:stretch>
        </a:blipFill>
      </dgm:spPr>
    </dgm:pt>
    <dgm:pt modelId="{1098843E-9E40-4741-9F50-A16665EEACCE}" type="pres">
      <dgm:prSet presAssocID="{E4FFB1A0-CC7D-4969-A7DA-AB6D8D75E1BA}" presName="sibTrans" presStyleCnt="0"/>
      <dgm:spPr/>
    </dgm:pt>
    <dgm:pt modelId="{AB4B0A8D-3ADA-4702-BECF-899C8A83D80B}" type="pres">
      <dgm:prSet presAssocID="{609BBCC0-83FB-4FCB-8D67-82CD502EAD0E}" presName="composite" presStyleCnt="0"/>
      <dgm:spPr/>
    </dgm:pt>
    <dgm:pt modelId="{D0653848-2DFA-4227-8681-1C98702C2621}" type="pres">
      <dgm:prSet presAssocID="{609BBCC0-83FB-4FCB-8D67-82CD502EAD0E}" presName="rect1" presStyleLbl="trAlignAcc1" presStyleIdx="2" presStyleCnt="5">
        <dgm:presLayoutVars>
          <dgm:bulletEnabled val="1"/>
        </dgm:presLayoutVars>
      </dgm:prSet>
      <dgm:spPr/>
    </dgm:pt>
    <dgm:pt modelId="{C72BF44E-DE3F-46BB-A5BC-4D035D01521C}" type="pres">
      <dgm:prSet presAssocID="{609BBCC0-83FB-4FCB-8D67-82CD502EAD0E}" presName="rect2"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dgm:spPr>
    </dgm:pt>
    <dgm:pt modelId="{7277BEC8-A6EB-49E4-9A32-156AF3D7EAB3}" type="pres">
      <dgm:prSet presAssocID="{78196FBE-940E-479E-AEC7-44A6C22BD358}" presName="sibTrans" presStyleCnt="0"/>
      <dgm:spPr/>
    </dgm:pt>
    <dgm:pt modelId="{73780F78-9557-4C5B-967D-4EFDBFFA51C7}" type="pres">
      <dgm:prSet presAssocID="{04E0091B-1DB1-4988-8F45-FA0D58B4F35B}" presName="composite" presStyleCnt="0"/>
      <dgm:spPr/>
    </dgm:pt>
    <dgm:pt modelId="{768402D9-13BA-4290-AD76-295184E8FFB2}" type="pres">
      <dgm:prSet presAssocID="{04E0091B-1DB1-4988-8F45-FA0D58B4F35B}" presName="rect1" presStyleLbl="trAlignAcc1" presStyleIdx="3" presStyleCnt="5">
        <dgm:presLayoutVars>
          <dgm:bulletEnabled val="1"/>
        </dgm:presLayoutVars>
      </dgm:prSet>
      <dgm:spPr/>
    </dgm:pt>
    <dgm:pt modelId="{5A6EB298-7892-450F-9D20-9F935A24AD1A}" type="pres">
      <dgm:prSet presAssocID="{04E0091B-1DB1-4988-8F45-FA0D58B4F35B}" presName="rect2"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dgm:spPr>
    </dgm:pt>
    <dgm:pt modelId="{4542820F-9066-4599-ACC7-134AD1EAB689}" type="pres">
      <dgm:prSet presAssocID="{7334E4AF-2634-42DA-809A-8D85C44F32C4}" presName="sibTrans" presStyleCnt="0"/>
      <dgm:spPr/>
    </dgm:pt>
    <dgm:pt modelId="{E1EF23C3-B5BB-46B1-BCC6-5A0508986C17}" type="pres">
      <dgm:prSet presAssocID="{ACCE0837-D982-4B56-AA71-CB0D29CC57E6}" presName="composite" presStyleCnt="0"/>
      <dgm:spPr/>
    </dgm:pt>
    <dgm:pt modelId="{803ADF45-B2E5-49C4-8FC5-4EBBDCC26FE5}" type="pres">
      <dgm:prSet presAssocID="{ACCE0837-D982-4B56-AA71-CB0D29CC57E6}" presName="rect1" presStyleLbl="trAlignAcc1" presStyleIdx="4" presStyleCnt="5">
        <dgm:presLayoutVars>
          <dgm:bulletEnabled val="1"/>
        </dgm:presLayoutVars>
      </dgm:prSet>
      <dgm:spPr/>
    </dgm:pt>
    <dgm:pt modelId="{CE3339C4-69F8-406B-AB07-90D139BA368A}" type="pres">
      <dgm:prSet presAssocID="{ACCE0837-D982-4B56-AA71-CB0D29CC57E6}" presName="rect2"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dgm:spPr>
    </dgm:pt>
  </dgm:ptLst>
  <dgm:cxnLst>
    <dgm:cxn modelId="{BE4CC604-7ACA-41F0-AAF9-876A44915AF2}" type="presOf" srcId="{9861747C-9E0D-42EA-89D8-412D03CF7E37}" destId="{B4A1FC9E-DE61-4851-A9C2-3392D8BC748C}" srcOrd="0" destOrd="0" presId="urn:microsoft.com/office/officeart/2008/layout/PictureStrips"/>
    <dgm:cxn modelId="{E95D4908-B495-46ED-9F4F-81534D9A8F1C}" srcId="{609BBCC0-83FB-4FCB-8D67-82CD502EAD0E}" destId="{DEAC75AD-AFBE-44D7-9633-1A1489CF953D}" srcOrd="0" destOrd="0" parTransId="{C3E0872B-D74A-4C33-A187-956F1932FF09}" sibTransId="{BD14B363-5864-43A7-9518-6F482CC0BD20}"/>
    <dgm:cxn modelId="{92A3E80B-51DC-4CC3-B4F3-BDE1AF848969}" type="presOf" srcId="{3B83FBD0-E0B9-4596-9A32-98CCCFBCA3F7}" destId="{803ADF45-B2E5-49C4-8FC5-4EBBDCC26FE5}" srcOrd="0" destOrd="2" presId="urn:microsoft.com/office/officeart/2008/layout/PictureStrips"/>
    <dgm:cxn modelId="{91B77A10-22F0-4BEE-9A56-37DB7BE539C7}" srcId="{9861747C-9E0D-42EA-89D8-412D03CF7E37}" destId="{E8E78A58-63D5-4AFF-BF12-CAB3CDD5FBD8}" srcOrd="1" destOrd="0" parTransId="{89606023-3AE4-4463-B44E-8A5190745FBE}" sibTransId="{FA3AC767-0C35-44E4-A4A8-277C9C60F278}"/>
    <dgm:cxn modelId="{A3D10E12-5ADB-4D97-8469-A3443BFA1D78}" type="presOf" srcId="{E8E78A58-63D5-4AFF-BF12-CAB3CDD5FBD8}" destId="{B4A1FC9E-DE61-4851-A9C2-3392D8BC748C}" srcOrd="0" destOrd="2" presId="urn:microsoft.com/office/officeart/2008/layout/PictureStrips"/>
    <dgm:cxn modelId="{C6ABBD14-72CE-4A51-A50F-FE2AE20184EC}" type="presOf" srcId="{D20FD198-A94C-4C65-ABE3-100782D18967}" destId="{D75976F8-1086-4F1A-900A-57FC9584D112}" srcOrd="0" destOrd="0" presId="urn:microsoft.com/office/officeart/2008/layout/PictureStrips"/>
    <dgm:cxn modelId="{C4B2941C-48FA-4C1D-82D5-4B5A3E9DDC99}" srcId="{609BBCC0-83FB-4FCB-8D67-82CD502EAD0E}" destId="{76A4B87C-F4BE-4FE8-AC81-19A4348831C9}" srcOrd="1" destOrd="0" parTransId="{2FD93A15-F7A4-40F6-8C34-3FCC96ABE5E6}" sibTransId="{B65F1232-33C2-4DEC-8986-89B86B00A69C}"/>
    <dgm:cxn modelId="{06307722-54C8-46A3-A0A1-DD86A333E2BA}" type="presOf" srcId="{9C436FA6-C4B3-4297-B941-7DC33619251A}" destId="{A2978229-6566-4399-93E1-57DDAFBDFE3D}" srcOrd="0" destOrd="0" presId="urn:microsoft.com/office/officeart/2008/layout/PictureStrips"/>
    <dgm:cxn modelId="{61636525-3ACE-4DCA-8E3C-F7A4DD622647}" srcId="{9C436FA6-C4B3-4297-B941-7DC33619251A}" destId="{9861747C-9E0D-42EA-89D8-412D03CF7E37}" srcOrd="0" destOrd="0" parTransId="{9C4BD807-54C6-4C44-8FEA-296898BC39F2}" sibTransId="{A627D808-10F4-4721-8336-D401C7628CD6}"/>
    <dgm:cxn modelId="{CE799933-9C84-417D-9428-FA60C23811DC}" type="presOf" srcId="{5EB2C351-C2EB-47D1-B550-D1FAAB28B325}" destId="{D75976F8-1086-4F1A-900A-57FC9584D112}" srcOrd="0" destOrd="2" presId="urn:microsoft.com/office/officeart/2008/layout/PictureStrips"/>
    <dgm:cxn modelId="{E3FFD035-CEAD-4C5F-8C09-76FA469766D5}" srcId="{9C436FA6-C4B3-4297-B941-7DC33619251A}" destId="{04E0091B-1DB1-4988-8F45-FA0D58B4F35B}" srcOrd="3" destOrd="0" parTransId="{6E74FE85-71E7-4D6F-941E-9679D604622E}" sibTransId="{7334E4AF-2634-42DA-809A-8D85C44F32C4}"/>
    <dgm:cxn modelId="{5C8AFE38-4B17-4F02-A23E-93E041BA6CC6}" srcId="{D20FD198-A94C-4C65-ABE3-100782D18967}" destId="{5EB2C351-C2EB-47D1-B550-D1FAAB28B325}" srcOrd="1" destOrd="0" parTransId="{094612EC-5541-4C63-8A63-0A1ECC506953}" sibTransId="{7A4F11D2-FDD3-42B1-88B8-76EF72B5E11A}"/>
    <dgm:cxn modelId="{95DEFA3A-478A-4D91-98D0-B7A679C55380}" type="presOf" srcId="{AEEA0D1F-69AC-4499-8A02-6F9324367006}" destId="{768402D9-13BA-4290-AD76-295184E8FFB2}" srcOrd="0" destOrd="2" presId="urn:microsoft.com/office/officeart/2008/layout/PictureStrips"/>
    <dgm:cxn modelId="{CD0ACB3D-0C34-4BAD-8000-4D922AC68802}" type="presOf" srcId="{ACCE0837-D982-4B56-AA71-CB0D29CC57E6}" destId="{803ADF45-B2E5-49C4-8FC5-4EBBDCC26FE5}" srcOrd="0" destOrd="0" presId="urn:microsoft.com/office/officeart/2008/layout/PictureStrips"/>
    <dgm:cxn modelId="{F202EE5C-A4F8-4835-9668-9EFB905EAFF0}" srcId="{ACCE0837-D982-4B56-AA71-CB0D29CC57E6}" destId="{3B83FBD0-E0B9-4596-9A32-98CCCFBCA3F7}" srcOrd="1" destOrd="0" parTransId="{374B46C5-CA92-446B-B953-41951292CBEF}" sibTransId="{D91C7839-D983-45D7-8356-48CF4839E50B}"/>
    <dgm:cxn modelId="{6B175B5D-73BF-4745-B01A-413FDDE5B565}" type="presOf" srcId="{60A7F13B-96DB-4BA0-ABD9-58CFF06C4163}" destId="{768402D9-13BA-4290-AD76-295184E8FFB2}" srcOrd="0" destOrd="1" presId="urn:microsoft.com/office/officeart/2008/layout/PictureStrips"/>
    <dgm:cxn modelId="{45F4CE67-EA28-42D9-9FC1-A6C4C5C58CEE}" type="presOf" srcId="{5A2AB42F-96D5-4A18-8D80-ECDDEA32D589}" destId="{B4A1FC9E-DE61-4851-A9C2-3392D8BC748C}" srcOrd="0" destOrd="1" presId="urn:microsoft.com/office/officeart/2008/layout/PictureStrips"/>
    <dgm:cxn modelId="{6C74254A-FF99-46C1-8FD9-2CEB1B7B230F}" srcId="{9861747C-9E0D-42EA-89D8-412D03CF7E37}" destId="{5A2AB42F-96D5-4A18-8D80-ECDDEA32D589}" srcOrd="0" destOrd="0" parTransId="{A2B0789A-DD14-4019-9869-69E1C357DA73}" sibTransId="{61777549-CCBA-4FCC-8215-21C4187CE59D}"/>
    <dgm:cxn modelId="{DC80154D-F499-49ED-BB40-630F2701A41A}" srcId="{D20FD198-A94C-4C65-ABE3-100782D18967}" destId="{C6071E44-EBBE-4970-8782-035173CAC99B}" srcOrd="0" destOrd="0" parTransId="{CE1FD924-0F43-4A85-9106-E91AFA464813}" sibTransId="{AE3CEB29-68DE-47AF-8C58-BAF894DCD2CF}"/>
    <dgm:cxn modelId="{7D09E273-559B-496E-9770-AC282C4CE53D}" srcId="{04E0091B-1DB1-4988-8F45-FA0D58B4F35B}" destId="{AEEA0D1F-69AC-4499-8A02-6F9324367006}" srcOrd="1" destOrd="0" parTransId="{34C4D95F-1406-4350-B7BA-DA310FE6C339}" sibTransId="{F5C5A8B7-66EC-4CA9-9336-1FB6E79CA86A}"/>
    <dgm:cxn modelId="{F2AFEA8D-3B24-4058-835F-88DF2E2FFFCD}" srcId="{04E0091B-1DB1-4988-8F45-FA0D58B4F35B}" destId="{60A7F13B-96DB-4BA0-ABD9-58CFF06C4163}" srcOrd="0" destOrd="0" parTransId="{F46BC6E2-1470-4990-8B05-F62D932C242D}" sibTransId="{AE6D784C-5659-4955-93C1-CBBA8DC8F1AD}"/>
    <dgm:cxn modelId="{313F07A2-9E93-4D97-AFD3-BD3E463398F4}" srcId="{9C436FA6-C4B3-4297-B941-7DC33619251A}" destId="{D20FD198-A94C-4C65-ABE3-100782D18967}" srcOrd="1" destOrd="0" parTransId="{C7C42526-9FDE-4AD1-8B73-28E4EDF642A7}" sibTransId="{E4FFB1A0-CC7D-4969-A7DA-AB6D8D75E1BA}"/>
    <dgm:cxn modelId="{EB0D04AC-493E-4A19-8C91-5F6AE0C0817E}" type="presOf" srcId="{DEAC75AD-AFBE-44D7-9633-1A1489CF953D}" destId="{D0653848-2DFA-4227-8681-1C98702C2621}" srcOrd="0" destOrd="1" presId="urn:microsoft.com/office/officeart/2008/layout/PictureStrips"/>
    <dgm:cxn modelId="{F6EB1BAD-3066-4591-83AB-53D79BB8CB25}" srcId="{ACCE0837-D982-4B56-AA71-CB0D29CC57E6}" destId="{6A743301-0C51-4394-89F2-0CB50A9F9BEB}" srcOrd="0" destOrd="0" parTransId="{1C9B23D5-F1A7-43C3-BDB6-C31BD4402184}" sibTransId="{163F3E8F-BBA9-423E-9E9B-EE501889D008}"/>
    <dgm:cxn modelId="{4F2215AE-C03E-44BD-92C1-EE72277564E1}" type="presOf" srcId="{04E0091B-1DB1-4988-8F45-FA0D58B4F35B}" destId="{768402D9-13BA-4290-AD76-295184E8FFB2}" srcOrd="0" destOrd="0" presId="urn:microsoft.com/office/officeart/2008/layout/PictureStrips"/>
    <dgm:cxn modelId="{4AC877AE-2DC3-4CF7-8FF3-6867FD601C6A}" srcId="{9C436FA6-C4B3-4297-B941-7DC33619251A}" destId="{609BBCC0-83FB-4FCB-8D67-82CD502EAD0E}" srcOrd="2" destOrd="0" parTransId="{7A2A790A-C289-4D9A-9D29-D81A254B77CB}" sibTransId="{78196FBE-940E-479E-AEC7-44A6C22BD358}"/>
    <dgm:cxn modelId="{85EC8CDC-A06D-459E-8BAF-5F040FC1F3AE}" srcId="{9C436FA6-C4B3-4297-B941-7DC33619251A}" destId="{ACCE0837-D982-4B56-AA71-CB0D29CC57E6}" srcOrd="4" destOrd="0" parTransId="{62D8B87D-D97A-4F9B-991B-01775FF55790}" sibTransId="{BBC2C3D3-A9FE-4B25-90C0-D73C4938AB23}"/>
    <dgm:cxn modelId="{E08D9BE0-4A83-48B6-9371-409C87DB9437}" type="presOf" srcId="{609BBCC0-83FB-4FCB-8D67-82CD502EAD0E}" destId="{D0653848-2DFA-4227-8681-1C98702C2621}" srcOrd="0" destOrd="0" presId="urn:microsoft.com/office/officeart/2008/layout/PictureStrips"/>
    <dgm:cxn modelId="{66761DE1-EC94-4A74-8970-9ACE2550B972}" type="presOf" srcId="{C6071E44-EBBE-4970-8782-035173CAC99B}" destId="{D75976F8-1086-4F1A-900A-57FC9584D112}" srcOrd="0" destOrd="1" presId="urn:microsoft.com/office/officeart/2008/layout/PictureStrips"/>
    <dgm:cxn modelId="{522D6DFF-DFD9-4C26-98EE-AF591B71E573}" type="presOf" srcId="{6A743301-0C51-4394-89F2-0CB50A9F9BEB}" destId="{803ADF45-B2E5-49C4-8FC5-4EBBDCC26FE5}" srcOrd="0" destOrd="1" presId="urn:microsoft.com/office/officeart/2008/layout/PictureStrips"/>
    <dgm:cxn modelId="{EC5EC4FF-4107-4E93-B2BC-9C15E0C96099}" type="presOf" srcId="{76A4B87C-F4BE-4FE8-AC81-19A4348831C9}" destId="{D0653848-2DFA-4227-8681-1C98702C2621}" srcOrd="0" destOrd="2" presId="urn:microsoft.com/office/officeart/2008/layout/PictureStrips"/>
    <dgm:cxn modelId="{50D44D5E-EBFF-4F83-89FA-D7E56FF5B0A4}" type="presParOf" srcId="{A2978229-6566-4399-93E1-57DDAFBDFE3D}" destId="{206E44B1-770B-4DA9-BF45-5EA35811C35C}" srcOrd="0" destOrd="0" presId="urn:microsoft.com/office/officeart/2008/layout/PictureStrips"/>
    <dgm:cxn modelId="{8303E90B-619A-4AED-A56B-63A7285184CA}" type="presParOf" srcId="{206E44B1-770B-4DA9-BF45-5EA35811C35C}" destId="{B4A1FC9E-DE61-4851-A9C2-3392D8BC748C}" srcOrd="0" destOrd="0" presId="urn:microsoft.com/office/officeart/2008/layout/PictureStrips"/>
    <dgm:cxn modelId="{72E6601F-4819-47EE-A53B-36097D783AD9}" type="presParOf" srcId="{206E44B1-770B-4DA9-BF45-5EA35811C35C}" destId="{0BB77135-2D39-4711-9F35-B992675CC2F3}" srcOrd="1" destOrd="0" presId="urn:microsoft.com/office/officeart/2008/layout/PictureStrips"/>
    <dgm:cxn modelId="{9027D60E-A892-464B-BA13-3D911D28DFF7}" type="presParOf" srcId="{A2978229-6566-4399-93E1-57DDAFBDFE3D}" destId="{87C0B846-08E4-4BC6-9F6D-550CF02733D5}" srcOrd="1" destOrd="0" presId="urn:microsoft.com/office/officeart/2008/layout/PictureStrips"/>
    <dgm:cxn modelId="{E8D936AF-DB9F-474C-8591-1DD85036A770}" type="presParOf" srcId="{A2978229-6566-4399-93E1-57DDAFBDFE3D}" destId="{042744D3-9EE4-4763-9F2D-3AE59CA7EEB3}" srcOrd="2" destOrd="0" presId="urn:microsoft.com/office/officeart/2008/layout/PictureStrips"/>
    <dgm:cxn modelId="{8FF0C5AF-D276-44DB-ABC0-3FB29A4BA8AD}" type="presParOf" srcId="{042744D3-9EE4-4763-9F2D-3AE59CA7EEB3}" destId="{D75976F8-1086-4F1A-900A-57FC9584D112}" srcOrd="0" destOrd="0" presId="urn:microsoft.com/office/officeart/2008/layout/PictureStrips"/>
    <dgm:cxn modelId="{C24AD254-B804-43E7-843A-7CA05611A847}" type="presParOf" srcId="{042744D3-9EE4-4763-9F2D-3AE59CA7EEB3}" destId="{72AF72E3-62BC-4E33-A63A-710D4053AC72}" srcOrd="1" destOrd="0" presId="urn:microsoft.com/office/officeart/2008/layout/PictureStrips"/>
    <dgm:cxn modelId="{96C2DF1C-BF24-47D5-9CAB-B683FE3D3B82}" type="presParOf" srcId="{A2978229-6566-4399-93E1-57DDAFBDFE3D}" destId="{1098843E-9E40-4741-9F50-A16665EEACCE}" srcOrd="3" destOrd="0" presId="urn:microsoft.com/office/officeart/2008/layout/PictureStrips"/>
    <dgm:cxn modelId="{2194B1FA-1642-4F6D-B4AA-0F2B341B81CA}" type="presParOf" srcId="{A2978229-6566-4399-93E1-57DDAFBDFE3D}" destId="{AB4B0A8D-3ADA-4702-BECF-899C8A83D80B}" srcOrd="4" destOrd="0" presId="urn:microsoft.com/office/officeart/2008/layout/PictureStrips"/>
    <dgm:cxn modelId="{29A1B854-9F20-418F-BC03-5F056A92E5E9}" type="presParOf" srcId="{AB4B0A8D-3ADA-4702-BECF-899C8A83D80B}" destId="{D0653848-2DFA-4227-8681-1C98702C2621}" srcOrd="0" destOrd="0" presId="urn:microsoft.com/office/officeart/2008/layout/PictureStrips"/>
    <dgm:cxn modelId="{FCE0F000-839B-41C9-AED7-36D6A3ECF32C}" type="presParOf" srcId="{AB4B0A8D-3ADA-4702-BECF-899C8A83D80B}" destId="{C72BF44E-DE3F-46BB-A5BC-4D035D01521C}" srcOrd="1" destOrd="0" presId="urn:microsoft.com/office/officeart/2008/layout/PictureStrips"/>
    <dgm:cxn modelId="{4FB07D99-6B74-47AA-9233-2F38DBBC5C6E}" type="presParOf" srcId="{A2978229-6566-4399-93E1-57DDAFBDFE3D}" destId="{7277BEC8-A6EB-49E4-9A32-156AF3D7EAB3}" srcOrd="5" destOrd="0" presId="urn:microsoft.com/office/officeart/2008/layout/PictureStrips"/>
    <dgm:cxn modelId="{6C93ED61-4800-4D23-904D-6A260DF45A71}" type="presParOf" srcId="{A2978229-6566-4399-93E1-57DDAFBDFE3D}" destId="{73780F78-9557-4C5B-967D-4EFDBFFA51C7}" srcOrd="6" destOrd="0" presId="urn:microsoft.com/office/officeart/2008/layout/PictureStrips"/>
    <dgm:cxn modelId="{042159C8-DAEF-437B-8FDC-03A41C4BB639}" type="presParOf" srcId="{73780F78-9557-4C5B-967D-4EFDBFFA51C7}" destId="{768402D9-13BA-4290-AD76-295184E8FFB2}" srcOrd="0" destOrd="0" presId="urn:microsoft.com/office/officeart/2008/layout/PictureStrips"/>
    <dgm:cxn modelId="{DB2870D5-5942-4FE1-9F4D-503A8E2204A8}" type="presParOf" srcId="{73780F78-9557-4C5B-967D-4EFDBFFA51C7}" destId="{5A6EB298-7892-450F-9D20-9F935A24AD1A}" srcOrd="1" destOrd="0" presId="urn:microsoft.com/office/officeart/2008/layout/PictureStrips"/>
    <dgm:cxn modelId="{727E62F5-0671-4B78-AC3C-E1A0C84A7037}" type="presParOf" srcId="{A2978229-6566-4399-93E1-57DDAFBDFE3D}" destId="{4542820F-9066-4599-ACC7-134AD1EAB689}" srcOrd="7" destOrd="0" presId="urn:microsoft.com/office/officeart/2008/layout/PictureStrips"/>
    <dgm:cxn modelId="{BF88D601-4032-4904-BDC9-8E8709A6C84C}" type="presParOf" srcId="{A2978229-6566-4399-93E1-57DDAFBDFE3D}" destId="{E1EF23C3-B5BB-46B1-BCC6-5A0508986C17}" srcOrd="8" destOrd="0" presId="urn:microsoft.com/office/officeart/2008/layout/PictureStrips"/>
    <dgm:cxn modelId="{26B42D9C-8B9D-4FF0-BD52-CD1E683B062B}" type="presParOf" srcId="{E1EF23C3-B5BB-46B1-BCC6-5A0508986C17}" destId="{803ADF45-B2E5-49C4-8FC5-4EBBDCC26FE5}" srcOrd="0" destOrd="0" presId="urn:microsoft.com/office/officeart/2008/layout/PictureStrips"/>
    <dgm:cxn modelId="{7E9E28CD-665D-4455-B374-C9ADA2FFF181}" type="presParOf" srcId="{E1EF23C3-B5BB-46B1-BCC6-5A0508986C17}" destId="{CE3339C4-69F8-406B-AB07-90D139BA368A}" srcOrd="1" destOrd="0" presId="urn:microsoft.com/office/officeart/2008/layout/PictureStrips"/>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3D87AEC-DD73-49F0-9157-9EE7816DC63A}" type="doc">
      <dgm:prSet loTypeId="urn:microsoft.com/office/officeart/2005/8/layout/lProcess2" loCatId="list" qsTypeId="urn:microsoft.com/office/officeart/2005/8/quickstyle/simple2" qsCatId="simple" csTypeId="urn:microsoft.com/office/officeart/2005/8/colors/accent6_1" csCatId="accent6" phldr="1"/>
      <dgm:spPr/>
      <dgm:t>
        <a:bodyPr/>
        <a:lstStyle/>
        <a:p>
          <a:endParaRPr lang="en-US"/>
        </a:p>
      </dgm:t>
    </dgm:pt>
    <dgm:pt modelId="{5B44B4FB-9A4E-456A-8256-1F4D873A9633}">
      <dgm:prSet phldrT="[Text]"/>
      <dgm:spPr/>
      <dgm:t>
        <a:bodyPr/>
        <a:lstStyle/>
        <a:p>
          <a:r>
            <a:rPr lang="en-US" dirty="0"/>
            <a:t>Full Upgrade</a:t>
          </a:r>
        </a:p>
      </dgm:t>
    </dgm:pt>
    <dgm:pt modelId="{62AF6B58-54F0-4F86-A3E5-82D0FC89DAD6}" type="parTrans" cxnId="{599F47C8-37E3-4317-8D58-8A7063DC9278}">
      <dgm:prSet/>
      <dgm:spPr/>
      <dgm:t>
        <a:bodyPr/>
        <a:lstStyle/>
        <a:p>
          <a:endParaRPr lang="en-US"/>
        </a:p>
      </dgm:t>
    </dgm:pt>
    <dgm:pt modelId="{11DE3A45-D70A-454B-BC47-333B5AC9696D}" type="sibTrans" cxnId="{599F47C8-37E3-4317-8D58-8A7063DC9278}">
      <dgm:prSet/>
      <dgm:spPr/>
      <dgm:t>
        <a:bodyPr/>
        <a:lstStyle/>
        <a:p>
          <a:endParaRPr lang="en-US"/>
        </a:p>
      </dgm:t>
    </dgm:pt>
    <dgm:pt modelId="{C570EFBE-A7FF-4A9F-87C5-6C8D85D3DD79}">
      <dgm:prSet phldrT="[Text]"/>
      <dgm:spPr/>
      <dgm:t>
        <a:bodyPr/>
        <a:lstStyle/>
        <a:p>
          <a:r>
            <a:rPr lang="en-US" dirty="0"/>
            <a:t>Applied UD by UD</a:t>
          </a:r>
        </a:p>
      </dgm:t>
    </dgm:pt>
    <dgm:pt modelId="{0A7EA611-6A6A-4F02-AE44-D99B3D1DA1CD}" type="parTrans" cxnId="{AA4B68E2-E364-4247-B154-2AFE207CCC5C}">
      <dgm:prSet/>
      <dgm:spPr/>
      <dgm:t>
        <a:bodyPr/>
        <a:lstStyle/>
        <a:p>
          <a:endParaRPr lang="en-US"/>
        </a:p>
      </dgm:t>
    </dgm:pt>
    <dgm:pt modelId="{43ADAD8B-47FF-4029-A874-341AB8A54D3F}" type="sibTrans" cxnId="{AA4B68E2-E364-4247-B154-2AFE207CCC5C}">
      <dgm:prSet/>
      <dgm:spPr/>
      <dgm:t>
        <a:bodyPr/>
        <a:lstStyle/>
        <a:p>
          <a:endParaRPr lang="en-US"/>
        </a:p>
      </dgm:t>
    </dgm:pt>
    <dgm:pt modelId="{584D02BA-9434-4351-959F-52DBBD716F16}">
      <dgm:prSet phldrT="[Text]"/>
      <dgm:spPr/>
      <dgm:t>
        <a:bodyPr/>
        <a:lstStyle/>
        <a:p>
          <a:r>
            <a:rPr lang="en-US" dirty="0"/>
            <a:t>Once every 12-16 months</a:t>
          </a:r>
        </a:p>
      </dgm:t>
    </dgm:pt>
    <dgm:pt modelId="{18474399-1353-4940-B5E2-AE95CEE24788}" type="parTrans" cxnId="{F3FADA5A-B5FF-4406-BEA4-FD247C6D40E2}">
      <dgm:prSet/>
      <dgm:spPr/>
      <dgm:t>
        <a:bodyPr/>
        <a:lstStyle/>
        <a:p>
          <a:endParaRPr lang="en-US"/>
        </a:p>
      </dgm:t>
    </dgm:pt>
    <dgm:pt modelId="{5BA81E03-28AA-46E4-82C4-0DDDE1629FA5}" type="sibTrans" cxnId="{F3FADA5A-B5FF-4406-BEA4-FD247C6D40E2}">
      <dgm:prSet/>
      <dgm:spPr/>
      <dgm:t>
        <a:bodyPr/>
        <a:lstStyle/>
        <a:p>
          <a:endParaRPr lang="en-US"/>
        </a:p>
      </dgm:t>
    </dgm:pt>
    <dgm:pt modelId="{3CAB9975-CDE2-40BE-8074-F42C5FA56D61}">
      <dgm:prSet phldrT="[Text]"/>
      <dgm:spPr/>
      <dgm:t>
        <a:bodyPr/>
        <a:lstStyle/>
        <a:p>
          <a:r>
            <a:rPr lang="en-US" dirty="0"/>
            <a:t>Live Migration</a:t>
          </a:r>
        </a:p>
      </dgm:t>
    </dgm:pt>
    <dgm:pt modelId="{F8F399E7-D361-49B5-91E0-B98B3E008E4E}" type="parTrans" cxnId="{26B0FA0C-C8C9-4D98-81D5-00847BEEA14E}">
      <dgm:prSet/>
      <dgm:spPr/>
      <dgm:t>
        <a:bodyPr/>
        <a:lstStyle/>
        <a:p>
          <a:endParaRPr lang="en-US"/>
        </a:p>
      </dgm:t>
    </dgm:pt>
    <dgm:pt modelId="{5C13A055-3BF3-436A-93C3-5CD0820B9F78}" type="sibTrans" cxnId="{26B0FA0C-C8C9-4D98-81D5-00847BEEA14E}">
      <dgm:prSet/>
      <dgm:spPr/>
      <dgm:t>
        <a:bodyPr/>
        <a:lstStyle/>
        <a:p>
          <a:endParaRPr lang="en-US"/>
        </a:p>
      </dgm:t>
    </dgm:pt>
    <dgm:pt modelId="{90ABB397-D263-4657-9908-2AE919FD9D1D}">
      <dgm:prSet phldrT="[Text]"/>
      <dgm:spPr/>
      <dgm:t>
        <a:bodyPr/>
        <a:lstStyle/>
        <a:p>
          <a:r>
            <a:rPr lang="en-US" dirty="0"/>
            <a:t>Default update technique</a:t>
          </a:r>
        </a:p>
      </dgm:t>
    </dgm:pt>
    <dgm:pt modelId="{639974AC-2F33-4F4C-AC27-31C6CCB4A8D3}" type="parTrans" cxnId="{172897B0-873A-4DEC-8E56-56643CF83787}">
      <dgm:prSet/>
      <dgm:spPr/>
      <dgm:t>
        <a:bodyPr/>
        <a:lstStyle/>
        <a:p>
          <a:endParaRPr lang="en-US"/>
        </a:p>
      </dgm:t>
    </dgm:pt>
    <dgm:pt modelId="{E6FACB0B-7071-4EB2-8C19-EFB1EE3F1893}" type="sibTrans" cxnId="{172897B0-873A-4DEC-8E56-56643CF83787}">
      <dgm:prSet/>
      <dgm:spPr/>
      <dgm:t>
        <a:bodyPr/>
        <a:lstStyle/>
        <a:p>
          <a:endParaRPr lang="en-US"/>
        </a:p>
      </dgm:t>
    </dgm:pt>
    <dgm:pt modelId="{ED22D4D5-FC61-48BE-BB6B-3E5BDDCC53DA}">
      <dgm:prSet phldrT="[Text]"/>
      <dgm:spPr/>
      <dgm:t>
        <a:bodyPr/>
        <a:lstStyle/>
        <a:p>
          <a:r>
            <a:rPr lang="en-US" dirty="0"/>
            <a:t>&lt; 30 sec VM pause</a:t>
          </a:r>
        </a:p>
      </dgm:t>
    </dgm:pt>
    <dgm:pt modelId="{873CE964-581C-41FF-9D45-C332C439266D}" type="parTrans" cxnId="{93B6FDB2-8184-4D4D-B0F9-512AEF2A6498}">
      <dgm:prSet/>
      <dgm:spPr/>
      <dgm:t>
        <a:bodyPr/>
        <a:lstStyle/>
        <a:p>
          <a:endParaRPr lang="en-US"/>
        </a:p>
      </dgm:t>
    </dgm:pt>
    <dgm:pt modelId="{A8C764EE-323D-4D2F-B3B6-31EA5DFFC3A2}" type="sibTrans" cxnId="{93B6FDB2-8184-4D4D-B0F9-512AEF2A6498}">
      <dgm:prSet/>
      <dgm:spPr/>
      <dgm:t>
        <a:bodyPr/>
        <a:lstStyle/>
        <a:p>
          <a:endParaRPr lang="en-US"/>
        </a:p>
      </dgm:t>
    </dgm:pt>
    <dgm:pt modelId="{E68761B4-908A-4C9D-BBD6-752B0481B245}">
      <dgm:prSet phldrT="[Text]"/>
      <dgm:spPr/>
      <dgm:t>
        <a:bodyPr/>
        <a:lstStyle/>
        <a:p>
          <a:r>
            <a:rPr lang="en-US" dirty="0"/>
            <a:t>On-Demand Maintenance</a:t>
          </a:r>
        </a:p>
      </dgm:t>
    </dgm:pt>
    <dgm:pt modelId="{B3AE5434-BC7C-46F2-881B-A196317AA34F}" type="parTrans" cxnId="{95D73DB2-1F59-41CA-8343-D0406099A18F}">
      <dgm:prSet/>
      <dgm:spPr/>
      <dgm:t>
        <a:bodyPr/>
        <a:lstStyle/>
        <a:p>
          <a:endParaRPr lang="en-US"/>
        </a:p>
      </dgm:t>
    </dgm:pt>
    <dgm:pt modelId="{8085A6BA-2D98-4DA4-8A3E-AF1007CCA8EE}" type="sibTrans" cxnId="{95D73DB2-1F59-41CA-8343-D0406099A18F}">
      <dgm:prSet/>
      <dgm:spPr/>
      <dgm:t>
        <a:bodyPr/>
        <a:lstStyle/>
        <a:p>
          <a:endParaRPr lang="en-US"/>
        </a:p>
      </dgm:t>
    </dgm:pt>
    <dgm:pt modelId="{080B9530-D179-4C21-82F8-9716044BFB1A}">
      <dgm:prSet phldrT="[Text]"/>
      <dgm:spPr/>
      <dgm:t>
        <a:bodyPr/>
        <a:lstStyle/>
        <a:p>
          <a:r>
            <a:rPr lang="en-US" dirty="0"/>
            <a:t>30 day advanced notice</a:t>
          </a:r>
        </a:p>
      </dgm:t>
    </dgm:pt>
    <dgm:pt modelId="{AD2B0048-A9DC-4B33-B3D7-FFD8A6EF3431}" type="parTrans" cxnId="{24E5E397-6EB8-4AC6-B4D9-33C729F38216}">
      <dgm:prSet/>
      <dgm:spPr/>
      <dgm:t>
        <a:bodyPr/>
        <a:lstStyle/>
        <a:p>
          <a:endParaRPr lang="en-US"/>
        </a:p>
      </dgm:t>
    </dgm:pt>
    <dgm:pt modelId="{55B993FC-9853-4A1E-86CC-2EC75812B95D}" type="sibTrans" cxnId="{24E5E397-6EB8-4AC6-B4D9-33C729F38216}">
      <dgm:prSet/>
      <dgm:spPr/>
      <dgm:t>
        <a:bodyPr/>
        <a:lstStyle/>
        <a:p>
          <a:endParaRPr lang="en-US"/>
        </a:p>
      </dgm:t>
    </dgm:pt>
    <dgm:pt modelId="{94810611-AF7C-4DBE-A071-C4DAE1ED81F4}">
      <dgm:prSet phldrT="[Text]"/>
      <dgm:spPr/>
      <dgm:t>
        <a:bodyPr/>
        <a:lstStyle/>
        <a:p>
          <a:r>
            <a:rPr lang="en-US" dirty="0"/>
            <a:t>Customer initiated window</a:t>
          </a:r>
        </a:p>
      </dgm:t>
    </dgm:pt>
    <dgm:pt modelId="{0DE6B398-8C3A-47CF-ACD7-2E92745BBF09}" type="parTrans" cxnId="{7D509C7C-C9C8-4A25-8324-5537F94D385D}">
      <dgm:prSet/>
      <dgm:spPr/>
      <dgm:t>
        <a:bodyPr/>
        <a:lstStyle/>
        <a:p>
          <a:endParaRPr lang="en-US"/>
        </a:p>
      </dgm:t>
    </dgm:pt>
    <dgm:pt modelId="{1A397F7C-F19A-4E5D-9F33-77787FC58AA1}" type="sibTrans" cxnId="{7D509C7C-C9C8-4A25-8324-5537F94D385D}">
      <dgm:prSet/>
      <dgm:spPr/>
      <dgm:t>
        <a:bodyPr/>
        <a:lstStyle/>
        <a:p>
          <a:endParaRPr lang="en-US"/>
        </a:p>
      </dgm:t>
    </dgm:pt>
    <dgm:pt modelId="{1B8BED22-77D0-4C4C-9A18-6C0E77EEFEC6}">
      <dgm:prSet phldrT="[Text]"/>
      <dgm:spPr/>
      <dgm:t>
        <a:bodyPr/>
        <a:lstStyle/>
        <a:p>
          <a:r>
            <a:rPr lang="en-US" dirty="0"/>
            <a:t>VM reboot</a:t>
          </a:r>
        </a:p>
      </dgm:t>
    </dgm:pt>
    <dgm:pt modelId="{F1AE8208-B013-4D18-A117-B8884B3D9189}" type="parTrans" cxnId="{8DE3FD31-DB8D-4CD0-A6D1-B5801E7388CD}">
      <dgm:prSet/>
      <dgm:spPr/>
      <dgm:t>
        <a:bodyPr/>
        <a:lstStyle/>
        <a:p>
          <a:endParaRPr lang="en-US"/>
        </a:p>
      </dgm:t>
    </dgm:pt>
    <dgm:pt modelId="{2EE1846D-F035-4FEC-8509-8B65B2A6D659}" type="sibTrans" cxnId="{8DE3FD31-DB8D-4CD0-A6D1-B5801E7388CD}">
      <dgm:prSet/>
      <dgm:spPr/>
      <dgm:t>
        <a:bodyPr/>
        <a:lstStyle/>
        <a:p>
          <a:endParaRPr lang="en-US"/>
        </a:p>
      </dgm:t>
    </dgm:pt>
    <dgm:pt modelId="{5EC94982-F75C-4A1E-8D88-A04E50BA75DE}">
      <dgm:prSet phldrT="[Text]"/>
      <dgm:spPr/>
      <dgm:t>
        <a:bodyPr/>
        <a:lstStyle/>
        <a:p>
          <a:r>
            <a:rPr lang="en-US" dirty="0"/>
            <a:t>Preserves disk content</a:t>
          </a:r>
        </a:p>
      </dgm:t>
    </dgm:pt>
    <dgm:pt modelId="{0E898B33-75B4-42D9-9D44-A5372C55A210}" type="parTrans" cxnId="{D9B14395-361F-476D-BC82-671247275E91}">
      <dgm:prSet/>
      <dgm:spPr/>
      <dgm:t>
        <a:bodyPr/>
        <a:lstStyle/>
        <a:p>
          <a:endParaRPr lang="en-US"/>
        </a:p>
      </dgm:t>
    </dgm:pt>
    <dgm:pt modelId="{9E7FACFA-B602-4CED-8BCD-CE9D4B2922A3}" type="sibTrans" cxnId="{D9B14395-361F-476D-BC82-671247275E91}">
      <dgm:prSet/>
      <dgm:spPr/>
      <dgm:t>
        <a:bodyPr/>
        <a:lstStyle/>
        <a:p>
          <a:endParaRPr lang="en-US"/>
        </a:p>
      </dgm:t>
    </dgm:pt>
    <dgm:pt modelId="{FAAD6A50-AFC4-4A3B-B1AE-A78B23B6F29B}" type="pres">
      <dgm:prSet presAssocID="{43D87AEC-DD73-49F0-9157-9EE7816DC63A}" presName="theList" presStyleCnt="0">
        <dgm:presLayoutVars>
          <dgm:dir/>
          <dgm:animLvl val="lvl"/>
          <dgm:resizeHandles val="exact"/>
        </dgm:presLayoutVars>
      </dgm:prSet>
      <dgm:spPr/>
    </dgm:pt>
    <dgm:pt modelId="{FFAD8349-46E5-4ACF-B0B9-3012BB312E2F}" type="pres">
      <dgm:prSet presAssocID="{5B44B4FB-9A4E-456A-8256-1F4D873A9633}" presName="compNode" presStyleCnt="0"/>
      <dgm:spPr/>
    </dgm:pt>
    <dgm:pt modelId="{251F3721-C6A4-45F7-826A-34556E54A0E9}" type="pres">
      <dgm:prSet presAssocID="{5B44B4FB-9A4E-456A-8256-1F4D873A9633}" presName="aNode" presStyleLbl="bgShp" presStyleIdx="0" presStyleCnt="3"/>
      <dgm:spPr/>
    </dgm:pt>
    <dgm:pt modelId="{FB0E688D-592F-4646-9B67-E59C822E64D8}" type="pres">
      <dgm:prSet presAssocID="{5B44B4FB-9A4E-456A-8256-1F4D873A9633}" presName="textNode" presStyleLbl="bgShp" presStyleIdx="0" presStyleCnt="3"/>
      <dgm:spPr/>
    </dgm:pt>
    <dgm:pt modelId="{2F6DDD1D-5FDB-4BEB-A947-10A32500BFBD}" type="pres">
      <dgm:prSet presAssocID="{5B44B4FB-9A4E-456A-8256-1F4D873A9633}" presName="compChildNode" presStyleCnt="0"/>
      <dgm:spPr/>
    </dgm:pt>
    <dgm:pt modelId="{951644B1-4177-4C0B-9F34-7AE45C33455E}" type="pres">
      <dgm:prSet presAssocID="{5B44B4FB-9A4E-456A-8256-1F4D873A9633}" presName="theInnerList" presStyleCnt="0"/>
      <dgm:spPr/>
    </dgm:pt>
    <dgm:pt modelId="{CD41C1FD-B8FF-483C-B0DE-1003AF5850CA}" type="pres">
      <dgm:prSet presAssocID="{1B8BED22-77D0-4C4C-9A18-6C0E77EEFEC6}" presName="childNode" presStyleLbl="node1" presStyleIdx="0" presStyleCnt="8">
        <dgm:presLayoutVars>
          <dgm:bulletEnabled val="1"/>
        </dgm:presLayoutVars>
      </dgm:prSet>
      <dgm:spPr/>
    </dgm:pt>
    <dgm:pt modelId="{B9EF00EB-BB0E-4292-A746-2C7E43A46B02}" type="pres">
      <dgm:prSet presAssocID="{1B8BED22-77D0-4C4C-9A18-6C0E77EEFEC6}" presName="aSpace2" presStyleCnt="0"/>
      <dgm:spPr/>
    </dgm:pt>
    <dgm:pt modelId="{2FD42510-8A9E-496C-BA7B-9280463E8CFD}" type="pres">
      <dgm:prSet presAssocID="{C570EFBE-A7FF-4A9F-87C5-6C8D85D3DD79}" presName="childNode" presStyleLbl="node1" presStyleIdx="1" presStyleCnt="8">
        <dgm:presLayoutVars>
          <dgm:bulletEnabled val="1"/>
        </dgm:presLayoutVars>
      </dgm:prSet>
      <dgm:spPr/>
    </dgm:pt>
    <dgm:pt modelId="{8096ECC8-F985-4CE5-AE78-7DC5589F95A5}" type="pres">
      <dgm:prSet presAssocID="{C570EFBE-A7FF-4A9F-87C5-6C8D85D3DD79}" presName="aSpace2" presStyleCnt="0"/>
      <dgm:spPr/>
    </dgm:pt>
    <dgm:pt modelId="{7EE327B3-46F9-4E0C-AC1F-721D30BCFA05}" type="pres">
      <dgm:prSet presAssocID="{584D02BA-9434-4351-959F-52DBBD716F16}" presName="childNode" presStyleLbl="node1" presStyleIdx="2" presStyleCnt="8">
        <dgm:presLayoutVars>
          <dgm:bulletEnabled val="1"/>
        </dgm:presLayoutVars>
      </dgm:prSet>
      <dgm:spPr/>
    </dgm:pt>
    <dgm:pt modelId="{9DADEB9B-FB44-4488-A337-F4B4CF84FE50}" type="pres">
      <dgm:prSet presAssocID="{5B44B4FB-9A4E-456A-8256-1F4D873A9633}" presName="aSpace" presStyleCnt="0"/>
      <dgm:spPr/>
    </dgm:pt>
    <dgm:pt modelId="{1708AEE3-43E1-47BD-930E-277BDFA268E7}" type="pres">
      <dgm:prSet presAssocID="{3CAB9975-CDE2-40BE-8074-F42C5FA56D61}" presName="compNode" presStyleCnt="0"/>
      <dgm:spPr/>
    </dgm:pt>
    <dgm:pt modelId="{2B480D17-C69C-4240-95F4-CEF156BF8F62}" type="pres">
      <dgm:prSet presAssocID="{3CAB9975-CDE2-40BE-8074-F42C5FA56D61}" presName="aNode" presStyleLbl="bgShp" presStyleIdx="1" presStyleCnt="3"/>
      <dgm:spPr/>
    </dgm:pt>
    <dgm:pt modelId="{1D044211-E597-452D-9017-F40574BBCA08}" type="pres">
      <dgm:prSet presAssocID="{3CAB9975-CDE2-40BE-8074-F42C5FA56D61}" presName="textNode" presStyleLbl="bgShp" presStyleIdx="1" presStyleCnt="3"/>
      <dgm:spPr/>
    </dgm:pt>
    <dgm:pt modelId="{0228061D-7517-4B3E-9A58-32BBFA959883}" type="pres">
      <dgm:prSet presAssocID="{3CAB9975-CDE2-40BE-8074-F42C5FA56D61}" presName="compChildNode" presStyleCnt="0"/>
      <dgm:spPr/>
    </dgm:pt>
    <dgm:pt modelId="{327AC429-7E5C-47A4-A20D-8CF5D3752651}" type="pres">
      <dgm:prSet presAssocID="{3CAB9975-CDE2-40BE-8074-F42C5FA56D61}" presName="theInnerList" presStyleCnt="0"/>
      <dgm:spPr/>
    </dgm:pt>
    <dgm:pt modelId="{91763898-CBA6-4E60-B927-5C619B11C296}" type="pres">
      <dgm:prSet presAssocID="{90ABB397-D263-4657-9908-2AE919FD9D1D}" presName="childNode" presStyleLbl="node1" presStyleIdx="3" presStyleCnt="8">
        <dgm:presLayoutVars>
          <dgm:bulletEnabled val="1"/>
        </dgm:presLayoutVars>
      </dgm:prSet>
      <dgm:spPr/>
    </dgm:pt>
    <dgm:pt modelId="{147EA85C-EA33-4D6F-A43B-EB8183930A35}" type="pres">
      <dgm:prSet presAssocID="{90ABB397-D263-4657-9908-2AE919FD9D1D}" presName="aSpace2" presStyleCnt="0"/>
      <dgm:spPr/>
    </dgm:pt>
    <dgm:pt modelId="{FF46F9E0-13D0-4E4F-8E27-0E77A28B3DAD}" type="pres">
      <dgm:prSet presAssocID="{ED22D4D5-FC61-48BE-BB6B-3E5BDDCC53DA}" presName="childNode" presStyleLbl="node1" presStyleIdx="4" presStyleCnt="8">
        <dgm:presLayoutVars>
          <dgm:bulletEnabled val="1"/>
        </dgm:presLayoutVars>
      </dgm:prSet>
      <dgm:spPr/>
    </dgm:pt>
    <dgm:pt modelId="{4E4D99C9-B7EF-4538-A631-ACC5FC1DC5CD}" type="pres">
      <dgm:prSet presAssocID="{ED22D4D5-FC61-48BE-BB6B-3E5BDDCC53DA}" presName="aSpace2" presStyleCnt="0"/>
      <dgm:spPr/>
    </dgm:pt>
    <dgm:pt modelId="{D230E04C-9498-4862-BD9A-A7E54A4F0B43}" type="pres">
      <dgm:prSet presAssocID="{5EC94982-F75C-4A1E-8D88-A04E50BA75DE}" presName="childNode" presStyleLbl="node1" presStyleIdx="5" presStyleCnt="8">
        <dgm:presLayoutVars>
          <dgm:bulletEnabled val="1"/>
        </dgm:presLayoutVars>
      </dgm:prSet>
      <dgm:spPr/>
    </dgm:pt>
    <dgm:pt modelId="{D7B8D25F-4655-4F23-9A61-CD6A1B598080}" type="pres">
      <dgm:prSet presAssocID="{3CAB9975-CDE2-40BE-8074-F42C5FA56D61}" presName="aSpace" presStyleCnt="0"/>
      <dgm:spPr/>
    </dgm:pt>
    <dgm:pt modelId="{AC494F32-2666-4E0E-ACA0-9BB4B14A1C08}" type="pres">
      <dgm:prSet presAssocID="{E68761B4-908A-4C9D-BBD6-752B0481B245}" presName="compNode" presStyleCnt="0"/>
      <dgm:spPr/>
    </dgm:pt>
    <dgm:pt modelId="{08678190-E232-43A4-A62B-9A6D257A956F}" type="pres">
      <dgm:prSet presAssocID="{E68761B4-908A-4C9D-BBD6-752B0481B245}" presName="aNode" presStyleLbl="bgShp" presStyleIdx="2" presStyleCnt="3"/>
      <dgm:spPr/>
    </dgm:pt>
    <dgm:pt modelId="{CEE3220D-2064-41F3-9A51-FEC3C46734D8}" type="pres">
      <dgm:prSet presAssocID="{E68761B4-908A-4C9D-BBD6-752B0481B245}" presName="textNode" presStyleLbl="bgShp" presStyleIdx="2" presStyleCnt="3"/>
      <dgm:spPr/>
    </dgm:pt>
    <dgm:pt modelId="{1D97E6C7-9F8E-4405-B7DB-000D08270389}" type="pres">
      <dgm:prSet presAssocID="{E68761B4-908A-4C9D-BBD6-752B0481B245}" presName="compChildNode" presStyleCnt="0"/>
      <dgm:spPr/>
    </dgm:pt>
    <dgm:pt modelId="{3F8BC1DF-E506-4BA7-B2EE-CBF0D02323A2}" type="pres">
      <dgm:prSet presAssocID="{E68761B4-908A-4C9D-BBD6-752B0481B245}" presName="theInnerList" presStyleCnt="0"/>
      <dgm:spPr/>
    </dgm:pt>
    <dgm:pt modelId="{297B12D9-F5FC-4EB8-B70A-BB18FFB4A7A0}" type="pres">
      <dgm:prSet presAssocID="{080B9530-D179-4C21-82F8-9716044BFB1A}" presName="childNode" presStyleLbl="node1" presStyleIdx="6" presStyleCnt="8">
        <dgm:presLayoutVars>
          <dgm:bulletEnabled val="1"/>
        </dgm:presLayoutVars>
      </dgm:prSet>
      <dgm:spPr/>
    </dgm:pt>
    <dgm:pt modelId="{3435DC69-A7D8-4E13-8553-B6DDAA8E428F}" type="pres">
      <dgm:prSet presAssocID="{080B9530-D179-4C21-82F8-9716044BFB1A}" presName="aSpace2" presStyleCnt="0"/>
      <dgm:spPr/>
    </dgm:pt>
    <dgm:pt modelId="{EF61CF9D-901D-4BD3-BB6B-8430C7A288B1}" type="pres">
      <dgm:prSet presAssocID="{94810611-AF7C-4DBE-A071-C4DAE1ED81F4}" presName="childNode" presStyleLbl="node1" presStyleIdx="7" presStyleCnt="8">
        <dgm:presLayoutVars>
          <dgm:bulletEnabled val="1"/>
        </dgm:presLayoutVars>
      </dgm:prSet>
      <dgm:spPr/>
    </dgm:pt>
  </dgm:ptLst>
  <dgm:cxnLst>
    <dgm:cxn modelId="{26B0FA0C-C8C9-4D98-81D5-00847BEEA14E}" srcId="{43D87AEC-DD73-49F0-9157-9EE7816DC63A}" destId="{3CAB9975-CDE2-40BE-8074-F42C5FA56D61}" srcOrd="1" destOrd="0" parTransId="{F8F399E7-D361-49B5-91E0-B98B3E008E4E}" sibTransId="{5C13A055-3BF3-436A-93C3-5CD0820B9F78}"/>
    <dgm:cxn modelId="{EBD4690D-ECC4-407B-BA47-05EC4F789BC3}" type="presOf" srcId="{43D87AEC-DD73-49F0-9157-9EE7816DC63A}" destId="{FAAD6A50-AFC4-4A3B-B1AE-A78B23B6F29B}" srcOrd="0" destOrd="0" presId="urn:microsoft.com/office/officeart/2005/8/layout/lProcess2"/>
    <dgm:cxn modelId="{1BDFBC0F-9035-4D55-AB9F-5582247BA83D}" type="presOf" srcId="{080B9530-D179-4C21-82F8-9716044BFB1A}" destId="{297B12D9-F5FC-4EB8-B70A-BB18FFB4A7A0}" srcOrd="0" destOrd="0" presId="urn:microsoft.com/office/officeart/2005/8/layout/lProcess2"/>
    <dgm:cxn modelId="{14823C21-921C-4CBF-BA36-AADC66C71539}" type="presOf" srcId="{3CAB9975-CDE2-40BE-8074-F42C5FA56D61}" destId="{1D044211-E597-452D-9017-F40574BBCA08}" srcOrd="1" destOrd="0" presId="urn:microsoft.com/office/officeart/2005/8/layout/lProcess2"/>
    <dgm:cxn modelId="{04039128-2949-4C6E-B2D8-2DF3742F73DE}" type="presOf" srcId="{90ABB397-D263-4657-9908-2AE919FD9D1D}" destId="{91763898-CBA6-4E60-B927-5C619B11C296}" srcOrd="0" destOrd="0" presId="urn:microsoft.com/office/officeart/2005/8/layout/lProcess2"/>
    <dgm:cxn modelId="{8DE3FD31-DB8D-4CD0-A6D1-B5801E7388CD}" srcId="{5B44B4FB-9A4E-456A-8256-1F4D873A9633}" destId="{1B8BED22-77D0-4C4C-9A18-6C0E77EEFEC6}" srcOrd="0" destOrd="0" parTransId="{F1AE8208-B013-4D18-A117-B8884B3D9189}" sibTransId="{2EE1846D-F035-4FEC-8509-8B65B2A6D659}"/>
    <dgm:cxn modelId="{E7B57641-DA0F-4AA9-9861-41B80278B754}" type="presOf" srcId="{E68761B4-908A-4C9D-BBD6-752B0481B245}" destId="{08678190-E232-43A4-A62B-9A6D257A956F}" srcOrd="0" destOrd="0" presId="urn:microsoft.com/office/officeart/2005/8/layout/lProcess2"/>
    <dgm:cxn modelId="{4C70AC64-A43C-4400-8DAC-DC95821C0FB4}" type="presOf" srcId="{5B44B4FB-9A4E-456A-8256-1F4D873A9633}" destId="{FB0E688D-592F-4646-9B67-E59C822E64D8}" srcOrd="1" destOrd="0" presId="urn:microsoft.com/office/officeart/2005/8/layout/lProcess2"/>
    <dgm:cxn modelId="{5A046E6F-A951-4023-BBED-AB5A43026B26}" type="presOf" srcId="{3CAB9975-CDE2-40BE-8074-F42C5FA56D61}" destId="{2B480D17-C69C-4240-95F4-CEF156BF8F62}" srcOrd="0" destOrd="0" presId="urn:microsoft.com/office/officeart/2005/8/layout/lProcess2"/>
    <dgm:cxn modelId="{EEDD4B75-B895-472F-A315-CD92AAB280B5}" type="presOf" srcId="{5B44B4FB-9A4E-456A-8256-1F4D873A9633}" destId="{251F3721-C6A4-45F7-826A-34556E54A0E9}" srcOrd="0" destOrd="0" presId="urn:microsoft.com/office/officeart/2005/8/layout/lProcess2"/>
    <dgm:cxn modelId="{A12C3856-8BCF-4FB5-8FEA-709440DF9E60}" type="presOf" srcId="{94810611-AF7C-4DBE-A071-C4DAE1ED81F4}" destId="{EF61CF9D-901D-4BD3-BB6B-8430C7A288B1}" srcOrd="0" destOrd="0" presId="urn:microsoft.com/office/officeart/2005/8/layout/lProcess2"/>
    <dgm:cxn modelId="{11760157-4DAF-4480-B7CA-CB18F9051AB5}" type="presOf" srcId="{ED22D4D5-FC61-48BE-BB6B-3E5BDDCC53DA}" destId="{FF46F9E0-13D0-4E4F-8E27-0E77A28B3DAD}" srcOrd="0" destOrd="0" presId="urn:microsoft.com/office/officeart/2005/8/layout/lProcess2"/>
    <dgm:cxn modelId="{F3FADA5A-B5FF-4406-BEA4-FD247C6D40E2}" srcId="{5B44B4FB-9A4E-456A-8256-1F4D873A9633}" destId="{584D02BA-9434-4351-959F-52DBBD716F16}" srcOrd="2" destOrd="0" parTransId="{18474399-1353-4940-B5E2-AE95CEE24788}" sibTransId="{5BA81E03-28AA-46E4-82C4-0DDDE1629FA5}"/>
    <dgm:cxn modelId="{7D509C7C-C9C8-4A25-8324-5537F94D385D}" srcId="{E68761B4-908A-4C9D-BBD6-752B0481B245}" destId="{94810611-AF7C-4DBE-A071-C4DAE1ED81F4}" srcOrd="1" destOrd="0" parTransId="{0DE6B398-8C3A-47CF-ACD7-2E92745BBF09}" sibTransId="{1A397F7C-F19A-4E5D-9F33-77787FC58AA1}"/>
    <dgm:cxn modelId="{D9B14395-361F-476D-BC82-671247275E91}" srcId="{3CAB9975-CDE2-40BE-8074-F42C5FA56D61}" destId="{5EC94982-F75C-4A1E-8D88-A04E50BA75DE}" srcOrd="2" destOrd="0" parTransId="{0E898B33-75B4-42D9-9D44-A5372C55A210}" sibTransId="{9E7FACFA-B602-4CED-8BCD-CE9D4B2922A3}"/>
    <dgm:cxn modelId="{24E5E397-6EB8-4AC6-B4D9-33C729F38216}" srcId="{E68761B4-908A-4C9D-BBD6-752B0481B245}" destId="{080B9530-D179-4C21-82F8-9716044BFB1A}" srcOrd="0" destOrd="0" parTransId="{AD2B0048-A9DC-4B33-B3D7-FFD8A6EF3431}" sibTransId="{55B993FC-9853-4A1E-86CC-2EC75812B95D}"/>
    <dgm:cxn modelId="{D38B96AD-10C6-4CAD-952F-7589BA7F93D9}" type="presOf" srcId="{5EC94982-F75C-4A1E-8D88-A04E50BA75DE}" destId="{D230E04C-9498-4862-BD9A-A7E54A4F0B43}" srcOrd="0" destOrd="0" presId="urn:microsoft.com/office/officeart/2005/8/layout/lProcess2"/>
    <dgm:cxn modelId="{172897B0-873A-4DEC-8E56-56643CF83787}" srcId="{3CAB9975-CDE2-40BE-8074-F42C5FA56D61}" destId="{90ABB397-D263-4657-9908-2AE919FD9D1D}" srcOrd="0" destOrd="0" parTransId="{639974AC-2F33-4F4C-AC27-31C6CCB4A8D3}" sibTransId="{E6FACB0B-7071-4EB2-8C19-EFB1EE3F1893}"/>
    <dgm:cxn modelId="{95D73DB2-1F59-41CA-8343-D0406099A18F}" srcId="{43D87AEC-DD73-49F0-9157-9EE7816DC63A}" destId="{E68761B4-908A-4C9D-BBD6-752B0481B245}" srcOrd="2" destOrd="0" parTransId="{B3AE5434-BC7C-46F2-881B-A196317AA34F}" sibTransId="{8085A6BA-2D98-4DA4-8A3E-AF1007CCA8EE}"/>
    <dgm:cxn modelId="{93B6FDB2-8184-4D4D-B0F9-512AEF2A6498}" srcId="{3CAB9975-CDE2-40BE-8074-F42C5FA56D61}" destId="{ED22D4D5-FC61-48BE-BB6B-3E5BDDCC53DA}" srcOrd="1" destOrd="0" parTransId="{873CE964-581C-41FF-9D45-C332C439266D}" sibTransId="{A8C764EE-323D-4D2F-B3B6-31EA5DFFC3A2}"/>
    <dgm:cxn modelId="{E6F3F6B7-8760-4D88-BB33-3CA6AFDFED7A}" type="presOf" srcId="{584D02BA-9434-4351-959F-52DBBD716F16}" destId="{7EE327B3-46F9-4E0C-AC1F-721D30BCFA05}" srcOrd="0" destOrd="0" presId="urn:microsoft.com/office/officeart/2005/8/layout/lProcess2"/>
    <dgm:cxn modelId="{1C0B1DC2-26AB-4604-A089-2C83EC192648}" type="presOf" srcId="{1B8BED22-77D0-4C4C-9A18-6C0E77EEFEC6}" destId="{CD41C1FD-B8FF-483C-B0DE-1003AF5850CA}" srcOrd="0" destOrd="0" presId="urn:microsoft.com/office/officeart/2005/8/layout/lProcess2"/>
    <dgm:cxn modelId="{599F47C8-37E3-4317-8D58-8A7063DC9278}" srcId="{43D87AEC-DD73-49F0-9157-9EE7816DC63A}" destId="{5B44B4FB-9A4E-456A-8256-1F4D873A9633}" srcOrd="0" destOrd="0" parTransId="{62AF6B58-54F0-4F86-A3E5-82D0FC89DAD6}" sibTransId="{11DE3A45-D70A-454B-BC47-333B5AC9696D}"/>
    <dgm:cxn modelId="{11C161CA-5494-4E44-BE2A-49E0BBA6AA68}" type="presOf" srcId="{C570EFBE-A7FF-4A9F-87C5-6C8D85D3DD79}" destId="{2FD42510-8A9E-496C-BA7B-9280463E8CFD}" srcOrd="0" destOrd="0" presId="urn:microsoft.com/office/officeart/2005/8/layout/lProcess2"/>
    <dgm:cxn modelId="{3D2F1CD8-5339-424D-8766-1619F444A469}" type="presOf" srcId="{E68761B4-908A-4C9D-BBD6-752B0481B245}" destId="{CEE3220D-2064-41F3-9A51-FEC3C46734D8}" srcOrd="1" destOrd="0" presId="urn:microsoft.com/office/officeart/2005/8/layout/lProcess2"/>
    <dgm:cxn modelId="{AA4B68E2-E364-4247-B154-2AFE207CCC5C}" srcId="{5B44B4FB-9A4E-456A-8256-1F4D873A9633}" destId="{C570EFBE-A7FF-4A9F-87C5-6C8D85D3DD79}" srcOrd="1" destOrd="0" parTransId="{0A7EA611-6A6A-4F02-AE44-D99B3D1DA1CD}" sibTransId="{43ADAD8B-47FF-4029-A874-341AB8A54D3F}"/>
    <dgm:cxn modelId="{5A24DF1F-8A1E-423F-BEBD-3E5DBFFDD884}" type="presParOf" srcId="{FAAD6A50-AFC4-4A3B-B1AE-A78B23B6F29B}" destId="{FFAD8349-46E5-4ACF-B0B9-3012BB312E2F}" srcOrd="0" destOrd="0" presId="urn:microsoft.com/office/officeart/2005/8/layout/lProcess2"/>
    <dgm:cxn modelId="{6BD981ED-3149-421D-9A9A-7385BB91FD01}" type="presParOf" srcId="{FFAD8349-46E5-4ACF-B0B9-3012BB312E2F}" destId="{251F3721-C6A4-45F7-826A-34556E54A0E9}" srcOrd="0" destOrd="0" presId="urn:microsoft.com/office/officeart/2005/8/layout/lProcess2"/>
    <dgm:cxn modelId="{D7AA1615-C870-491A-88C3-2BDD787A386B}" type="presParOf" srcId="{FFAD8349-46E5-4ACF-B0B9-3012BB312E2F}" destId="{FB0E688D-592F-4646-9B67-E59C822E64D8}" srcOrd="1" destOrd="0" presId="urn:microsoft.com/office/officeart/2005/8/layout/lProcess2"/>
    <dgm:cxn modelId="{1FF68EA1-A0FC-4823-9E09-140D2163CFA3}" type="presParOf" srcId="{FFAD8349-46E5-4ACF-B0B9-3012BB312E2F}" destId="{2F6DDD1D-5FDB-4BEB-A947-10A32500BFBD}" srcOrd="2" destOrd="0" presId="urn:microsoft.com/office/officeart/2005/8/layout/lProcess2"/>
    <dgm:cxn modelId="{FD5C3788-3812-42DE-8A87-BEBACC10882F}" type="presParOf" srcId="{2F6DDD1D-5FDB-4BEB-A947-10A32500BFBD}" destId="{951644B1-4177-4C0B-9F34-7AE45C33455E}" srcOrd="0" destOrd="0" presId="urn:microsoft.com/office/officeart/2005/8/layout/lProcess2"/>
    <dgm:cxn modelId="{384C5082-3A02-4608-993F-29E1C30C1388}" type="presParOf" srcId="{951644B1-4177-4C0B-9F34-7AE45C33455E}" destId="{CD41C1FD-B8FF-483C-B0DE-1003AF5850CA}" srcOrd="0" destOrd="0" presId="urn:microsoft.com/office/officeart/2005/8/layout/lProcess2"/>
    <dgm:cxn modelId="{AE7922EB-DA4B-4B19-82D6-09CACF6D3DEA}" type="presParOf" srcId="{951644B1-4177-4C0B-9F34-7AE45C33455E}" destId="{B9EF00EB-BB0E-4292-A746-2C7E43A46B02}" srcOrd="1" destOrd="0" presId="urn:microsoft.com/office/officeart/2005/8/layout/lProcess2"/>
    <dgm:cxn modelId="{043D7A3A-805B-4A54-8883-679DB38DEF84}" type="presParOf" srcId="{951644B1-4177-4C0B-9F34-7AE45C33455E}" destId="{2FD42510-8A9E-496C-BA7B-9280463E8CFD}" srcOrd="2" destOrd="0" presId="urn:microsoft.com/office/officeart/2005/8/layout/lProcess2"/>
    <dgm:cxn modelId="{10B3E528-1991-47F6-803A-5BAA8BC903D2}" type="presParOf" srcId="{951644B1-4177-4C0B-9F34-7AE45C33455E}" destId="{8096ECC8-F985-4CE5-AE78-7DC5589F95A5}" srcOrd="3" destOrd="0" presId="urn:microsoft.com/office/officeart/2005/8/layout/lProcess2"/>
    <dgm:cxn modelId="{8CA2C966-E9A1-4CED-BF1D-0F89C6A544E1}" type="presParOf" srcId="{951644B1-4177-4C0B-9F34-7AE45C33455E}" destId="{7EE327B3-46F9-4E0C-AC1F-721D30BCFA05}" srcOrd="4" destOrd="0" presId="urn:microsoft.com/office/officeart/2005/8/layout/lProcess2"/>
    <dgm:cxn modelId="{008690BF-5811-4BC9-9898-1051817F09B6}" type="presParOf" srcId="{FAAD6A50-AFC4-4A3B-B1AE-A78B23B6F29B}" destId="{9DADEB9B-FB44-4488-A337-F4B4CF84FE50}" srcOrd="1" destOrd="0" presId="urn:microsoft.com/office/officeart/2005/8/layout/lProcess2"/>
    <dgm:cxn modelId="{F116D321-841B-4C32-ABE3-13C95B943A50}" type="presParOf" srcId="{FAAD6A50-AFC4-4A3B-B1AE-A78B23B6F29B}" destId="{1708AEE3-43E1-47BD-930E-277BDFA268E7}" srcOrd="2" destOrd="0" presId="urn:microsoft.com/office/officeart/2005/8/layout/lProcess2"/>
    <dgm:cxn modelId="{2E367F72-9D17-493F-82F7-C1594576CCD7}" type="presParOf" srcId="{1708AEE3-43E1-47BD-930E-277BDFA268E7}" destId="{2B480D17-C69C-4240-95F4-CEF156BF8F62}" srcOrd="0" destOrd="0" presId="urn:microsoft.com/office/officeart/2005/8/layout/lProcess2"/>
    <dgm:cxn modelId="{AB4C965B-2FE8-4DC8-B9B6-977AB10F3A65}" type="presParOf" srcId="{1708AEE3-43E1-47BD-930E-277BDFA268E7}" destId="{1D044211-E597-452D-9017-F40574BBCA08}" srcOrd="1" destOrd="0" presId="urn:microsoft.com/office/officeart/2005/8/layout/lProcess2"/>
    <dgm:cxn modelId="{B8A88D67-3DAF-4485-BFFC-688DD9C65674}" type="presParOf" srcId="{1708AEE3-43E1-47BD-930E-277BDFA268E7}" destId="{0228061D-7517-4B3E-9A58-32BBFA959883}" srcOrd="2" destOrd="0" presId="urn:microsoft.com/office/officeart/2005/8/layout/lProcess2"/>
    <dgm:cxn modelId="{F2AD9B67-E2FA-4F3B-A234-7FA0A4BE6098}" type="presParOf" srcId="{0228061D-7517-4B3E-9A58-32BBFA959883}" destId="{327AC429-7E5C-47A4-A20D-8CF5D3752651}" srcOrd="0" destOrd="0" presId="urn:microsoft.com/office/officeart/2005/8/layout/lProcess2"/>
    <dgm:cxn modelId="{1947AE77-A2C5-4D5D-A173-93FB4DFB91F6}" type="presParOf" srcId="{327AC429-7E5C-47A4-A20D-8CF5D3752651}" destId="{91763898-CBA6-4E60-B927-5C619B11C296}" srcOrd="0" destOrd="0" presId="urn:microsoft.com/office/officeart/2005/8/layout/lProcess2"/>
    <dgm:cxn modelId="{151DD8A6-DA46-46BB-B2A9-C734C4EFE71B}" type="presParOf" srcId="{327AC429-7E5C-47A4-A20D-8CF5D3752651}" destId="{147EA85C-EA33-4D6F-A43B-EB8183930A35}" srcOrd="1" destOrd="0" presId="urn:microsoft.com/office/officeart/2005/8/layout/lProcess2"/>
    <dgm:cxn modelId="{F1625D21-04D1-4C63-B50A-11D1DEABA083}" type="presParOf" srcId="{327AC429-7E5C-47A4-A20D-8CF5D3752651}" destId="{FF46F9E0-13D0-4E4F-8E27-0E77A28B3DAD}" srcOrd="2" destOrd="0" presId="urn:microsoft.com/office/officeart/2005/8/layout/lProcess2"/>
    <dgm:cxn modelId="{7116E969-309C-4DA0-994D-E8182A5DFBED}" type="presParOf" srcId="{327AC429-7E5C-47A4-A20D-8CF5D3752651}" destId="{4E4D99C9-B7EF-4538-A631-ACC5FC1DC5CD}" srcOrd="3" destOrd="0" presId="urn:microsoft.com/office/officeart/2005/8/layout/lProcess2"/>
    <dgm:cxn modelId="{1202C993-03C0-4579-AAA9-4938E6371EFA}" type="presParOf" srcId="{327AC429-7E5C-47A4-A20D-8CF5D3752651}" destId="{D230E04C-9498-4862-BD9A-A7E54A4F0B43}" srcOrd="4" destOrd="0" presId="urn:microsoft.com/office/officeart/2005/8/layout/lProcess2"/>
    <dgm:cxn modelId="{2D222247-6281-4D9D-AEDD-7BA4389CF872}" type="presParOf" srcId="{FAAD6A50-AFC4-4A3B-B1AE-A78B23B6F29B}" destId="{D7B8D25F-4655-4F23-9A61-CD6A1B598080}" srcOrd="3" destOrd="0" presId="urn:microsoft.com/office/officeart/2005/8/layout/lProcess2"/>
    <dgm:cxn modelId="{EB1C2ABC-D6BC-43A2-9FDC-3C75EC859772}" type="presParOf" srcId="{FAAD6A50-AFC4-4A3B-B1AE-A78B23B6F29B}" destId="{AC494F32-2666-4E0E-ACA0-9BB4B14A1C08}" srcOrd="4" destOrd="0" presId="urn:microsoft.com/office/officeart/2005/8/layout/lProcess2"/>
    <dgm:cxn modelId="{54E299C0-ADB3-41D7-869C-9B1F64B351FD}" type="presParOf" srcId="{AC494F32-2666-4E0E-ACA0-9BB4B14A1C08}" destId="{08678190-E232-43A4-A62B-9A6D257A956F}" srcOrd="0" destOrd="0" presId="urn:microsoft.com/office/officeart/2005/8/layout/lProcess2"/>
    <dgm:cxn modelId="{1C6B9F79-DB1B-4BA0-B132-D3586E8A161D}" type="presParOf" srcId="{AC494F32-2666-4E0E-ACA0-9BB4B14A1C08}" destId="{CEE3220D-2064-41F3-9A51-FEC3C46734D8}" srcOrd="1" destOrd="0" presId="urn:microsoft.com/office/officeart/2005/8/layout/lProcess2"/>
    <dgm:cxn modelId="{6BF0A01E-6E39-4489-9471-06A5EFE65219}" type="presParOf" srcId="{AC494F32-2666-4E0E-ACA0-9BB4B14A1C08}" destId="{1D97E6C7-9F8E-4405-B7DB-000D08270389}" srcOrd="2" destOrd="0" presId="urn:microsoft.com/office/officeart/2005/8/layout/lProcess2"/>
    <dgm:cxn modelId="{51339D43-FD1E-4109-84AA-80726B4A9AB1}" type="presParOf" srcId="{1D97E6C7-9F8E-4405-B7DB-000D08270389}" destId="{3F8BC1DF-E506-4BA7-B2EE-CBF0D02323A2}" srcOrd="0" destOrd="0" presId="urn:microsoft.com/office/officeart/2005/8/layout/lProcess2"/>
    <dgm:cxn modelId="{BB769C80-093B-4D9B-9102-20BCA3B9F762}" type="presParOf" srcId="{3F8BC1DF-E506-4BA7-B2EE-CBF0D02323A2}" destId="{297B12D9-F5FC-4EB8-B70A-BB18FFB4A7A0}" srcOrd="0" destOrd="0" presId="urn:microsoft.com/office/officeart/2005/8/layout/lProcess2"/>
    <dgm:cxn modelId="{ED9B5922-AFD6-4369-AF94-05A55E813D6D}" type="presParOf" srcId="{3F8BC1DF-E506-4BA7-B2EE-CBF0D02323A2}" destId="{3435DC69-A7D8-4E13-8553-B6DDAA8E428F}" srcOrd="1" destOrd="0" presId="urn:microsoft.com/office/officeart/2005/8/layout/lProcess2"/>
    <dgm:cxn modelId="{49A34CB6-1D52-4CEA-9074-48D8D909A7CE}" type="presParOf" srcId="{3F8BC1DF-E506-4BA7-B2EE-CBF0D02323A2}" destId="{EF61CF9D-901D-4BD3-BB6B-8430C7A288B1}"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85F25FD4-EA97-476D-9DC6-D1217F3FD12E}"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CFC94B56-B7BB-4C79-9927-C3E2D9573E64}">
      <dgm:prSet phldrT="[Text]"/>
      <dgm:spPr/>
      <dgm:t>
        <a:bodyPr/>
        <a:lstStyle/>
        <a:p>
          <a:r>
            <a:rPr lang="en-US" dirty="0"/>
            <a:t>Unplanned Maintenance</a:t>
          </a:r>
        </a:p>
      </dgm:t>
    </dgm:pt>
    <dgm:pt modelId="{4198D7E6-354A-48DA-A446-00A770D5B8A4}" type="parTrans" cxnId="{D2ECDCBF-E84C-4601-8374-8BEE0F43BC39}">
      <dgm:prSet/>
      <dgm:spPr/>
      <dgm:t>
        <a:bodyPr/>
        <a:lstStyle/>
        <a:p>
          <a:endParaRPr lang="en-US"/>
        </a:p>
      </dgm:t>
    </dgm:pt>
    <dgm:pt modelId="{6DABCE1B-EFBE-459E-9B73-5BE6E97D43FF}" type="sibTrans" cxnId="{D2ECDCBF-E84C-4601-8374-8BEE0F43BC39}">
      <dgm:prSet/>
      <dgm:spPr/>
      <dgm:t>
        <a:bodyPr/>
        <a:lstStyle/>
        <a:p>
          <a:endParaRPr lang="en-US"/>
        </a:p>
      </dgm:t>
    </dgm:pt>
    <dgm:pt modelId="{0D8C2809-66D2-496A-902D-9D215058FEF7}">
      <dgm:prSet phldrT="[Text]"/>
      <dgm:spPr/>
      <dgm:t>
        <a:bodyPr rIns="0" anchor="ctr" anchorCtr="0"/>
        <a:lstStyle/>
        <a:p>
          <a:r>
            <a:rPr lang="en-US" dirty="0"/>
            <a:t>Predicted hardware failure</a:t>
          </a:r>
        </a:p>
      </dgm:t>
    </dgm:pt>
    <dgm:pt modelId="{75CD6CAF-3572-4AD0-ACC6-3CF7BE415650}" type="parTrans" cxnId="{01D180E2-BF31-4E2A-84BE-C72EE6CC341C}">
      <dgm:prSet/>
      <dgm:spPr/>
      <dgm:t>
        <a:bodyPr/>
        <a:lstStyle/>
        <a:p>
          <a:endParaRPr lang="en-US"/>
        </a:p>
      </dgm:t>
    </dgm:pt>
    <dgm:pt modelId="{B886E6C4-2B0F-4AF5-9F40-4749F48DF0CA}" type="sibTrans" cxnId="{01D180E2-BF31-4E2A-84BE-C72EE6CC341C}">
      <dgm:prSet/>
      <dgm:spPr/>
      <dgm:t>
        <a:bodyPr/>
        <a:lstStyle/>
        <a:p>
          <a:endParaRPr lang="en-US"/>
        </a:p>
      </dgm:t>
    </dgm:pt>
    <dgm:pt modelId="{80CA6592-A997-48FD-A89E-1A901EBDBF0D}">
      <dgm:prSet phldrT="[Text]"/>
      <dgm:spPr/>
      <dgm:t>
        <a:bodyPr rIns="0" anchor="ctr" anchorCtr="0"/>
        <a:lstStyle/>
        <a:p>
          <a:r>
            <a:rPr lang="en-US"/>
            <a:t>Always uses </a:t>
          </a:r>
          <a:r>
            <a:rPr lang="en-US" b="1"/>
            <a:t>Live Migration</a:t>
          </a:r>
          <a:endParaRPr lang="en-US" b="1" dirty="0"/>
        </a:p>
      </dgm:t>
    </dgm:pt>
    <dgm:pt modelId="{39444E4D-4D01-4128-B2B2-0B0D64F853E0}" type="parTrans" cxnId="{3434B6C3-C8C0-4C1F-9278-E09B3E11015D}">
      <dgm:prSet/>
      <dgm:spPr/>
      <dgm:t>
        <a:bodyPr/>
        <a:lstStyle/>
        <a:p>
          <a:endParaRPr lang="en-US"/>
        </a:p>
      </dgm:t>
    </dgm:pt>
    <dgm:pt modelId="{447652E6-0220-4241-BFE7-343562DCCCBF}" type="sibTrans" cxnId="{3434B6C3-C8C0-4C1F-9278-E09B3E11015D}">
      <dgm:prSet/>
      <dgm:spPr/>
      <dgm:t>
        <a:bodyPr/>
        <a:lstStyle/>
        <a:p>
          <a:endParaRPr lang="en-US"/>
        </a:p>
      </dgm:t>
    </dgm:pt>
    <dgm:pt modelId="{080908B7-EBF3-4C2B-81F9-30702DEAF102}">
      <dgm:prSet phldrT="[Text]"/>
      <dgm:spPr/>
      <dgm:t>
        <a:bodyPr/>
        <a:lstStyle/>
        <a:p>
          <a:r>
            <a:rPr lang="en-US" dirty="0"/>
            <a:t>Failure Event</a:t>
          </a:r>
        </a:p>
      </dgm:t>
    </dgm:pt>
    <dgm:pt modelId="{FFB74D74-F37C-41A9-BBC4-32F0F50893F5}" type="parTrans" cxnId="{246D48EF-B8F2-4034-AB72-FD5BDB4B9E7E}">
      <dgm:prSet/>
      <dgm:spPr/>
      <dgm:t>
        <a:bodyPr/>
        <a:lstStyle/>
        <a:p>
          <a:endParaRPr lang="en-US"/>
        </a:p>
      </dgm:t>
    </dgm:pt>
    <dgm:pt modelId="{8A7A7331-67FB-48BE-9E2D-4D9AA3452194}" type="sibTrans" cxnId="{246D48EF-B8F2-4034-AB72-FD5BDB4B9E7E}">
      <dgm:prSet/>
      <dgm:spPr/>
      <dgm:t>
        <a:bodyPr/>
        <a:lstStyle/>
        <a:p>
          <a:endParaRPr lang="en-US"/>
        </a:p>
      </dgm:t>
    </dgm:pt>
    <dgm:pt modelId="{6E87BF3F-68A6-4B60-BDD1-4BB6E679D457}">
      <dgm:prSet phldrT="[Text]"/>
      <dgm:spPr/>
      <dgm:t>
        <a:bodyPr rIns="0"/>
        <a:lstStyle/>
        <a:p>
          <a:r>
            <a:rPr lang="en-US" dirty="0"/>
            <a:t>Automatic VM healing to new host</a:t>
          </a:r>
        </a:p>
      </dgm:t>
    </dgm:pt>
    <dgm:pt modelId="{0F9AD963-C0E2-4AF6-A883-A2E9EE23FDA7}" type="parTrans" cxnId="{505BD41A-AC35-4379-83B2-C8FCC686651A}">
      <dgm:prSet/>
      <dgm:spPr/>
      <dgm:t>
        <a:bodyPr/>
        <a:lstStyle/>
        <a:p>
          <a:endParaRPr lang="en-US"/>
        </a:p>
      </dgm:t>
    </dgm:pt>
    <dgm:pt modelId="{E2D3DF19-D6AC-4BA1-8FE4-1B951557C1C9}" type="sibTrans" cxnId="{505BD41A-AC35-4379-83B2-C8FCC686651A}">
      <dgm:prSet/>
      <dgm:spPr/>
      <dgm:t>
        <a:bodyPr/>
        <a:lstStyle/>
        <a:p>
          <a:endParaRPr lang="en-US"/>
        </a:p>
      </dgm:t>
    </dgm:pt>
    <dgm:pt modelId="{6E2D6027-6252-4881-96D6-1B23F76BE1CA}">
      <dgm:prSet phldrT="[Text]"/>
      <dgm:spPr/>
      <dgm:t>
        <a:bodyPr/>
        <a:lstStyle/>
        <a:p>
          <a:r>
            <a:rPr lang="en-US" dirty="0"/>
            <a:t>Planned Maintenance</a:t>
          </a:r>
        </a:p>
      </dgm:t>
    </dgm:pt>
    <dgm:pt modelId="{E6C11557-9D98-4FB8-A61E-76F4BF2053A0}" type="parTrans" cxnId="{9DFA9FA0-7FEB-421F-BECC-EEBD543225B5}">
      <dgm:prSet/>
      <dgm:spPr/>
      <dgm:t>
        <a:bodyPr/>
        <a:lstStyle/>
        <a:p>
          <a:endParaRPr lang="en-US"/>
        </a:p>
      </dgm:t>
    </dgm:pt>
    <dgm:pt modelId="{8912307C-1D8D-40FF-BF68-9E9DA1FE7209}" type="sibTrans" cxnId="{9DFA9FA0-7FEB-421F-BECC-EEBD543225B5}">
      <dgm:prSet/>
      <dgm:spPr/>
      <dgm:t>
        <a:bodyPr/>
        <a:lstStyle/>
        <a:p>
          <a:endParaRPr lang="en-US"/>
        </a:p>
      </dgm:t>
    </dgm:pt>
    <dgm:pt modelId="{26EEB920-D77B-4866-BDCD-E40888EDEE84}">
      <dgm:prSet phldrT="[Text]"/>
      <dgm:spPr/>
      <dgm:t>
        <a:bodyPr rIns="0" anchor="ctr" anchorCtr="0"/>
        <a:lstStyle/>
        <a:p>
          <a:r>
            <a:rPr lang="en-US" dirty="0"/>
            <a:t>No advanced notice</a:t>
          </a:r>
        </a:p>
      </dgm:t>
    </dgm:pt>
    <dgm:pt modelId="{56FEA7C2-1DE0-4051-9828-F44DA9789E8E}" type="parTrans" cxnId="{24867146-2D2A-4C3F-8330-E3D8A454A4A5}">
      <dgm:prSet/>
      <dgm:spPr/>
      <dgm:t>
        <a:bodyPr/>
        <a:lstStyle/>
        <a:p>
          <a:endParaRPr lang="en-US"/>
        </a:p>
      </dgm:t>
    </dgm:pt>
    <dgm:pt modelId="{D404D0EF-F540-438C-998B-27D02AD7E055}" type="sibTrans" cxnId="{24867146-2D2A-4C3F-8330-E3D8A454A4A5}">
      <dgm:prSet/>
      <dgm:spPr/>
      <dgm:t>
        <a:bodyPr/>
        <a:lstStyle/>
        <a:p>
          <a:endParaRPr lang="en-US"/>
        </a:p>
      </dgm:t>
    </dgm:pt>
    <dgm:pt modelId="{21A1E1B6-FB83-4E23-88BA-658736640597}">
      <dgm:prSet phldrT="[Text]"/>
      <dgm:spPr/>
      <dgm:t>
        <a:bodyPr rIns="0"/>
        <a:lstStyle/>
        <a:p>
          <a:r>
            <a:rPr lang="en-US"/>
            <a:t>Requires </a:t>
          </a:r>
          <a:r>
            <a:rPr lang="en-US" b="1"/>
            <a:t>Full Upgrade</a:t>
          </a:r>
          <a:endParaRPr lang="en-US" b="1" dirty="0"/>
        </a:p>
      </dgm:t>
    </dgm:pt>
    <dgm:pt modelId="{C92882E2-3846-4DBB-B8B6-C6295D7CBB6B}" type="parTrans" cxnId="{36C13EB0-4318-4EA6-96B5-82F4521E4DBB}">
      <dgm:prSet/>
      <dgm:spPr/>
      <dgm:t>
        <a:bodyPr/>
        <a:lstStyle/>
        <a:p>
          <a:endParaRPr lang="en-US"/>
        </a:p>
      </dgm:t>
    </dgm:pt>
    <dgm:pt modelId="{23053769-9A5A-4E9D-9FDF-C211911F6ED7}" type="sibTrans" cxnId="{36C13EB0-4318-4EA6-96B5-82F4521E4DBB}">
      <dgm:prSet/>
      <dgm:spPr/>
      <dgm:t>
        <a:bodyPr/>
        <a:lstStyle/>
        <a:p>
          <a:endParaRPr lang="en-US"/>
        </a:p>
      </dgm:t>
    </dgm:pt>
    <dgm:pt modelId="{F7DBD9A2-13C8-424A-BF83-902A8D99E9F8}">
      <dgm:prSet phldrT="[Text]"/>
      <dgm:spPr/>
      <dgm:t>
        <a:bodyPr rIns="0"/>
        <a:lstStyle/>
        <a:p>
          <a:r>
            <a:rPr lang="en-US" dirty="0"/>
            <a:t>Regularly executes patches using </a:t>
          </a:r>
          <a:r>
            <a:rPr lang="en-US" b="1" dirty="0"/>
            <a:t>Live Migration</a:t>
          </a:r>
        </a:p>
      </dgm:t>
    </dgm:pt>
    <dgm:pt modelId="{7BC371B5-0065-493B-B6E3-B1DC884BF3F2}" type="parTrans" cxnId="{4C919986-B86C-4A63-889A-6DF15201C380}">
      <dgm:prSet/>
      <dgm:spPr/>
      <dgm:t>
        <a:bodyPr/>
        <a:lstStyle/>
        <a:p>
          <a:endParaRPr lang="en-US"/>
        </a:p>
      </dgm:t>
    </dgm:pt>
    <dgm:pt modelId="{34DA83A4-59D3-4805-A410-433F2E1E9CCB}" type="sibTrans" cxnId="{4C919986-B86C-4A63-889A-6DF15201C380}">
      <dgm:prSet/>
      <dgm:spPr/>
      <dgm:t>
        <a:bodyPr/>
        <a:lstStyle/>
        <a:p>
          <a:endParaRPr lang="en-US"/>
        </a:p>
      </dgm:t>
    </dgm:pt>
    <dgm:pt modelId="{BFB23762-8F0C-4A77-ABEA-488CB129077C}">
      <dgm:prSet phldrT="[Text]"/>
      <dgm:spPr/>
      <dgm:t>
        <a:bodyPr rIns="0"/>
        <a:lstStyle/>
        <a:p>
          <a:r>
            <a:rPr lang="en-US"/>
            <a:t>Major updates require </a:t>
          </a:r>
          <a:r>
            <a:rPr lang="en-US" b="1"/>
            <a:t>Full Upgrade</a:t>
          </a:r>
          <a:endParaRPr lang="en-US" b="1" dirty="0"/>
        </a:p>
      </dgm:t>
    </dgm:pt>
    <dgm:pt modelId="{BCB8300B-CB52-4EA2-9784-E5FEED3F1326}" type="parTrans" cxnId="{261E18B8-DD23-41FC-9A09-AAA7D0C61420}">
      <dgm:prSet/>
      <dgm:spPr/>
      <dgm:t>
        <a:bodyPr/>
        <a:lstStyle/>
        <a:p>
          <a:endParaRPr lang="en-US"/>
        </a:p>
      </dgm:t>
    </dgm:pt>
    <dgm:pt modelId="{DFC7AEC6-C208-4EFE-86E6-55A55B25D52B}" type="sibTrans" cxnId="{261E18B8-DD23-41FC-9A09-AAA7D0C61420}">
      <dgm:prSet/>
      <dgm:spPr/>
      <dgm:t>
        <a:bodyPr/>
        <a:lstStyle/>
        <a:p>
          <a:endParaRPr lang="en-US"/>
        </a:p>
      </dgm:t>
    </dgm:pt>
    <dgm:pt modelId="{6EFA26F6-D3EE-4DF5-A198-07BCB2D466AB}">
      <dgm:prSet phldrT="[Text]"/>
      <dgm:spPr/>
      <dgm:t>
        <a:bodyPr rIns="0"/>
        <a:lstStyle/>
        <a:p>
          <a:r>
            <a:rPr lang="en-US"/>
            <a:t>Offers </a:t>
          </a:r>
          <a:r>
            <a:rPr lang="en-US" b="1"/>
            <a:t>On-Demand Maintenance</a:t>
          </a:r>
          <a:endParaRPr lang="en-US" b="1" dirty="0"/>
        </a:p>
      </dgm:t>
    </dgm:pt>
    <dgm:pt modelId="{0969808D-235E-40DA-8FEF-C14DB5CA68F9}" type="parTrans" cxnId="{E8D66CCF-16B5-4775-90F3-C425C9B135EF}">
      <dgm:prSet/>
      <dgm:spPr/>
      <dgm:t>
        <a:bodyPr/>
        <a:lstStyle/>
        <a:p>
          <a:endParaRPr lang="en-US"/>
        </a:p>
      </dgm:t>
    </dgm:pt>
    <dgm:pt modelId="{6014EC95-4152-4D47-9CF1-FB988A75EFA7}" type="sibTrans" cxnId="{E8D66CCF-16B5-4775-90F3-C425C9B135EF}">
      <dgm:prSet/>
      <dgm:spPr/>
      <dgm:t>
        <a:bodyPr/>
        <a:lstStyle/>
        <a:p>
          <a:endParaRPr lang="en-US"/>
        </a:p>
      </dgm:t>
    </dgm:pt>
    <dgm:pt modelId="{16AE064F-8107-4A0B-BCBD-F637099C9386}" type="pres">
      <dgm:prSet presAssocID="{85F25FD4-EA97-476D-9DC6-D1217F3FD12E}" presName="Name0" presStyleCnt="0">
        <dgm:presLayoutVars>
          <dgm:dir/>
          <dgm:animLvl val="lvl"/>
          <dgm:resizeHandles/>
        </dgm:presLayoutVars>
      </dgm:prSet>
      <dgm:spPr/>
    </dgm:pt>
    <dgm:pt modelId="{87F9587E-3B8E-49D5-BBBB-3DABE093B552}" type="pres">
      <dgm:prSet presAssocID="{CFC94B56-B7BB-4C79-9927-C3E2D9573E64}" presName="linNode" presStyleCnt="0"/>
      <dgm:spPr/>
    </dgm:pt>
    <dgm:pt modelId="{92031184-3915-417B-A4F3-AA7663BABFDD}" type="pres">
      <dgm:prSet presAssocID="{CFC94B56-B7BB-4C79-9927-C3E2D9573E64}" presName="parentShp" presStyleLbl="node1" presStyleIdx="0" presStyleCnt="3">
        <dgm:presLayoutVars>
          <dgm:bulletEnabled val="1"/>
        </dgm:presLayoutVars>
      </dgm:prSet>
      <dgm:spPr/>
    </dgm:pt>
    <dgm:pt modelId="{A58B888E-AD92-4160-B86A-5D24DD1CDF39}" type="pres">
      <dgm:prSet presAssocID="{CFC94B56-B7BB-4C79-9927-C3E2D9573E64}" presName="childShp" presStyleLbl="bgAccFollowNode1" presStyleIdx="0" presStyleCnt="3">
        <dgm:presLayoutVars>
          <dgm:bulletEnabled val="1"/>
        </dgm:presLayoutVars>
      </dgm:prSet>
      <dgm:spPr/>
    </dgm:pt>
    <dgm:pt modelId="{B837B5A9-26ED-4FE9-9E7E-C0DE6F6DC620}" type="pres">
      <dgm:prSet presAssocID="{6DABCE1B-EFBE-459E-9B73-5BE6E97D43FF}" presName="spacing" presStyleCnt="0"/>
      <dgm:spPr/>
    </dgm:pt>
    <dgm:pt modelId="{6CE09D2D-7D39-4492-8CFF-79275D3E0000}" type="pres">
      <dgm:prSet presAssocID="{080908B7-EBF3-4C2B-81F9-30702DEAF102}" presName="linNode" presStyleCnt="0"/>
      <dgm:spPr/>
    </dgm:pt>
    <dgm:pt modelId="{923D836F-5AD3-4853-8499-B1989DFC8053}" type="pres">
      <dgm:prSet presAssocID="{080908B7-EBF3-4C2B-81F9-30702DEAF102}" presName="parentShp" presStyleLbl="node1" presStyleIdx="1" presStyleCnt="3">
        <dgm:presLayoutVars>
          <dgm:bulletEnabled val="1"/>
        </dgm:presLayoutVars>
      </dgm:prSet>
      <dgm:spPr/>
    </dgm:pt>
    <dgm:pt modelId="{82C30E31-2E66-47A6-91FF-1D479DD6B7A3}" type="pres">
      <dgm:prSet presAssocID="{080908B7-EBF3-4C2B-81F9-30702DEAF102}" presName="childShp" presStyleLbl="bgAccFollowNode1" presStyleIdx="1" presStyleCnt="3">
        <dgm:presLayoutVars>
          <dgm:bulletEnabled val="1"/>
        </dgm:presLayoutVars>
      </dgm:prSet>
      <dgm:spPr/>
    </dgm:pt>
    <dgm:pt modelId="{EB5D7A98-33E6-4A96-953C-B760DA9EEDBB}" type="pres">
      <dgm:prSet presAssocID="{8A7A7331-67FB-48BE-9E2D-4D9AA3452194}" presName="spacing" presStyleCnt="0"/>
      <dgm:spPr/>
    </dgm:pt>
    <dgm:pt modelId="{50333B4F-7364-4D6B-97BD-F76E74117001}" type="pres">
      <dgm:prSet presAssocID="{6E2D6027-6252-4881-96D6-1B23F76BE1CA}" presName="linNode" presStyleCnt="0"/>
      <dgm:spPr/>
    </dgm:pt>
    <dgm:pt modelId="{11EE3DD8-1598-47A9-8D51-B7F797719497}" type="pres">
      <dgm:prSet presAssocID="{6E2D6027-6252-4881-96D6-1B23F76BE1CA}" presName="parentShp" presStyleLbl="node1" presStyleIdx="2" presStyleCnt="3">
        <dgm:presLayoutVars>
          <dgm:bulletEnabled val="1"/>
        </dgm:presLayoutVars>
      </dgm:prSet>
      <dgm:spPr/>
    </dgm:pt>
    <dgm:pt modelId="{F43757A8-9EE1-4414-9CD3-1CAD211E28D6}" type="pres">
      <dgm:prSet presAssocID="{6E2D6027-6252-4881-96D6-1B23F76BE1CA}" presName="childShp" presStyleLbl="bgAccFollowNode1" presStyleIdx="2" presStyleCnt="3">
        <dgm:presLayoutVars>
          <dgm:bulletEnabled val="1"/>
        </dgm:presLayoutVars>
      </dgm:prSet>
      <dgm:spPr/>
    </dgm:pt>
  </dgm:ptLst>
  <dgm:cxnLst>
    <dgm:cxn modelId="{F3851309-66EE-4606-99A9-E73EA7BC3769}" type="presOf" srcId="{21A1E1B6-FB83-4E23-88BA-658736640597}" destId="{82C30E31-2E66-47A6-91FF-1D479DD6B7A3}" srcOrd="0" destOrd="1" presId="urn:microsoft.com/office/officeart/2005/8/layout/vList6"/>
    <dgm:cxn modelId="{505BD41A-AC35-4379-83B2-C8FCC686651A}" srcId="{080908B7-EBF3-4C2B-81F9-30702DEAF102}" destId="{6E87BF3F-68A6-4B60-BDD1-4BB6E679D457}" srcOrd="0" destOrd="0" parTransId="{0F9AD963-C0E2-4AF6-A883-A2E9EE23FDA7}" sibTransId="{E2D3DF19-D6AC-4BA1-8FE4-1B951557C1C9}"/>
    <dgm:cxn modelId="{80D46625-3F40-4AC7-8369-5E7EFBA68778}" type="presOf" srcId="{BFB23762-8F0C-4A77-ABEA-488CB129077C}" destId="{F43757A8-9EE1-4414-9CD3-1CAD211E28D6}" srcOrd="0" destOrd="1" presId="urn:microsoft.com/office/officeart/2005/8/layout/vList6"/>
    <dgm:cxn modelId="{24867146-2D2A-4C3F-8330-E3D8A454A4A5}" srcId="{CFC94B56-B7BB-4C79-9927-C3E2D9573E64}" destId="{26EEB920-D77B-4866-BDCD-E40888EDEE84}" srcOrd="2" destOrd="0" parTransId="{56FEA7C2-1DE0-4051-9828-F44DA9789E8E}" sibTransId="{D404D0EF-F540-438C-998B-27D02AD7E055}"/>
    <dgm:cxn modelId="{BEAB2C4B-10ED-4F6B-89BD-B6238D185BA6}" type="presOf" srcId="{0D8C2809-66D2-496A-902D-9D215058FEF7}" destId="{A58B888E-AD92-4160-B86A-5D24DD1CDF39}" srcOrd="0" destOrd="0" presId="urn:microsoft.com/office/officeart/2005/8/layout/vList6"/>
    <dgm:cxn modelId="{4C919986-B86C-4A63-889A-6DF15201C380}" srcId="{6E2D6027-6252-4881-96D6-1B23F76BE1CA}" destId="{F7DBD9A2-13C8-424A-BF83-902A8D99E9F8}" srcOrd="0" destOrd="0" parTransId="{7BC371B5-0065-493B-B6E3-B1DC884BF3F2}" sibTransId="{34DA83A4-59D3-4805-A410-433F2E1E9CCB}"/>
    <dgm:cxn modelId="{2452E38A-F021-40F2-BA92-395FA42F823E}" type="presOf" srcId="{6E87BF3F-68A6-4B60-BDD1-4BB6E679D457}" destId="{82C30E31-2E66-47A6-91FF-1D479DD6B7A3}" srcOrd="0" destOrd="0" presId="urn:microsoft.com/office/officeart/2005/8/layout/vList6"/>
    <dgm:cxn modelId="{F1FDF09A-2933-4D7D-940A-B8A6C9B37B50}" type="presOf" srcId="{26EEB920-D77B-4866-BDCD-E40888EDEE84}" destId="{A58B888E-AD92-4160-B86A-5D24DD1CDF39}" srcOrd="0" destOrd="2" presId="urn:microsoft.com/office/officeart/2005/8/layout/vList6"/>
    <dgm:cxn modelId="{9DFA9FA0-7FEB-421F-BECC-EEBD543225B5}" srcId="{85F25FD4-EA97-476D-9DC6-D1217F3FD12E}" destId="{6E2D6027-6252-4881-96D6-1B23F76BE1CA}" srcOrd="2" destOrd="0" parTransId="{E6C11557-9D98-4FB8-A61E-76F4BF2053A0}" sibTransId="{8912307C-1D8D-40FF-BF68-9E9DA1FE7209}"/>
    <dgm:cxn modelId="{1F627DA5-BDF1-43BA-84D0-AA9E8154EADD}" type="presOf" srcId="{6EFA26F6-D3EE-4DF5-A198-07BCB2D466AB}" destId="{F43757A8-9EE1-4414-9CD3-1CAD211E28D6}" srcOrd="0" destOrd="2" presId="urn:microsoft.com/office/officeart/2005/8/layout/vList6"/>
    <dgm:cxn modelId="{447307AA-C009-4A03-B46A-07B7E62CCA12}" type="presOf" srcId="{6E2D6027-6252-4881-96D6-1B23F76BE1CA}" destId="{11EE3DD8-1598-47A9-8D51-B7F797719497}" srcOrd="0" destOrd="0" presId="urn:microsoft.com/office/officeart/2005/8/layout/vList6"/>
    <dgm:cxn modelId="{9CE296AC-9CCA-47F4-8160-A348A131F9CF}" type="presOf" srcId="{85F25FD4-EA97-476D-9DC6-D1217F3FD12E}" destId="{16AE064F-8107-4A0B-BCBD-F637099C9386}" srcOrd="0" destOrd="0" presId="urn:microsoft.com/office/officeart/2005/8/layout/vList6"/>
    <dgm:cxn modelId="{7DE6CBAD-E259-42F5-A592-4788C99E98B0}" type="presOf" srcId="{F7DBD9A2-13C8-424A-BF83-902A8D99E9F8}" destId="{F43757A8-9EE1-4414-9CD3-1CAD211E28D6}" srcOrd="0" destOrd="0" presId="urn:microsoft.com/office/officeart/2005/8/layout/vList6"/>
    <dgm:cxn modelId="{36C13EB0-4318-4EA6-96B5-82F4521E4DBB}" srcId="{080908B7-EBF3-4C2B-81F9-30702DEAF102}" destId="{21A1E1B6-FB83-4E23-88BA-658736640597}" srcOrd="1" destOrd="0" parTransId="{C92882E2-3846-4DBB-B8B6-C6295D7CBB6B}" sibTransId="{23053769-9A5A-4E9D-9FDF-C211911F6ED7}"/>
    <dgm:cxn modelId="{1545C2B2-13DF-4502-9820-E263975AA37A}" type="presOf" srcId="{CFC94B56-B7BB-4C79-9927-C3E2D9573E64}" destId="{92031184-3915-417B-A4F3-AA7663BABFDD}" srcOrd="0" destOrd="0" presId="urn:microsoft.com/office/officeart/2005/8/layout/vList6"/>
    <dgm:cxn modelId="{261E18B8-DD23-41FC-9A09-AAA7D0C61420}" srcId="{6E2D6027-6252-4881-96D6-1B23F76BE1CA}" destId="{BFB23762-8F0C-4A77-ABEA-488CB129077C}" srcOrd="1" destOrd="0" parTransId="{BCB8300B-CB52-4EA2-9784-E5FEED3F1326}" sibTransId="{DFC7AEC6-C208-4EFE-86E6-55A55B25D52B}"/>
    <dgm:cxn modelId="{D2ECDCBF-E84C-4601-8374-8BEE0F43BC39}" srcId="{85F25FD4-EA97-476D-9DC6-D1217F3FD12E}" destId="{CFC94B56-B7BB-4C79-9927-C3E2D9573E64}" srcOrd="0" destOrd="0" parTransId="{4198D7E6-354A-48DA-A446-00A770D5B8A4}" sibTransId="{6DABCE1B-EFBE-459E-9B73-5BE6E97D43FF}"/>
    <dgm:cxn modelId="{3434B6C3-C8C0-4C1F-9278-E09B3E11015D}" srcId="{CFC94B56-B7BB-4C79-9927-C3E2D9573E64}" destId="{80CA6592-A997-48FD-A89E-1A901EBDBF0D}" srcOrd="1" destOrd="0" parTransId="{39444E4D-4D01-4128-B2B2-0B0D64F853E0}" sibTransId="{447652E6-0220-4241-BFE7-343562DCCCBF}"/>
    <dgm:cxn modelId="{E8D66CCF-16B5-4775-90F3-C425C9B135EF}" srcId="{6E2D6027-6252-4881-96D6-1B23F76BE1CA}" destId="{6EFA26F6-D3EE-4DF5-A198-07BCB2D466AB}" srcOrd="2" destOrd="0" parTransId="{0969808D-235E-40DA-8FEF-C14DB5CA68F9}" sibTransId="{6014EC95-4152-4D47-9CF1-FB988A75EFA7}"/>
    <dgm:cxn modelId="{0DE01ADC-9615-4A1F-BEA0-E7468350D502}" type="presOf" srcId="{80CA6592-A997-48FD-A89E-1A901EBDBF0D}" destId="{A58B888E-AD92-4160-B86A-5D24DD1CDF39}" srcOrd="0" destOrd="1" presId="urn:microsoft.com/office/officeart/2005/8/layout/vList6"/>
    <dgm:cxn modelId="{01D180E2-BF31-4E2A-84BE-C72EE6CC341C}" srcId="{CFC94B56-B7BB-4C79-9927-C3E2D9573E64}" destId="{0D8C2809-66D2-496A-902D-9D215058FEF7}" srcOrd="0" destOrd="0" parTransId="{75CD6CAF-3572-4AD0-ACC6-3CF7BE415650}" sibTransId="{B886E6C4-2B0F-4AF5-9F40-4749F48DF0CA}"/>
    <dgm:cxn modelId="{246D48EF-B8F2-4034-AB72-FD5BDB4B9E7E}" srcId="{85F25FD4-EA97-476D-9DC6-D1217F3FD12E}" destId="{080908B7-EBF3-4C2B-81F9-30702DEAF102}" srcOrd="1" destOrd="0" parTransId="{FFB74D74-F37C-41A9-BBC4-32F0F50893F5}" sibTransId="{8A7A7331-67FB-48BE-9E2D-4D9AA3452194}"/>
    <dgm:cxn modelId="{B84757FD-5A4E-4DC2-A97F-8193CDB88D99}" type="presOf" srcId="{080908B7-EBF3-4C2B-81F9-30702DEAF102}" destId="{923D836F-5AD3-4853-8499-B1989DFC8053}" srcOrd="0" destOrd="0" presId="urn:microsoft.com/office/officeart/2005/8/layout/vList6"/>
    <dgm:cxn modelId="{07A71411-E25E-46EA-BA1F-E95851C049A1}" type="presParOf" srcId="{16AE064F-8107-4A0B-BCBD-F637099C9386}" destId="{87F9587E-3B8E-49D5-BBBB-3DABE093B552}" srcOrd="0" destOrd="0" presId="urn:microsoft.com/office/officeart/2005/8/layout/vList6"/>
    <dgm:cxn modelId="{2A30AE62-31B2-4956-B633-9E3BE5C1DF61}" type="presParOf" srcId="{87F9587E-3B8E-49D5-BBBB-3DABE093B552}" destId="{92031184-3915-417B-A4F3-AA7663BABFDD}" srcOrd="0" destOrd="0" presId="urn:microsoft.com/office/officeart/2005/8/layout/vList6"/>
    <dgm:cxn modelId="{3A8C932C-AABA-4408-AEEE-D48A7EB8CB0E}" type="presParOf" srcId="{87F9587E-3B8E-49D5-BBBB-3DABE093B552}" destId="{A58B888E-AD92-4160-B86A-5D24DD1CDF39}" srcOrd="1" destOrd="0" presId="urn:microsoft.com/office/officeart/2005/8/layout/vList6"/>
    <dgm:cxn modelId="{266EE5A4-E7D4-4C25-8D96-0113ED8E6897}" type="presParOf" srcId="{16AE064F-8107-4A0B-BCBD-F637099C9386}" destId="{B837B5A9-26ED-4FE9-9E7E-C0DE6F6DC620}" srcOrd="1" destOrd="0" presId="urn:microsoft.com/office/officeart/2005/8/layout/vList6"/>
    <dgm:cxn modelId="{D3F3BCEB-C175-47D7-9AD3-01F1A9792416}" type="presParOf" srcId="{16AE064F-8107-4A0B-BCBD-F637099C9386}" destId="{6CE09D2D-7D39-4492-8CFF-79275D3E0000}" srcOrd="2" destOrd="0" presId="urn:microsoft.com/office/officeart/2005/8/layout/vList6"/>
    <dgm:cxn modelId="{528F96C8-D0FD-4CB6-8B55-67C0F5D4CFC4}" type="presParOf" srcId="{6CE09D2D-7D39-4492-8CFF-79275D3E0000}" destId="{923D836F-5AD3-4853-8499-B1989DFC8053}" srcOrd="0" destOrd="0" presId="urn:microsoft.com/office/officeart/2005/8/layout/vList6"/>
    <dgm:cxn modelId="{BD75ABD2-5AC2-42EF-9A92-2D8555AD3DD0}" type="presParOf" srcId="{6CE09D2D-7D39-4492-8CFF-79275D3E0000}" destId="{82C30E31-2E66-47A6-91FF-1D479DD6B7A3}" srcOrd="1" destOrd="0" presId="urn:microsoft.com/office/officeart/2005/8/layout/vList6"/>
    <dgm:cxn modelId="{08306C1D-8AC5-42FD-94EB-2D5CF165A2CC}" type="presParOf" srcId="{16AE064F-8107-4A0B-BCBD-F637099C9386}" destId="{EB5D7A98-33E6-4A96-953C-B760DA9EEDBB}" srcOrd="3" destOrd="0" presId="urn:microsoft.com/office/officeart/2005/8/layout/vList6"/>
    <dgm:cxn modelId="{7100AA8D-6A18-49F6-BB6C-AA3765193977}" type="presParOf" srcId="{16AE064F-8107-4A0B-BCBD-F637099C9386}" destId="{50333B4F-7364-4D6B-97BD-F76E74117001}" srcOrd="4" destOrd="0" presId="urn:microsoft.com/office/officeart/2005/8/layout/vList6"/>
    <dgm:cxn modelId="{48547A9C-245B-4F05-97A9-3354C1467402}" type="presParOf" srcId="{50333B4F-7364-4D6B-97BD-F76E74117001}" destId="{11EE3DD8-1598-47A9-8D51-B7F797719497}" srcOrd="0" destOrd="0" presId="urn:microsoft.com/office/officeart/2005/8/layout/vList6"/>
    <dgm:cxn modelId="{A4438139-D539-4D46-8306-8BA87958A8BD}" type="presParOf" srcId="{50333B4F-7364-4D6B-97BD-F76E74117001}" destId="{F43757A8-9EE1-4414-9CD3-1CAD211E28D6}"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3_1" csCatId="accent3" phldr="1"/>
      <dgm:spPr/>
    </dgm:pt>
    <dgm:pt modelId="{FA3E7DFC-B32C-4945-AA9D-DA25484DE241}">
      <dgm:prSet phldrT="[Text]"/>
      <dgm:spPr/>
      <dgm:t>
        <a:bodyPr/>
        <a:lstStyle/>
        <a:p>
          <a:r>
            <a:rPr lang="en-US" b="1" dirty="0">
              <a:solidFill>
                <a:schemeClr val="accent3"/>
              </a:solidFill>
            </a:rPr>
            <a:t>ADVISOR</a:t>
          </a:r>
        </a:p>
      </dgm:t>
    </dgm:pt>
    <dgm:pt modelId="{A57BA6F8-BBF3-4023-80FC-30C585454073}" type="parTrans" cxnId="{A5CAAAE3-C4E8-469C-ABF9-E497B854AB88}">
      <dgm:prSet/>
      <dgm:spPr/>
      <dgm:t>
        <a:bodyPr/>
        <a:lstStyle/>
        <a:p>
          <a:endParaRPr lang="en-US"/>
        </a:p>
      </dgm:t>
    </dgm:pt>
    <dgm:pt modelId="{630642ED-28AA-4B55-8B10-4C1F0E1263C9}" type="sibTrans" cxnId="{A5CAAAE3-C4E8-469C-ABF9-E497B854AB88}">
      <dgm:prSet/>
      <dgm:spPr/>
      <dgm:t>
        <a:bodyPr/>
        <a:lstStyle/>
        <a:p>
          <a:endParaRPr lang="en-US"/>
        </a:p>
      </dgm:t>
    </dgm:pt>
    <dgm:pt modelId="{F05510B8-6014-46A2-B2AD-A1EB34C20243}">
      <dgm:prSet phldrT="[Text]"/>
      <dgm:spPr/>
      <dgm:t>
        <a:bodyPr/>
        <a:lstStyle/>
        <a:p>
          <a:r>
            <a:rPr lang="en-US" dirty="0"/>
            <a:t>Monitor good practices</a:t>
          </a:r>
        </a:p>
      </dgm:t>
    </dgm:pt>
    <dgm:pt modelId="{B0348F66-5805-4414-84F0-EE0B9EC973A1}" type="parTrans" cxnId="{2CE5E71C-4F87-4704-A871-8D45B30F33B5}">
      <dgm:prSet/>
      <dgm:spPr/>
      <dgm:t>
        <a:bodyPr/>
        <a:lstStyle/>
        <a:p>
          <a:endParaRPr lang="en-US"/>
        </a:p>
      </dgm:t>
    </dgm:pt>
    <dgm:pt modelId="{763F83D1-A877-43B4-96B2-9AA4141839A6}" type="sibTrans" cxnId="{2CE5E71C-4F87-4704-A871-8D45B30F33B5}">
      <dgm:prSet/>
      <dgm:spPr/>
      <dgm:t>
        <a:bodyPr/>
        <a:lstStyle/>
        <a:p>
          <a:endParaRPr lang="en-US"/>
        </a:p>
      </dgm:t>
    </dgm:pt>
    <dgm:pt modelId="{EECAEDF5-BB22-4546-870C-321472927FDB}">
      <dgm:prSet phldrT="[Text]"/>
      <dgm:spPr/>
      <dgm:t>
        <a:bodyPr/>
        <a:lstStyle/>
        <a:p>
          <a:r>
            <a:rPr lang="en-US" dirty="0"/>
            <a:t>Security, cost, performance</a:t>
          </a:r>
        </a:p>
      </dgm:t>
    </dgm:pt>
    <dgm:pt modelId="{080EBBFA-16FD-4005-87DB-FD4419CE51E3}" type="parTrans" cxnId="{D57B5623-522A-473D-A4BE-7C7D9DF45E8F}">
      <dgm:prSet/>
      <dgm:spPr/>
      <dgm:t>
        <a:bodyPr/>
        <a:lstStyle/>
        <a:p>
          <a:endParaRPr lang="en-US"/>
        </a:p>
      </dgm:t>
    </dgm:pt>
    <dgm:pt modelId="{CA9A46C9-6263-44ED-BDF2-9CEFB2E4EDE3}" type="sibTrans" cxnId="{D57B5623-522A-473D-A4BE-7C7D9DF45E8F}">
      <dgm:prSet/>
      <dgm:spPr/>
      <dgm:t>
        <a:bodyPr/>
        <a:lstStyle/>
        <a:p>
          <a:endParaRPr lang="en-US"/>
        </a:p>
      </dgm:t>
    </dgm:pt>
    <dgm:pt modelId="{6956F6DF-3A6E-4CD7-9BC3-9F73C2F8339A}">
      <dgm:prSet phldrT="[Text]"/>
      <dgm:spPr/>
      <dgm:t>
        <a:bodyPr/>
        <a:lstStyle/>
        <a:p>
          <a:r>
            <a:rPr lang="en-US" b="1" dirty="0">
              <a:solidFill>
                <a:schemeClr val="accent3"/>
              </a:solidFill>
            </a:rPr>
            <a:t>MONITOR</a:t>
          </a:r>
          <a:endParaRPr lang="en-US" dirty="0"/>
        </a:p>
      </dgm:t>
    </dgm:pt>
    <dgm:pt modelId="{BF22CD32-6D3E-438F-8C32-DBE0C7B4B309}" type="parTrans" cxnId="{6C109514-F8A6-417D-A4A9-7C192132EC36}">
      <dgm:prSet/>
      <dgm:spPr/>
      <dgm:t>
        <a:bodyPr/>
        <a:lstStyle/>
        <a:p>
          <a:endParaRPr lang="en-US"/>
        </a:p>
      </dgm:t>
    </dgm:pt>
    <dgm:pt modelId="{B5F0A979-AF93-45B7-9FC2-F984A4C8AF38}" type="sibTrans" cxnId="{6C109514-F8A6-417D-A4A9-7C192132EC36}">
      <dgm:prSet/>
      <dgm:spPr/>
      <dgm:t>
        <a:bodyPr/>
        <a:lstStyle/>
        <a:p>
          <a:endParaRPr lang="en-US"/>
        </a:p>
      </dgm:t>
    </dgm:pt>
    <dgm:pt modelId="{74E4692E-3C1F-4DC9-927A-D1AF6118AA3F}">
      <dgm:prSet phldrT="[Text]"/>
      <dgm:spPr/>
      <dgm:t>
        <a:bodyPr/>
        <a:lstStyle/>
        <a:p>
          <a:r>
            <a:rPr lang="en-US" dirty="0"/>
            <a:t>Log aggregation and search</a:t>
          </a:r>
        </a:p>
      </dgm:t>
    </dgm:pt>
    <dgm:pt modelId="{E0ACEEDA-C59C-44AB-ABB7-BCB89F670CED}" type="parTrans" cxnId="{E8052C66-B639-458A-A5C0-98E691F0512B}">
      <dgm:prSet/>
      <dgm:spPr/>
      <dgm:t>
        <a:bodyPr/>
        <a:lstStyle/>
        <a:p>
          <a:endParaRPr lang="en-US"/>
        </a:p>
      </dgm:t>
    </dgm:pt>
    <dgm:pt modelId="{41BC6D40-90FC-47EC-B807-463E4C8B8220}" type="sibTrans" cxnId="{E8052C66-B639-458A-A5C0-98E691F0512B}">
      <dgm:prSet/>
      <dgm:spPr/>
      <dgm:t>
        <a:bodyPr/>
        <a:lstStyle/>
        <a:p>
          <a:endParaRPr lang="en-US"/>
        </a:p>
      </dgm:t>
    </dgm:pt>
    <dgm:pt modelId="{2395DD3C-DBCD-4DD6-9A63-4AC769287D2F}">
      <dgm:prSet phldrT="[Text]"/>
      <dgm:spPr/>
      <dgm:t>
        <a:bodyPr/>
        <a:lstStyle/>
        <a:p>
          <a:r>
            <a:rPr lang="en-US" dirty="0"/>
            <a:t>Customizable dashboards</a:t>
          </a:r>
        </a:p>
      </dgm:t>
    </dgm:pt>
    <dgm:pt modelId="{91A3E05A-5881-4252-B380-A923630E0392}" type="parTrans" cxnId="{F0A082A7-989E-46F0-96C5-642F95A1FB24}">
      <dgm:prSet/>
      <dgm:spPr/>
      <dgm:t>
        <a:bodyPr/>
        <a:lstStyle/>
        <a:p>
          <a:endParaRPr lang="en-US"/>
        </a:p>
      </dgm:t>
    </dgm:pt>
    <dgm:pt modelId="{1B8DEEFB-F093-4579-8707-165CB83297BE}" type="sibTrans" cxnId="{F0A082A7-989E-46F0-96C5-642F95A1FB24}">
      <dgm:prSet/>
      <dgm:spPr/>
      <dgm:t>
        <a:bodyPr/>
        <a:lstStyle/>
        <a:p>
          <a:endParaRPr lang="en-US"/>
        </a:p>
      </dgm:t>
    </dgm:pt>
    <dgm:pt modelId="{CF6221D0-60FD-4D35-AB69-395299AB6216}">
      <dgm:prSet phldrT="[Text]"/>
      <dgm:spPr/>
      <dgm:t>
        <a:bodyPr/>
        <a:lstStyle/>
        <a:p>
          <a:r>
            <a:rPr lang="en-US" dirty="0"/>
            <a:t>Threat intelligence reporting</a:t>
          </a:r>
        </a:p>
      </dgm:t>
    </dgm:pt>
    <dgm:pt modelId="{98486C24-7AE5-4C85-B3C2-4A4C45A8CB0C}" type="parTrans" cxnId="{1D61383F-C7B5-4900-8FF5-9D5220C62F3B}">
      <dgm:prSet/>
      <dgm:spPr/>
      <dgm:t>
        <a:bodyPr/>
        <a:lstStyle/>
        <a:p>
          <a:endParaRPr lang="en-US"/>
        </a:p>
      </dgm:t>
    </dgm:pt>
    <dgm:pt modelId="{B137BF09-CA12-4C77-888E-31827640ECC6}" type="sibTrans" cxnId="{1D61383F-C7B5-4900-8FF5-9D5220C62F3B}">
      <dgm:prSet/>
      <dgm:spPr/>
      <dgm:t>
        <a:bodyPr/>
        <a:lstStyle/>
        <a:p>
          <a:endParaRPr lang="en-US"/>
        </a:p>
      </dgm:t>
    </dgm:pt>
    <dgm:pt modelId="{FE291DFC-AC0A-44A1-9462-EA6F6DB8B077}">
      <dgm:prSet phldrT="[Text]"/>
      <dgm:spPr/>
      <dgm:t>
        <a:bodyPr/>
        <a:lstStyle/>
        <a:p>
          <a:r>
            <a:rPr lang="en-US" dirty="0"/>
            <a:t>Security policy compliance</a:t>
          </a:r>
        </a:p>
      </dgm:t>
    </dgm:pt>
    <dgm:pt modelId="{662C3709-7E3A-4E27-B03C-8150D7E92E0E}" type="parTrans" cxnId="{828278B0-677D-472C-959D-36F429D2C4C7}">
      <dgm:prSet/>
      <dgm:spPr/>
      <dgm:t>
        <a:bodyPr/>
        <a:lstStyle/>
        <a:p>
          <a:endParaRPr lang="en-US"/>
        </a:p>
      </dgm:t>
    </dgm:pt>
    <dgm:pt modelId="{CD2904F1-4EFA-4340-919E-66A65413D30D}" type="sibTrans" cxnId="{828278B0-677D-472C-959D-36F429D2C4C7}">
      <dgm:prSet/>
      <dgm:spPr/>
      <dgm:t>
        <a:bodyPr/>
        <a:lstStyle/>
        <a:p>
          <a:endParaRPr lang="en-US"/>
        </a:p>
      </dgm:t>
    </dgm:pt>
    <dgm:pt modelId="{4E47720E-D8E8-4F0F-AA67-8D0D1C5BF66D}">
      <dgm:prSet phldrT="[Text]"/>
      <dgm:spPr/>
      <dgm:t>
        <a:bodyPr/>
        <a:lstStyle/>
        <a:p>
          <a:r>
            <a:rPr lang="en-US" b="1" dirty="0">
              <a:solidFill>
                <a:schemeClr val="accent3"/>
              </a:solidFill>
            </a:rPr>
            <a:t>LOG ANALYTICS</a:t>
          </a:r>
          <a:endParaRPr lang="en-US" dirty="0"/>
        </a:p>
      </dgm:t>
    </dgm:pt>
    <dgm:pt modelId="{63D05F9D-E1C7-4A57-AA95-D38D6AC7AF0E}" type="parTrans" cxnId="{BC766A92-F177-441E-82D9-267E4249F552}">
      <dgm:prSet/>
      <dgm:spPr/>
      <dgm:t>
        <a:bodyPr/>
        <a:lstStyle/>
        <a:p>
          <a:endParaRPr lang="en-US"/>
        </a:p>
      </dgm:t>
    </dgm:pt>
    <dgm:pt modelId="{D4A8A77D-6828-403F-845A-270C2A0F9D30}" type="sibTrans" cxnId="{BC766A92-F177-441E-82D9-267E4249F552}">
      <dgm:prSet/>
      <dgm:spPr/>
      <dgm:t>
        <a:bodyPr/>
        <a:lstStyle/>
        <a:p>
          <a:endParaRPr lang="en-US"/>
        </a:p>
      </dgm:t>
    </dgm:pt>
    <dgm:pt modelId="{83BF8A20-C979-4AF1-8108-23470483AB29}">
      <dgm:prSet phldrT="[Text]"/>
      <dgm:spPr/>
      <dgm:t>
        <a:bodyPr/>
        <a:lstStyle/>
        <a:p>
          <a:r>
            <a:rPr lang="en-US" dirty="0"/>
            <a:t>Alert management</a:t>
          </a:r>
        </a:p>
      </dgm:t>
    </dgm:pt>
    <dgm:pt modelId="{F514289F-EC4F-4AF0-93FF-35667E0DBE95}" type="parTrans" cxnId="{B8BD57A8-F240-4A86-93A3-64D1B4C4010F}">
      <dgm:prSet/>
      <dgm:spPr/>
      <dgm:t>
        <a:bodyPr/>
        <a:lstStyle/>
        <a:p>
          <a:endParaRPr lang="en-US"/>
        </a:p>
      </dgm:t>
    </dgm:pt>
    <dgm:pt modelId="{20859A6A-908B-4B73-B6FA-C478B1C3AD14}" type="sibTrans" cxnId="{B8BD57A8-F240-4A86-93A3-64D1B4C4010F}">
      <dgm:prSet/>
      <dgm:spPr/>
      <dgm:t>
        <a:bodyPr/>
        <a:lstStyle/>
        <a:p>
          <a:endParaRPr lang="en-US"/>
        </a:p>
      </dgm:t>
    </dgm:pt>
    <dgm:pt modelId="{819A5B76-E940-4603-9897-1C903FF0F659}">
      <dgm:prSet phldrT="[Text]"/>
      <dgm:spPr/>
      <dgm:t>
        <a:bodyPr/>
        <a:lstStyle/>
        <a:p>
          <a:r>
            <a:rPr lang="en-US" dirty="0" err="1"/>
            <a:t>Autoscale</a:t>
          </a:r>
          <a:r>
            <a:rPr lang="en-US" dirty="0"/>
            <a:t>, audit management</a:t>
          </a:r>
        </a:p>
      </dgm:t>
    </dgm:pt>
    <dgm:pt modelId="{D1B7863D-1297-4234-B0DB-E054C938421F}" type="parTrans" cxnId="{36EF7F77-D370-4F4F-80D9-81386633B9E9}">
      <dgm:prSet/>
      <dgm:spPr/>
      <dgm:t>
        <a:bodyPr/>
        <a:lstStyle/>
        <a:p>
          <a:endParaRPr lang="en-US"/>
        </a:p>
      </dgm:t>
    </dgm:pt>
    <dgm:pt modelId="{28354A57-75CC-4AD8-AE0F-EBEBFB934EEC}" type="sibTrans" cxnId="{36EF7F77-D370-4F4F-80D9-81386633B9E9}">
      <dgm:prSet/>
      <dgm:spPr/>
      <dgm:t>
        <a:bodyPr/>
        <a:lstStyle/>
        <a:p>
          <a:endParaRPr lang="en-US"/>
        </a:p>
      </dgm:t>
    </dgm:pt>
    <dgm:pt modelId="{898045A1-1ECA-47B9-973C-19E77676BB64}">
      <dgm:prSet phldrT="[Text]"/>
      <dgm:spPr/>
      <dgm:t>
        <a:bodyPr/>
        <a:lstStyle/>
        <a:p>
          <a:r>
            <a:rPr lang="en-US" b="1">
              <a:solidFill>
                <a:schemeClr val="accent3"/>
              </a:solidFill>
            </a:rPr>
            <a:t>SECURITY </a:t>
          </a:r>
          <a:r>
            <a:rPr lang="en-US" b="1" dirty="0">
              <a:solidFill>
                <a:schemeClr val="accent3"/>
              </a:solidFill>
            </a:rPr>
            <a:t>CENTER</a:t>
          </a:r>
          <a:endParaRPr lang="en-US" dirty="0"/>
        </a:p>
      </dgm:t>
    </dgm:pt>
    <dgm:pt modelId="{ABCD3A76-EC9B-4E22-9D60-69F6B8544EF3}" type="parTrans" cxnId="{177783E6-4A21-4A05-ACFD-86FDD16FB6B7}">
      <dgm:prSet/>
      <dgm:spPr/>
      <dgm:t>
        <a:bodyPr/>
        <a:lstStyle/>
        <a:p>
          <a:endParaRPr lang="en-US"/>
        </a:p>
      </dgm:t>
    </dgm:pt>
    <dgm:pt modelId="{EA758EEA-65F9-4DD9-9A8B-736460BCBE30}" type="sibTrans" cxnId="{177783E6-4A21-4A05-ACFD-86FDD16FB6B7}">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D55925D8-6413-4A71-B905-742213C3B9DC}" type="pres">
      <dgm:prSet presAssocID="{FA3E7DFC-B32C-4945-AA9D-DA25484DE241}" presName="composite" presStyleCnt="0"/>
      <dgm:spPr/>
    </dgm:pt>
    <dgm:pt modelId="{3DAAA680-B383-4656-8C93-44C4737A339D}" type="pres">
      <dgm:prSet presAssocID="{FA3E7DFC-B32C-4945-AA9D-DA25484DE241}" presName="rect1" presStyleLbl="trAlignAcc1" presStyleIdx="0" presStyleCnt="4">
        <dgm:presLayoutVars>
          <dgm:bulletEnabled val="1"/>
        </dgm:presLayoutVars>
      </dgm:prSet>
      <dgm:spPr/>
    </dgm:pt>
    <dgm:pt modelId="{F20D35F3-7A14-445E-A385-795B572C4F60}" type="pres">
      <dgm:prSet presAssocID="{FA3E7DFC-B32C-4945-AA9D-DA25484DE241}" presName="rect2"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dgm:spPr>
    </dgm:pt>
    <dgm:pt modelId="{915874B9-1512-43B4-AF37-94470DA3DBBA}" type="pres">
      <dgm:prSet presAssocID="{630642ED-28AA-4B55-8B10-4C1F0E1263C9}" presName="sibTrans" presStyleCnt="0"/>
      <dgm:spPr/>
    </dgm:pt>
    <dgm:pt modelId="{94DF2692-6829-4B04-85C0-F21477FFA6C5}" type="pres">
      <dgm:prSet presAssocID="{6956F6DF-3A6E-4CD7-9BC3-9F73C2F8339A}" presName="composite" presStyleCnt="0"/>
      <dgm:spPr/>
    </dgm:pt>
    <dgm:pt modelId="{1B23234D-C620-49E9-A28C-77C56C47CACA}" type="pres">
      <dgm:prSet presAssocID="{6956F6DF-3A6E-4CD7-9BC3-9F73C2F8339A}" presName="rect1" presStyleLbl="trAlignAcc1" presStyleIdx="1" presStyleCnt="4">
        <dgm:presLayoutVars>
          <dgm:bulletEnabled val="1"/>
        </dgm:presLayoutVars>
      </dgm:prSet>
      <dgm:spPr/>
    </dgm:pt>
    <dgm:pt modelId="{AAD82981-8106-449A-BB2D-766B16179B93}" type="pres">
      <dgm:prSet presAssocID="{6956F6DF-3A6E-4CD7-9BC3-9F73C2F8339A}"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dgm:spPr>
    </dgm:pt>
    <dgm:pt modelId="{7A4CC968-0AF8-4B6A-BB1B-3BC1BCEA9B77}" type="pres">
      <dgm:prSet presAssocID="{B5F0A979-AF93-45B7-9FC2-F984A4C8AF38}" presName="sibTrans" presStyleCnt="0"/>
      <dgm:spPr/>
    </dgm:pt>
    <dgm:pt modelId="{49981D68-9A24-444B-A0DC-4C1676884695}" type="pres">
      <dgm:prSet presAssocID="{898045A1-1ECA-47B9-973C-19E77676BB64}" presName="composite" presStyleCnt="0"/>
      <dgm:spPr/>
    </dgm:pt>
    <dgm:pt modelId="{B9D17107-D205-4EB0-83D6-EA1B647D1285}" type="pres">
      <dgm:prSet presAssocID="{898045A1-1ECA-47B9-973C-19E77676BB64}" presName="rect1" presStyleLbl="trAlignAcc1" presStyleIdx="2" presStyleCnt="4">
        <dgm:presLayoutVars>
          <dgm:bulletEnabled val="1"/>
        </dgm:presLayoutVars>
      </dgm:prSet>
      <dgm:spPr/>
    </dgm:pt>
    <dgm:pt modelId="{BD8C0EC6-044B-4019-9121-C3EE844FBD15}" type="pres">
      <dgm:prSet presAssocID="{898045A1-1ECA-47B9-973C-19E77676BB64}" presName="rect2"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16000" b="-16000"/>
          </a:stretch>
        </a:blipFill>
      </dgm:spPr>
    </dgm:pt>
    <dgm:pt modelId="{575659E4-1F0F-4F91-9650-62EE5D0D977D}" type="pres">
      <dgm:prSet presAssocID="{EA758EEA-65F9-4DD9-9A8B-736460BCBE30}" presName="sibTrans" presStyleCnt="0"/>
      <dgm:spPr/>
    </dgm:pt>
    <dgm:pt modelId="{25B2E831-EB2E-4D58-86D2-C53E3E4EBDFC}" type="pres">
      <dgm:prSet presAssocID="{4E47720E-D8E8-4F0F-AA67-8D0D1C5BF66D}" presName="composite" presStyleCnt="0"/>
      <dgm:spPr/>
    </dgm:pt>
    <dgm:pt modelId="{68B1426B-3E92-4AFE-9BC3-EFD78C5290BD}" type="pres">
      <dgm:prSet presAssocID="{4E47720E-D8E8-4F0F-AA67-8D0D1C5BF66D}" presName="rect1" presStyleLbl="trAlignAcc1" presStyleIdx="3" presStyleCnt="4">
        <dgm:presLayoutVars>
          <dgm:bulletEnabled val="1"/>
        </dgm:presLayoutVars>
      </dgm:prSet>
      <dgm:spPr/>
    </dgm:pt>
    <dgm:pt modelId="{B0017A79-B35A-491D-88CF-17F6E80BAFA1}" type="pres">
      <dgm:prSet presAssocID="{4E47720E-D8E8-4F0F-AA67-8D0D1C5BF66D}" presName="rect2"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dgm:spPr>
    </dgm:pt>
  </dgm:ptLst>
  <dgm:cxnLst>
    <dgm:cxn modelId="{74AA1D0C-25DB-4849-856F-0E7ADB8EE177}" type="presOf" srcId="{4E47720E-D8E8-4F0F-AA67-8D0D1C5BF66D}" destId="{68B1426B-3E92-4AFE-9BC3-EFD78C5290BD}" srcOrd="0" destOrd="0" presId="urn:microsoft.com/office/officeart/2008/layout/PictureStrips"/>
    <dgm:cxn modelId="{7F96C110-B40D-411B-83B8-BA706F8A75AF}" type="presOf" srcId="{F05510B8-6014-46A2-B2AD-A1EB34C20243}" destId="{3DAAA680-B383-4656-8C93-44C4737A339D}" srcOrd="0" destOrd="1" presId="urn:microsoft.com/office/officeart/2008/layout/PictureStrips"/>
    <dgm:cxn modelId="{6C109514-F8A6-417D-A4A9-7C192132EC36}" srcId="{9C436FA6-C4B3-4297-B941-7DC33619251A}" destId="{6956F6DF-3A6E-4CD7-9BC3-9F73C2F8339A}" srcOrd="1" destOrd="0" parTransId="{BF22CD32-6D3E-438F-8C32-DBE0C7B4B309}" sibTransId="{B5F0A979-AF93-45B7-9FC2-F984A4C8AF38}"/>
    <dgm:cxn modelId="{2CE5E71C-4F87-4704-A871-8D45B30F33B5}" srcId="{FA3E7DFC-B32C-4945-AA9D-DA25484DE241}" destId="{F05510B8-6014-46A2-B2AD-A1EB34C20243}" srcOrd="0" destOrd="0" parTransId="{B0348F66-5805-4414-84F0-EE0B9EC973A1}" sibTransId="{763F83D1-A877-43B4-96B2-9AA4141839A6}"/>
    <dgm:cxn modelId="{2B070F20-D7B2-4119-A658-226147CCC737}" type="presOf" srcId="{FA3E7DFC-B32C-4945-AA9D-DA25484DE241}" destId="{3DAAA680-B383-4656-8C93-44C4737A339D}" srcOrd="0" destOrd="0" presId="urn:microsoft.com/office/officeart/2008/layout/PictureStrips"/>
    <dgm:cxn modelId="{06307722-54C8-46A3-A0A1-DD86A333E2BA}" type="presOf" srcId="{9C436FA6-C4B3-4297-B941-7DC33619251A}" destId="{A2978229-6566-4399-93E1-57DDAFBDFE3D}" srcOrd="0" destOrd="0" presId="urn:microsoft.com/office/officeart/2008/layout/PictureStrips"/>
    <dgm:cxn modelId="{D57B5623-522A-473D-A4BE-7C7D9DF45E8F}" srcId="{FA3E7DFC-B32C-4945-AA9D-DA25484DE241}" destId="{EECAEDF5-BB22-4546-870C-321472927FDB}" srcOrd="1" destOrd="0" parTransId="{080EBBFA-16FD-4005-87DB-FD4419CE51E3}" sibTransId="{CA9A46C9-6263-44ED-BDF2-9CEFB2E4EDE3}"/>
    <dgm:cxn modelId="{843FE633-4120-426C-9A3F-CF50C47EF950}" type="presOf" srcId="{CF6221D0-60FD-4D35-AB69-395299AB6216}" destId="{B9D17107-D205-4EB0-83D6-EA1B647D1285}" srcOrd="0" destOrd="1" presId="urn:microsoft.com/office/officeart/2008/layout/PictureStrips"/>
    <dgm:cxn modelId="{44092B3E-44E8-4211-BFE2-4B308D872A21}" type="presOf" srcId="{2395DD3C-DBCD-4DD6-9A63-4AC769287D2F}" destId="{68B1426B-3E92-4AFE-9BC3-EFD78C5290BD}" srcOrd="0" destOrd="2" presId="urn:microsoft.com/office/officeart/2008/layout/PictureStrips"/>
    <dgm:cxn modelId="{1D61383F-C7B5-4900-8FF5-9D5220C62F3B}" srcId="{898045A1-1ECA-47B9-973C-19E77676BB64}" destId="{CF6221D0-60FD-4D35-AB69-395299AB6216}" srcOrd="0" destOrd="0" parTransId="{98486C24-7AE5-4C85-B3C2-4A4C45A8CB0C}" sibTransId="{B137BF09-CA12-4C77-888E-31827640ECC6}"/>
    <dgm:cxn modelId="{E09A7F5B-BADA-46D2-9D08-60838A49BAFE}" type="presOf" srcId="{FE291DFC-AC0A-44A1-9462-EA6F6DB8B077}" destId="{B9D17107-D205-4EB0-83D6-EA1B647D1285}" srcOrd="0" destOrd="2" presId="urn:microsoft.com/office/officeart/2008/layout/PictureStrips"/>
    <dgm:cxn modelId="{E8052C66-B639-458A-A5C0-98E691F0512B}" srcId="{4E47720E-D8E8-4F0F-AA67-8D0D1C5BF66D}" destId="{74E4692E-3C1F-4DC9-927A-D1AF6118AA3F}" srcOrd="0" destOrd="0" parTransId="{E0ACEEDA-C59C-44AB-ABB7-BCB89F670CED}" sibTransId="{41BC6D40-90FC-47EC-B807-463E4C8B8220}"/>
    <dgm:cxn modelId="{9BB2DE47-5F0F-4153-BB53-69F1E34D0F5D}" type="presOf" srcId="{819A5B76-E940-4603-9897-1C903FF0F659}" destId="{1B23234D-C620-49E9-A28C-77C56C47CACA}" srcOrd="0" destOrd="2" presId="urn:microsoft.com/office/officeart/2008/layout/PictureStrips"/>
    <dgm:cxn modelId="{E2DA406E-6A6E-4AF6-8B4F-00F2C70B6902}" type="presOf" srcId="{83BF8A20-C979-4AF1-8108-23470483AB29}" destId="{1B23234D-C620-49E9-A28C-77C56C47CACA}" srcOrd="0" destOrd="1" presId="urn:microsoft.com/office/officeart/2008/layout/PictureStrips"/>
    <dgm:cxn modelId="{36EF7F77-D370-4F4F-80D9-81386633B9E9}" srcId="{6956F6DF-3A6E-4CD7-9BC3-9F73C2F8339A}" destId="{819A5B76-E940-4603-9897-1C903FF0F659}" srcOrd="1" destOrd="0" parTransId="{D1B7863D-1297-4234-B0DB-E054C938421F}" sibTransId="{28354A57-75CC-4AD8-AE0F-EBEBFB934EEC}"/>
    <dgm:cxn modelId="{43FE697C-E1D1-4EF5-8F88-B16C2032886B}" type="presOf" srcId="{74E4692E-3C1F-4DC9-927A-D1AF6118AA3F}" destId="{68B1426B-3E92-4AFE-9BC3-EFD78C5290BD}" srcOrd="0" destOrd="1" presId="urn:microsoft.com/office/officeart/2008/layout/PictureStrips"/>
    <dgm:cxn modelId="{BC766A92-F177-441E-82D9-267E4249F552}" srcId="{9C436FA6-C4B3-4297-B941-7DC33619251A}" destId="{4E47720E-D8E8-4F0F-AA67-8D0D1C5BF66D}" srcOrd="3" destOrd="0" parTransId="{63D05F9D-E1C7-4A57-AA95-D38D6AC7AF0E}" sibTransId="{D4A8A77D-6828-403F-845A-270C2A0F9D30}"/>
    <dgm:cxn modelId="{F0A082A7-989E-46F0-96C5-642F95A1FB24}" srcId="{4E47720E-D8E8-4F0F-AA67-8D0D1C5BF66D}" destId="{2395DD3C-DBCD-4DD6-9A63-4AC769287D2F}" srcOrd="1" destOrd="0" parTransId="{91A3E05A-5881-4252-B380-A923630E0392}" sibTransId="{1B8DEEFB-F093-4579-8707-165CB83297BE}"/>
    <dgm:cxn modelId="{B8BD57A8-F240-4A86-93A3-64D1B4C4010F}" srcId="{6956F6DF-3A6E-4CD7-9BC3-9F73C2F8339A}" destId="{83BF8A20-C979-4AF1-8108-23470483AB29}" srcOrd="0" destOrd="0" parTransId="{F514289F-EC4F-4AF0-93FF-35667E0DBE95}" sibTransId="{20859A6A-908B-4B73-B6FA-C478B1C3AD14}"/>
    <dgm:cxn modelId="{828278B0-677D-472C-959D-36F429D2C4C7}" srcId="{898045A1-1ECA-47B9-973C-19E77676BB64}" destId="{FE291DFC-AC0A-44A1-9462-EA6F6DB8B077}" srcOrd="1" destOrd="0" parTransId="{662C3709-7E3A-4E27-B03C-8150D7E92E0E}" sibTransId="{CD2904F1-4EFA-4340-919E-66A65413D30D}"/>
    <dgm:cxn modelId="{3D97DCD8-FD2C-4F50-85D8-FA2CD7992BD0}" type="presOf" srcId="{6956F6DF-3A6E-4CD7-9BC3-9F73C2F8339A}" destId="{1B23234D-C620-49E9-A28C-77C56C47CACA}" srcOrd="0" destOrd="0" presId="urn:microsoft.com/office/officeart/2008/layout/PictureStrips"/>
    <dgm:cxn modelId="{A5CAAAE3-C4E8-469C-ABF9-E497B854AB88}" srcId="{9C436FA6-C4B3-4297-B941-7DC33619251A}" destId="{FA3E7DFC-B32C-4945-AA9D-DA25484DE241}" srcOrd="0" destOrd="0" parTransId="{A57BA6F8-BBF3-4023-80FC-30C585454073}" sibTransId="{630642ED-28AA-4B55-8B10-4C1F0E1263C9}"/>
    <dgm:cxn modelId="{D612E1E4-ED8B-4EC7-81D4-211B9F838E58}" type="presOf" srcId="{EECAEDF5-BB22-4546-870C-321472927FDB}" destId="{3DAAA680-B383-4656-8C93-44C4737A339D}" srcOrd="0" destOrd="2" presId="urn:microsoft.com/office/officeart/2008/layout/PictureStrips"/>
    <dgm:cxn modelId="{177783E6-4A21-4A05-ACFD-86FDD16FB6B7}" srcId="{9C436FA6-C4B3-4297-B941-7DC33619251A}" destId="{898045A1-1ECA-47B9-973C-19E77676BB64}" srcOrd="2" destOrd="0" parTransId="{ABCD3A76-EC9B-4E22-9D60-69F6B8544EF3}" sibTransId="{EA758EEA-65F9-4DD9-9A8B-736460BCBE30}"/>
    <dgm:cxn modelId="{F767E6EF-59C7-47D7-AA4B-5154E5834625}" type="presOf" srcId="{898045A1-1ECA-47B9-973C-19E77676BB64}" destId="{B9D17107-D205-4EB0-83D6-EA1B647D1285}" srcOrd="0" destOrd="0" presId="urn:microsoft.com/office/officeart/2008/layout/PictureStrips"/>
    <dgm:cxn modelId="{807796D8-3022-48CD-B5E5-D8A033E7A1F5}" type="presParOf" srcId="{A2978229-6566-4399-93E1-57DDAFBDFE3D}" destId="{D55925D8-6413-4A71-B905-742213C3B9DC}" srcOrd="0" destOrd="0" presId="urn:microsoft.com/office/officeart/2008/layout/PictureStrips"/>
    <dgm:cxn modelId="{1DE92485-6469-4502-9B3F-37360ED6E0AE}" type="presParOf" srcId="{D55925D8-6413-4A71-B905-742213C3B9DC}" destId="{3DAAA680-B383-4656-8C93-44C4737A339D}" srcOrd="0" destOrd="0" presId="urn:microsoft.com/office/officeart/2008/layout/PictureStrips"/>
    <dgm:cxn modelId="{26903419-2716-4684-A072-AFED1FFB1154}" type="presParOf" srcId="{D55925D8-6413-4A71-B905-742213C3B9DC}" destId="{F20D35F3-7A14-445E-A385-795B572C4F60}" srcOrd="1" destOrd="0" presId="urn:microsoft.com/office/officeart/2008/layout/PictureStrips"/>
    <dgm:cxn modelId="{9060E087-1EE9-493E-83CF-EC87562509DD}" type="presParOf" srcId="{A2978229-6566-4399-93E1-57DDAFBDFE3D}" destId="{915874B9-1512-43B4-AF37-94470DA3DBBA}" srcOrd="1" destOrd="0" presId="urn:microsoft.com/office/officeart/2008/layout/PictureStrips"/>
    <dgm:cxn modelId="{8EB8C8DC-45B9-479E-8EDA-C13CC762D86C}" type="presParOf" srcId="{A2978229-6566-4399-93E1-57DDAFBDFE3D}" destId="{94DF2692-6829-4B04-85C0-F21477FFA6C5}" srcOrd="2" destOrd="0" presId="urn:microsoft.com/office/officeart/2008/layout/PictureStrips"/>
    <dgm:cxn modelId="{A9ED34BC-1DAC-4DE5-AD9A-F5C650DC9D51}" type="presParOf" srcId="{94DF2692-6829-4B04-85C0-F21477FFA6C5}" destId="{1B23234D-C620-49E9-A28C-77C56C47CACA}" srcOrd="0" destOrd="0" presId="urn:microsoft.com/office/officeart/2008/layout/PictureStrips"/>
    <dgm:cxn modelId="{46E46D76-2CC3-4317-A14C-2A045083DDE9}" type="presParOf" srcId="{94DF2692-6829-4B04-85C0-F21477FFA6C5}" destId="{AAD82981-8106-449A-BB2D-766B16179B93}" srcOrd="1" destOrd="0" presId="urn:microsoft.com/office/officeart/2008/layout/PictureStrips"/>
    <dgm:cxn modelId="{B2C63AEA-833D-4D44-8869-2E18F32B96E9}" type="presParOf" srcId="{A2978229-6566-4399-93E1-57DDAFBDFE3D}" destId="{7A4CC968-0AF8-4B6A-BB1B-3BC1BCEA9B77}" srcOrd="3" destOrd="0" presId="urn:microsoft.com/office/officeart/2008/layout/PictureStrips"/>
    <dgm:cxn modelId="{ED404843-55D1-43CE-AF53-C351039AAB2D}" type="presParOf" srcId="{A2978229-6566-4399-93E1-57DDAFBDFE3D}" destId="{49981D68-9A24-444B-A0DC-4C1676884695}" srcOrd="4" destOrd="0" presId="urn:microsoft.com/office/officeart/2008/layout/PictureStrips"/>
    <dgm:cxn modelId="{AC3A2866-40B8-419A-81EB-B0539922C035}" type="presParOf" srcId="{49981D68-9A24-444B-A0DC-4C1676884695}" destId="{B9D17107-D205-4EB0-83D6-EA1B647D1285}" srcOrd="0" destOrd="0" presId="urn:microsoft.com/office/officeart/2008/layout/PictureStrips"/>
    <dgm:cxn modelId="{1870E22F-FCC5-4BC8-B908-BC62E836E3C7}" type="presParOf" srcId="{49981D68-9A24-444B-A0DC-4C1676884695}" destId="{BD8C0EC6-044B-4019-9121-C3EE844FBD15}" srcOrd="1" destOrd="0" presId="urn:microsoft.com/office/officeart/2008/layout/PictureStrips"/>
    <dgm:cxn modelId="{C7C752BD-93D5-411A-A993-8D898A71D940}" type="presParOf" srcId="{A2978229-6566-4399-93E1-57DDAFBDFE3D}" destId="{575659E4-1F0F-4F91-9650-62EE5D0D977D}" srcOrd="5" destOrd="0" presId="urn:microsoft.com/office/officeart/2008/layout/PictureStrips"/>
    <dgm:cxn modelId="{598D227A-5888-4C81-B137-13F372CA40BC}" type="presParOf" srcId="{A2978229-6566-4399-93E1-57DDAFBDFE3D}" destId="{25B2E831-EB2E-4D58-86D2-C53E3E4EBDFC}" srcOrd="6" destOrd="0" presId="urn:microsoft.com/office/officeart/2008/layout/PictureStrips"/>
    <dgm:cxn modelId="{050BD4F1-1ABA-4AC4-BA51-93E56CCC0BFD}" type="presParOf" srcId="{25B2E831-EB2E-4D58-86D2-C53E3E4EBDFC}" destId="{68B1426B-3E92-4AFE-9BC3-EFD78C5290BD}" srcOrd="0" destOrd="0" presId="urn:microsoft.com/office/officeart/2008/layout/PictureStrips"/>
    <dgm:cxn modelId="{30D4B4B3-EE4F-4916-A923-0E3EEB542E91}" type="presParOf" srcId="{25B2E831-EB2E-4D58-86D2-C53E3E4EBDFC}" destId="{B0017A79-B35A-491D-88CF-17F6E80BAFA1}" srcOrd="1" destOrd="0" presId="urn:microsoft.com/office/officeart/2008/layout/PictureStrips"/>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436FA6-C4B3-4297-B941-7DC33619251A}" type="doc">
      <dgm:prSet loTypeId="urn:microsoft.com/office/officeart/2008/layout/PictureStrips" loCatId="picture" qsTypeId="urn:microsoft.com/office/officeart/2005/8/quickstyle/simple5" qsCatId="simple" csTypeId="urn:microsoft.com/office/officeart/2005/8/colors/accent2_1" csCatId="accent2" phldr="1"/>
      <dgm:spPr/>
    </dgm:pt>
    <dgm:pt modelId="{E8219ABB-3550-4864-B5CB-F4A631776614}">
      <dgm:prSet phldrT="[Text]"/>
      <dgm:spPr/>
      <dgm:t>
        <a:bodyPr/>
        <a:lstStyle/>
        <a:p>
          <a:r>
            <a:rPr lang="en-US" b="1" dirty="0">
              <a:solidFill>
                <a:schemeClr val="accent4"/>
              </a:solidFill>
            </a:rPr>
            <a:t>AZURE</a:t>
          </a:r>
          <a:r>
            <a:rPr lang="en-US" b="1" dirty="0"/>
            <a:t> </a:t>
          </a:r>
          <a:r>
            <a:rPr lang="en-US" b="1" dirty="0">
              <a:solidFill>
                <a:schemeClr val="accent4"/>
              </a:solidFill>
            </a:rPr>
            <a:t>AD</a:t>
          </a:r>
        </a:p>
      </dgm:t>
    </dgm:pt>
    <dgm:pt modelId="{A34942A6-48E6-433F-BC59-22116C794B1B}" type="parTrans" cxnId="{92833712-813A-4AD0-A20F-80C33CFF2159}">
      <dgm:prSet/>
      <dgm:spPr/>
      <dgm:t>
        <a:bodyPr/>
        <a:lstStyle/>
        <a:p>
          <a:endParaRPr lang="en-US"/>
        </a:p>
      </dgm:t>
    </dgm:pt>
    <dgm:pt modelId="{8DD2B589-B052-4F12-86A9-D7AA624669DD}" type="sibTrans" cxnId="{92833712-813A-4AD0-A20F-80C33CFF2159}">
      <dgm:prSet/>
      <dgm:spPr/>
      <dgm:t>
        <a:bodyPr/>
        <a:lstStyle/>
        <a:p>
          <a:endParaRPr lang="en-US"/>
        </a:p>
      </dgm:t>
    </dgm:pt>
    <dgm:pt modelId="{FBFC7BE1-FBB0-4291-8523-674DF58A8C68}">
      <dgm:prSet phldrT="[Text]"/>
      <dgm:spPr/>
      <dgm:t>
        <a:bodyPr/>
        <a:lstStyle/>
        <a:p>
          <a:r>
            <a:rPr lang="en-US" b="1" dirty="0">
              <a:solidFill>
                <a:schemeClr val="accent4"/>
              </a:solidFill>
            </a:rPr>
            <a:t>KEY</a:t>
          </a:r>
          <a:r>
            <a:rPr lang="en-US" b="1" dirty="0"/>
            <a:t> </a:t>
          </a:r>
          <a:r>
            <a:rPr lang="en-US" b="1" dirty="0">
              <a:solidFill>
                <a:schemeClr val="accent4"/>
              </a:solidFill>
            </a:rPr>
            <a:t>VAULT</a:t>
          </a:r>
        </a:p>
      </dgm:t>
    </dgm:pt>
    <dgm:pt modelId="{8F05C0C4-8290-4EF3-8350-382C277FF900}" type="parTrans" cxnId="{72CF8DB8-BB3B-4D74-A245-1AB6691A989A}">
      <dgm:prSet/>
      <dgm:spPr/>
      <dgm:t>
        <a:bodyPr/>
        <a:lstStyle/>
        <a:p>
          <a:endParaRPr lang="en-US"/>
        </a:p>
      </dgm:t>
    </dgm:pt>
    <dgm:pt modelId="{CB90D75A-2897-4B63-9649-EF36753511BE}" type="sibTrans" cxnId="{72CF8DB8-BB3B-4D74-A245-1AB6691A989A}">
      <dgm:prSet/>
      <dgm:spPr/>
      <dgm:t>
        <a:bodyPr/>
        <a:lstStyle/>
        <a:p>
          <a:endParaRPr lang="en-US"/>
        </a:p>
      </dgm:t>
    </dgm:pt>
    <dgm:pt modelId="{AB53D60C-9A04-4859-9F1F-EF13C81AE059}">
      <dgm:prSet phldrT="[Text]"/>
      <dgm:spPr/>
      <dgm:t>
        <a:bodyPr/>
        <a:lstStyle/>
        <a:p>
          <a:r>
            <a:rPr lang="en-US" dirty="0"/>
            <a:t>Multi-factor authentication</a:t>
          </a:r>
        </a:p>
      </dgm:t>
    </dgm:pt>
    <dgm:pt modelId="{B7B32105-BFA8-41B5-BA06-1F43799BFD62}" type="parTrans" cxnId="{40A8B503-1183-4CAE-9E9E-5C64561EB7EF}">
      <dgm:prSet/>
      <dgm:spPr/>
      <dgm:t>
        <a:bodyPr/>
        <a:lstStyle/>
        <a:p>
          <a:endParaRPr lang="en-US"/>
        </a:p>
      </dgm:t>
    </dgm:pt>
    <dgm:pt modelId="{76D1B845-9C8E-4D27-93B9-636087830501}" type="sibTrans" cxnId="{40A8B503-1183-4CAE-9E9E-5C64561EB7EF}">
      <dgm:prSet/>
      <dgm:spPr/>
      <dgm:t>
        <a:bodyPr/>
        <a:lstStyle/>
        <a:p>
          <a:endParaRPr lang="en-US"/>
        </a:p>
      </dgm:t>
    </dgm:pt>
    <dgm:pt modelId="{CC3A506B-F115-4354-8010-8A3985F03258}">
      <dgm:prSet phldrT="[Text]"/>
      <dgm:spPr/>
      <dgm:t>
        <a:bodyPr/>
        <a:lstStyle/>
        <a:p>
          <a:r>
            <a:rPr lang="en-US" dirty="0"/>
            <a:t>Data encryption</a:t>
          </a:r>
        </a:p>
      </dgm:t>
    </dgm:pt>
    <dgm:pt modelId="{392DBDD2-ED9B-49C0-8900-F16D8C8E568A}" type="parTrans" cxnId="{4FF420E7-D9A2-4762-8DD4-AF743884A940}">
      <dgm:prSet/>
      <dgm:spPr/>
      <dgm:t>
        <a:bodyPr/>
        <a:lstStyle/>
        <a:p>
          <a:endParaRPr lang="en-US"/>
        </a:p>
      </dgm:t>
    </dgm:pt>
    <dgm:pt modelId="{FF72E6E7-C60D-4645-85DE-6B5F819665F4}" type="sibTrans" cxnId="{4FF420E7-D9A2-4762-8DD4-AF743884A940}">
      <dgm:prSet/>
      <dgm:spPr/>
      <dgm:t>
        <a:bodyPr/>
        <a:lstStyle/>
        <a:p>
          <a:endParaRPr lang="en-US"/>
        </a:p>
      </dgm:t>
    </dgm:pt>
    <dgm:pt modelId="{C76B6EBC-9E0E-4AF8-A807-E80A287E5BD4}">
      <dgm:prSet phldrT="[Text]"/>
      <dgm:spPr/>
      <dgm:t>
        <a:bodyPr/>
        <a:lstStyle/>
        <a:p>
          <a:r>
            <a:rPr lang="en-US" dirty="0"/>
            <a:t>Key/password management</a:t>
          </a:r>
        </a:p>
      </dgm:t>
    </dgm:pt>
    <dgm:pt modelId="{109A3D41-5373-4DFA-8004-4C4DB8000E7A}" type="parTrans" cxnId="{C3CE2554-D5E5-4F98-951C-E44BE7627461}">
      <dgm:prSet/>
      <dgm:spPr/>
      <dgm:t>
        <a:bodyPr/>
        <a:lstStyle/>
        <a:p>
          <a:endParaRPr lang="en-US"/>
        </a:p>
      </dgm:t>
    </dgm:pt>
    <dgm:pt modelId="{34C4DACF-F1B0-439B-9D3B-FEE14DE456E1}" type="sibTrans" cxnId="{C3CE2554-D5E5-4F98-951C-E44BE7627461}">
      <dgm:prSet/>
      <dgm:spPr/>
      <dgm:t>
        <a:bodyPr/>
        <a:lstStyle/>
        <a:p>
          <a:endParaRPr lang="en-US"/>
        </a:p>
      </dgm:t>
    </dgm:pt>
    <dgm:pt modelId="{1C3D63FD-7381-45C9-82B5-881BDA2D8E1E}">
      <dgm:prSet phldrT="[Text]"/>
      <dgm:spPr/>
      <dgm:t>
        <a:bodyPr/>
        <a:lstStyle/>
        <a:p>
          <a:r>
            <a:rPr lang="en-US" b="1" dirty="0">
              <a:solidFill>
                <a:schemeClr val="accent4"/>
              </a:solidFill>
            </a:rPr>
            <a:t>BACKUP</a:t>
          </a:r>
        </a:p>
      </dgm:t>
    </dgm:pt>
    <dgm:pt modelId="{9D79C46E-52AF-483C-B37D-4159EF9FC531}" type="parTrans" cxnId="{3666C7C6-0CBF-461C-AFC8-C3222ADD9034}">
      <dgm:prSet/>
      <dgm:spPr/>
      <dgm:t>
        <a:bodyPr/>
        <a:lstStyle/>
        <a:p>
          <a:endParaRPr lang="en-US"/>
        </a:p>
      </dgm:t>
    </dgm:pt>
    <dgm:pt modelId="{724CADB8-D7CF-4216-9F29-888B6D054060}" type="sibTrans" cxnId="{3666C7C6-0CBF-461C-AFC8-C3222ADD9034}">
      <dgm:prSet/>
      <dgm:spPr/>
      <dgm:t>
        <a:bodyPr/>
        <a:lstStyle/>
        <a:p>
          <a:endParaRPr lang="en-US"/>
        </a:p>
      </dgm:t>
    </dgm:pt>
    <dgm:pt modelId="{EA433F26-758F-42B0-97BD-8C1CD411AD08}">
      <dgm:prSet phldrT="[Text]"/>
      <dgm:spPr/>
      <dgm:t>
        <a:bodyPr/>
        <a:lstStyle/>
        <a:p>
          <a:r>
            <a:rPr lang="en-US" dirty="0"/>
            <a:t>VM backups</a:t>
          </a:r>
        </a:p>
      </dgm:t>
    </dgm:pt>
    <dgm:pt modelId="{F46EDD96-D577-4A1F-915F-9EC61DCCD6DE}" type="parTrans" cxnId="{8443AF06-3CB8-4169-9475-4BADBB94998C}">
      <dgm:prSet/>
      <dgm:spPr/>
      <dgm:t>
        <a:bodyPr/>
        <a:lstStyle/>
        <a:p>
          <a:endParaRPr lang="en-US"/>
        </a:p>
      </dgm:t>
    </dgm:pt>
    <dgm:pt modelId="{F4235C1E-923E-4C80-8E44-4C4EA2EDBD94}" type="sibTrans" cxnId="{8443AF06-3CB8-4169-9475-4BADBB94998C}">
      <dgm:prSet/>
      <dgm:spPr/>
      <dgm:t>
        <a:bodyPr/>
        <a:lstStyle/>
        <a:p>
          <a:endParaRPr lang="en-US"/>
        </a:p>
      </dgm:t>
    </dgm:pt>
    <dgm:pt modelId="{5731E41C-5F77-45FC-AE97-C6C12D35538C}">
      <dgm:prSet phldrT="[Text]"/>
      <dgm:spPr/>
      <dgm:t>
        <a:bodyPr/>
        <a:lstStyle/>
        <a:p>
          <a:r>
            <a:rPr lang="en-US" dirty="0"/>
            <a:t>File and folder backups</a:t>
          </a:r>
        </a:p>
      </dgm:t>
    </dgm:pt>
    <dgm:pt modelId="{CBCC99DB-3D7A-4EAF-B3E4-594BF672D94E}" type="parTrans" cxnId="{C450FBB3-32D5-4D20-BD0D-5BE98BCEBD85}">
      <dgm:prSet/>
      <dgm:spPr/>
      <dgm:t>
        <a:bodyPr/>
        <a:lstStyle/>
        <a:p>
          <a:endParaRPr lang="en-US"/>
        </a:p>
      </dgm:t>
    </dgm:pt>
    <dgm:pt modelId="{47457806-CEFC-4BA4-B29C-45D95EB3723F}" type="sibTrans" cxnId="{C450FBB3-32D5-4D20-BD0D-5BE98BCEBD85}">
      <dgm:prSet/>
      <dgm:spPr/>
      <dgm:t>
        <a:bodyPr/>
        <a:lstStyle/>
        <a:p>
          <a:endParaRPr lang="en-US"/>
        </a:p>
      </dgm:t>
    </dgm:pt>
    <dgm:pt modelId="{FA3E7DFC-B32C-4945-AA9D-DA25484DE241}">
      <dgm:prSet phldrT="[Text]"/>
      <dgm:spPr/>
      <dgm:t>
        <a:bodyPr/>
        <a:lstStyle/>
        <a:p>
          <a:r>
            <a:rPr lang="en-US" b="1" dirty="0">
              <a:solidFill>
                <a:schemeClr val="accent4"/>
              </a:solidFill>
            </a:rPr>
            <a:t>SITE</a:t>
          </a:r>
          <a:r>
            <a:rPr lang="en-US" b="1" dirty="0"/>
            <a:t> </a:t>
          </a:r>
          <a:r>
            <a:rPr lang="en-US" b="1" dirty="0">
              <a:solidFill>
                <a:schemeClr val="accent4"/>
              </a:solidFill>
            </a:rPr>
            <a:t>RECOVERY</a:t>
          </a:r>
        </a:p>
      </dgm:t>
    </dgm:pt>
    <dgm:pt modelId="{A57BA6F8-BBF3-4023-80FC-30C585454073}" type="parTrans" cxnId="{A5CAAAE3-C4E8-469C-ABF9-E497B854AB88}">
      <dgm:prSet/>
      <dgm:spPr/>
      <dgm:t>
        <a:bodyPr/>
        <a:lstStyle/>
        <a:p>
          <a:endParaRPr lang="en-US"/>
        </a:p>
      </dgm:t>
    </dgm:pt>
    <dgm:pt modelId="{630642ED-28AA-4B55-8B10-4C1F0E1263C9}" type="sibTrans" cxnId="{A5CAAAE3-C4E8-469C-ABF9-E497B854AB88}">
      <dgm:prSet/>
      <dgm:spPr/>
      <dgm:t>
        <a:bodyPr/>
        <a:lstStyle/>
        <a:p>
          <a:endParaRPr lang="en-US"/>
        </a:p>
      </dgm:t>
    </dgm:pt>
    <dgm:pt modelId="{F05510B8-6014-46A2-B2AD-A1EB34C20243}">
      <dgm:prSet phldrT="[Text]"/>
      <dgm:spPr/>
      <dgm:t>
        <a:bodyPr/>
        <a:lstStyle/>
        <a:p>
          <a:r>
            <a:rPr lang="en-US" dirty="0"/>
            <a:t>Regional protection</a:t>
          </a:r>
        </a:p>
      </dgm:t>
    </dgm:pt>
    <dgm:pt modelId="{B0348F66-5805-4414-84F0-EE0B9EC973A1}" type="parTrans" cxnId="{2CE5E71C-4F87-4704-A871-8D45B30F33B5}">
      <dgm:prSet/>
      <dgm:spPr/>
      <dgm:t>
        <a:bodyPr/>
        <a:lstStyle/>
        <a:p>
          <a:endParaRPr lang="en-US"/>
        </a:p>
      </dgm:t>
    </dgm:pt>
    <dgm:pt modelId="{763F83D1-A877-43B4-96B2-9AA4141839A6}" type="sibTrans" cxnId="{2CE5E71C-4F87-4704-A871-8D45B30F33B5}">
      <dgm:prSet/>
      <dgm:spPr/>
      <dgm:t>
        <a:bodyPr/>
        <a:lstStyle/>
        <a:p>
          <a:endParaRPr lang="en-US"/>
        </a:p>
      </dgm:t>
    </dgm:pt>
    <dgm:pt modelId="{D217001F-AE90-4316-A925-5D891B6362D3}">
      <dgm:prSet phldrT="[Text]"/>
      <dgm:spPr/>
      <dgm:t>
        <a:bodyPr/>
        <a:lstStyle/>
        <a:p>
          <a:r>
            <a:rPr lang="en-US" dirty="0"/>
            <a:t>Failover and failback</a:t>
          </a:r>
        </a:p>
      </dgm:t>
    </dgm:pt>
    <dgm:pt modelId="{AFC6A5E0-65C1-4627-9916-05A853D0F2A3}" type="parTrans" cxnId="{00710B67-2D72-4005-8E4C-0753093939C0}">
      <dgm:prSet/>
      <dgm:spPr/>
      <dgm:t>
        <a:bodyPr/>
        <a:lstStyle/>
        <a:p>
          <a:endParaRPr lang="en-US"/>
        </a:p>
      </dgm:t>
    </dgm:pt>
    <dgm:pt modelId="{15EF7D4E-87CE-47BD-95C9-50FF0C4D5393}" type="sibTrans" cxnId="{00710B67-2D72-4005-8E4C-0753093939C0}">
      <dgm:prSet/>
      <dgm:spPr/>
      <dgm:t>
        <a:bodyPr/>
        <a:lstStyle/>
        <a:p>
          <a:endParaRPr lang="en-US"/>
        </a:p>
      </dgm:t>
    </dgm:pt>
    <dgm:pt modelId="{BB59BEC2-5AA7-46F1-BC64-AE30E8D4BA00}">
      <dgm:prSet phldrT="[Text]"/>
      <dgm:spPr/>
      <dgm:t>
        <a:bodyPr/>
        <a:lstStyle/>
        <a:p>
          <a:r>
            <a:rPr lang="en-US" dirty="0"/>
            <a:t>Identity Protection</a:t>
          </a:r>
        </a:p>
      </dgm:t>
    </dgm:pt>
    <dgm:pt modelId="{13B2B79F-1197-469D-A038-C5E54BE92E10}" type="parTrans" cxnId="{81C64BD4-B3A1-4AD2-8724-9593629BA5F7}">
      <dgm:prSet/>
      <dgm:spPr/>
      <dgm:t>
        <a:bodyPr/>
        <a:lstStyle/>
        <a:p>
          <a:endParaRPr lang="en-US"/>
        </a:p>
      </dgm:t>
    </dgm:pt>
    <dgm:pt modelId="{2A5F3C15-5188-4A03-A88D-326E49052182}" type="sibTrans" cxnId="{81C64BD4-B3A1-4AD2-8724-9593629BA5F7}">
      <dgm:prSet/>
      <dgm:spPr/>
      <dgm:t>
        <a:bodyPr/>
        <a:lstStyle/>
        <a:p>
          <a:endParaRPr lang="en-US"/>
        </a:p>
      </dgm:t>
    </dgm:pt>
    <dgm:pt modelId="{A2978229-6566-4399-93E1-57DDAFBDFE3D}" type="pres">
      <dgm:prSet presAssocID="{9C436FA6-C4B3-4297-B941-7DC33619251A}" presName="Name0" presStyleCnt="0">
        <dgm:presLayoutVars>
          <dgm:dir/>
          <dgm:resizeHandles val="exact"/>
        </dgm:presLayoutVars>
      </dgm:prSet>
      <dgm:spPr/>
    </dgm:pt>
    <dgm:pt modelId="{F90DA198-D0A2-45FC-A3B5-7DF96A4BB7D7}" type="pres">
      <dgm:prSet presAssocID="{E8219ABB-3550-4864-B5CB-F4A631776614}" presName="composite" presStyleCnt="0"/>
      <dgm:spPr/>
    </dgm:pt>
    <dgm:pt modelId="{DE9F018E-E6ED-4AEF-A216-43BDABDA4CE5}" type="pres">
      <dgm:prSet presAssocID="{E8219ABB-3550-4864-B5CB-F4A631776614}" presName="rect1" presStyleLbl="trAlignAcc1" presStyleIdx="0" presStyleCnt="4">
        <dgm:presLayoutVars>
          <dgm:bulletEnabled val="1"/>
        </dgm:presLayoutVars>
      </dgm:prSet>
      <dgm:spPr/>
    </dgm:pt>
    <dgm:pt modelId="{15555A21-9339-48F1-B1F3-614EC8C55730}" type="pres">
      <dgm:prSet presAssocID="{E8219ABB-3550-4864-B5CB-F4A631776614}" presName="rect2"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381C84D1-DCD6-489B-AD48-C44AEDBAD8EC}" type="pres">
      <dgm:prSet presAssocID="{8DD2B589-B052-4F12-86A9-D7AA624669DD}" presName="sibTrans" presStyleCnt="0"/>
      <dgm:spPr/>
    </dgm:pt>
    <dgm:pt modelId="{633322A8-BB91-4135-BD49-142D344165E5}" type="pres">
      <dgm:prSet presAssocID="{FBFC7BE1-FBB0-4291-8523-674DF58A8C68}" presName="composite" presStyleCnt="0"/>
      <dgm:spPr/>
    </dgm:pt>
    <dgm:pt modelId="{1DC82DCE-A333-40F9-A3B6-C31B5CE18DA5}" type="pres">
      <dgm:prSet presAssocID="{FBFC7BE1-FBB0-4291-8523-674DF58A8C68}" presName="rect1" presStyleLbl="trAlignAcc1" presStyleIdx="1" presStyleCnt="4">
        <dgm:presLayoutVars>
          <dgm:bulletEnabled val="1"/>
        </dgm:presLayoutVars>
      </dgm:prSet>
      <dgm:spPr/>
    </dgm:pt>
    <dgm:pt modelId="{B581502C-22A5-4861-89E2-7388E2D0C988}" type="pres">
      <dgm:prSet presAssocID="{FBFC7BE1-FBB0-4291-8523-674DF58A8C68}" presName="rect2"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pt>
    <dgm:pt modelId="{38ECD112-5759-438D-93CA-D61801F8D1A9}" type="pres">
      <dgm:prSet presAssocID="{CB90D75A-2897-4B63-9649-EF36753511BE}" presName="sibTrans" presStyleCnt="0"/>
      <dgm:spPr/>
    </dgm:pt>
    <dgm:pt modelId="{6C4B73EF-331B-4990-BEB5-BDE2811CA7AE}" type="pres">
      <dgm:prSet presAssocID="{1C3D63FD-7381-45C9-82B5-881BDA2D8E1E}" presName="composite" presStyleCnt="0"/>
      <dgm:spPr/>
    </dgm:pt>
    <dgm:pt modelId="{63CEF91B-3F6C-4D7E-AC34-1B2895DC9D13}" type="pres">
      <dgm:prSet presAssocID="{1C3D63FD-7381-45C9-82B5-881BDA2D8E1E}" presName="rect1" presStyleLbl="trAlignAcc1" presStyleIdx="2" presStyleCnt="4">
        <dgm:presLayoutVars>
          <dgm:bulletEnabled val="1"/>
        </dgm:presLayoutVars>
      </dgm:prSet>
      <dgm:spPr/>
    </dgm:pt>
    <dgm:pt modelId="{A4FE4FD7-822B-4BF9-B743-604FCC6CACB2}" type="pres">
      <dgm:prSet presAssocID="{1C3D63FD-7381-45C9-82B5-881BDA2D8E1E}" presName="rect2"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dgm:spPr>
    </dgm:pt>
    <dgm:pt modelId="{65E92AA4-3545-48EA-851B-7DCEA7FFC32C}" type="pres">
      <dgm:prSet presAssocID="{724CADB8-D7CF-4216-9F29-888B6D054060}" presName="sibTrans" presStyleCnt="0"/>
      <dgm:spPr/>
    </dgm:pt>
    <dgm:pt modelId="{D55925D8-6413-4A71-B905-742213C3B9DC}" type="pres">
      <dgm:prSet presAssocID="{FA3E7DFC-B32C-4945-AA9D-DA25484DE241}" presName="composite" presStyleCnt="0"/>
      <dgm:spPr/>
    </dgm:pt>
    <dgm:pt modelId="{3DAAA680-B383-4656-8C93-44C4737A339D}" type="pres">
      <dgm:prSet presAssocID="{FA3E7DFC-B32C-4945-AA9D-DA25484DE241}" presName="rect1" presStyleLbl="trAlignAcc1" presStyleIdx="3" presStyleCnt="4">
        <dgm:presLayoutVars>
          <dgm:bulletEnabled val="1"/>
        </dgm:presLayoutVars>
      </dgm:prSet>
      <dgm:spPr/>
    </dgm:pt>
    <dgm:pt modelId="{F20D35F3-7A14-445E-A385-795B572C4F60}" type="pres">
      <dgm:prSet presAssocID="{FA3E7DFC-B32C-4945-AA9D-DA25484DE241}" presName="rect2"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dgm:spPr>
    </dgm:pt>
  </dgm:ptLst>
  <dgm:cxnLst>
    <dgm:cxn modelId="{40A8B503-1183-4CAE-9E9E-5C64561EB7EF}" srcId="{E8219ABB-3550-4864-B5CB-F4A631776614}" destId="{AB53D60C-9A04-4859-9F1F-EF13C81AE059}" srcOrd="0" destOrd="0" parTransId="{B7B32105-BFA8-41B5-BA06-1F43799BFD62}" sibTransId="{76D1B845-9C8E-4D27-93B9-636087830501}"/>
    <dgm:cxn modelId="{9D93AC05-DD56-45DF-8899-F39AF33F89BF}" type="presOf" srcId="{5731E41C-5F77-45FC-AE97-C6C12D35538C}" destId="{63CEF91B-3F6C-4D7E-AC34-1B2895DC9D13}" srcOrd="0" destOrd="2" presId="urn:microsoft.com/office/officeart/2008/layout/PictureStrips"/>
    <dgm:cxn modelId="{8443AF06-3CB8-4169-9475-4BADBB94998C}" srcId="{1C3D63FD-7381-45C9-82B5-881BDA2D8E1E}" destId="{EA433F26-758F-42B0-97BD-8C1CD411AD08}" srcOrd="0" destOrd="0" parTransId="{F46EDD96-D577-4A1F-915F-9EC61DCCD6DE}" sibTransId="{F4235C1E-923E-4C80-8E44-4C4EA2EDBD94}"/>
    <dgm:cxn modelId="{7F96C110-B40D-411B-83B8-BA706F8A75AF}" type="presOf" srcId="{F05510B8-6014-46A2-B2AD-A1EB34C20243}" destId="{3DAAA680-B383-4656-8C93-44C4737A339D}" srcOrd="0" destOrd="1" presId="urn:microsoft.com/office/officeart/2008/layout/PictureStrips"/>
    <dgm:cxn modelId="{92833712-813A-4AD0-A20F-80C33CFF2159}" srcId="{9C436FA6-C4B3-4297-B941-7DC33619251A}" destId="{E8219ABB-3550-4864-B5CB-F4A631776614}" srcOrd="0" destOrd="0" parTransId="{A34942A6-48E6-433F-BC59-22116C794B1B}" sibTransId="{8DD2B589-B052-4F12-86A9-D7AA624669DD}"/>
    <dgm:cxn modelId="{2CE5E71C-4F87-4704-A871-8D45B30F33B5}" srcId="{FA3E7DFC-B32C-4945-AA9D-DA25484DE241}" destId="{F05510B8-6014-46A2-B2AD-A1EB34C20243}" srcOrd="0" destOrd="0" parTransId="{B0348F66-5805-4414-84F0-EE0B9EC973A1}" sibTransId="{763F83D1-A877-43B4-96B2-9AA4141839A6}"/>
    <dgm:cxn modelId="{2B070F20-D7B2-4119-A658-226147CCC737}" type="presOf" srcId="{FA3E7DFC-B32C-4945-AA9D-DA25484DE241}" destId="{3DAAA680-B383-4656-8C93-44C4737A339D}" srcOrd="0" destOrd="0" presId="urn:microsoft.com/office/officeart/2008/layout/PictureStrips"/>
    <dgm:cxn modelId="{06307722-54C8-46A3-A0A1-DD86A333E2BA}" type="presOf" srcId="{9C436FA6-C4B3-4297-B941-7DC33619251A}" destId="{A2978229-6566-4399-93E1-57DDAFBDFE3D}" srcOrd="0" destOrd="0" presId="urn:microsoft.com/office/officeart/2008/layout/PictureStrips"/>
    <dgm:cxn modelId="{71F20661-4675-488C-B8B1-26479042064A}" type="presOf" srcId="{EA433F26-758F-42B0-97BD-8C1CD411AD08}" destId="{63CEF91B-3F6C-4D7E-AC34-1B2895DC9D13}" srcOrd="0" destOrd="1" presId="urn:microsoft.com/office/officeart/2008/layout/PictureStrips"/>
    <dgm:cxn modelId="{8D396A44-E892-4D5E-97A3-D794F324E696}" type="presOf" srcId="{E8219ABB-3550-4864-B5CB-F4A631776614}" destId="{DE9F018E-E6ED-4AEF-A216-43BDABDA4CE5}" srcOrd="0" destOrd="0" presId="urn:microsoft.com/office/officeart/2008/layout/PictureStrips"/>
    <dgm:cxn modelId="{00710B67-2D72-4005-8E4C-0753093939C0}" srcId="{FA3E7DFC-B32C-4945-AA9D-DA25484DE241}" destId="{D217001F-AE90-4316-A925-5D891B6362D3}" srcOrd="1" destOrd="0" parTransId="{AFC6A5E0-65C1-4627-9916-05A853D0F2A3}" sibTransId="{15EF7D4E-87CE-47BD-95C9-50FF0C4D5393}"/>
    <dgm:cxn modelId="{C3CE2554-D5E5-4F98-951C-E44BE7627461}" srcId="{FBFC7BE1-FBB0-4291-8523-674DF58A8C68}" destId="{C76B6EBC-9E0E-4AF8-A807-E80A287E5BD4}" srcOrd="1" destOrd="0" parTransId="{109A3D41-5373-4DFA-8004-4C4DB8000E7A}" sibTransId="{34C4DACF-F1B0-439B-9D3B-FEE14DE456E1}"/>
    <dgm:cxn modelId="{E299E85A-9408-47CA-BFB1-9553B1EB42D7}" type="presOf" srcId="{AB53D60C-9A04-4859-9F1F-EF13C81AE059}" destId="{DE9F018E-E6ED-4AEF-A216-43BDABDA4CE5}" srcOrd="0" destOrd="1" presId="urn:microsoft.com/office/officeart/2008/layout/PictureStrips"/>
    <dgm:cxn modelId="{1445298B-4DFB-4A3E-B9F4-449BD040FA4D}" type="presOf" srcId="{FBFC7BE1-FBB0-4291-8523-674DF58A8C68}" destId="{1DC82DCE-A333-40F9-A3B6-C31B5CE18DA5}" srcOrd="0" destOrd="0" presId="urn:microsoft.com/office/officeart/2008/layout/PictureStrips"/>
    <dgm:cxn modelId="{C450FBB3-32D5-4D20-BD0D-5BE98BCEBD85}" srcId="{1C3D63FD-7381-45C9-82B5-881BDA2D8E1E}" destId="{5731E41C-5F77-45FC-AE97-C6C12D35538C}" srcOrd="1" destOrd="0" parTransId="{CBCC99DB-3D7A-4EAF-B3E4-594BF672D94E}" sibTransId="{47457806-CEFC-4BA4-B29C-45D95EB3723F}"/>
    <dgm:cxn modelId="{55AFB7B5-1FDA-48BB-ADC2-306171FA9685}" type="presOf" srcId="{C76B6EBC-9E0E-4AF8-A807-E80A287E5BD4}" destId="{1DC82DCE-A333-40F9-A3B6-C31B5CE18DA5}" srcOrd="0" destOrd="2" presId="urn:microsoft.com/office/officeart/2008/layout/PictureStrips"/>
    <dgm:cxn modelId="{72CF8DB8-BB3B-4D74-A245-1AB6691A989A}" srcId="{9C436FA6-C4B3-4297-B941-7DC33619251A}" destId="{FBFC7BE1-FBB0-4291-8523-674DF58A8C68}" srcOrd="1" destOrd="0" parTransId="{8F05C0C4-8290-4EF3-8350-382C277FF900}" sibTransId="{CB90D75A-2897-4B63-9649-EF36753511BE}"/>
    <dgm:cxn modelId="{C13EF9BA-9DB9-4EDA-A95F-8FB3743A03FC}" type="presOf" srcId="{D217001F-AE90-4316-A925-5D891B6362D3}" destId="{3DAAA680-B383-4656-8C93-44C4737A339D}" srcOrd="0" destOrd="2" presId="urn:microsoft.com/office/officeart/2008/layout/PictureStrips"/>
    <dgm:cxn modelId="{4E3C9EC1-4E59-4EA3-9912-5A96BF567E92}" type="presOf" srcId="{1C3D63FD-7381-45C9-82B5-881BDA2D8E1E}" destId="{63CEF91B-3F6C-4D7E-AC34-1B2895DC9D13}" srcOrd="0" destOrd="0" presId="urn:microsoft.com/office/officeart/2008/layout/PictureStrips"/>
    <dgm:cxn modelId="{3666C7C6-0CBF-461C-AFC8-C3222ADD9034}" srcId="{9C436FA6-C4B3-4297-B941-7DC33619251A}" destId="{1C3D63FD-7381-45C9-82B5-881BDA2D8E1E}" srcOrd="2" destOrd="0" parTransId="{9D79C46E-52AF-483C-B37D-4159EF9FC531}" sibTransId="{724CADB8-D7CF-4216-9F29-888B6D054060}"/>
    <dgm:cxn modelId="{81C64BD4-B3A1-4AD2-8724-9593629BA5F7}" srcId="{E8219ABB-3550-4864-B5CB-F4A631776614}" destId="{BB59BEC2-5AA7-46F1-BC64-AE30E8D4BA00}" srcOrd="1" destOrd="0" parTransId="{13B2B79F-1197-469D-A038-C5E54BE92E10}" sibTransId="{2A5F3C15-5188-4A03-A88D-326E49052182}"/>
    <dgm:cxn modelId="{A5CAAAE3-C4E8-469C-ABF9-E497B854AB88}" srcId="{9C436FA6-C4B3-4297-B941-7DC33619251A}" destId="{FA3E7DFC-B32C-4945-AA9D-DA25484DE241}" srcOrd="3" destOrd="0" parTransId="{A57BA6F8-BBF3-4023-80FC-30C585454073}" sibTransId="{630642ED-28AA-4B55-8B10-4C1F0E1263C9}"/>
    <dgm:cxn modelId="{4FF420E7-D9A2-4762-8DD4-AF743884A940}" srcId="{FBFC7BE1-FBB0-4291-8523-674DF58A8C68}" destId="{CC3A506B-F115-4354-8010-8A3985F03258}" srcOrd="0" destOrd="0" parTransId="{392DBDD2-ED9B-49C0-8900-F16D8C8E568A}" sibTransId="{FF72E6E7-C60D-4645-85DE-6B5F819665F4}"/>
    <dgm:cxn modelId="{778290F5-10BA-4C62-85CF-CA357E306FE1}" type="presOf" srcId="{BB59BEC2-5AA7-46F1-BC64-AE30E8D4BA00}" destId="{DE9F018E-E6ED-4AEF-A216-43BDABDA4CE5}" srcOrd="0" destOrd="2" presId="urn:microsoft.com/office/officeart/2008/layout/PictureStrips"/>
    <dgm:cxn modelId="{E95B57FF-E40C-42D2-BC7C-6FF9872844FE}" type="presOf" srcId="{CC3A506B-F115-4354-8010-8A3985F03258}" destId="{1DC82DCE-A333-40F9-A3B6-C31B5CE18DA5}" srcOrd="0" destOrd="1" presId="urn:microsoft.com/office/officeart/2008/layout/PictureStrips"/>
    <dgm:cxn modelId="{9ED73D03-0132-4255-9129-17323CDE1982}" type="presParOf" srcId="{A2978229-6566-4399-93E1-57DDAFBDFE3D}" destId="{F90DA198-D0A2-45FC-A3B5-7DF96A4BB7D7}" srcOrd="0" destOrd="0" presId="urn:microsoft.com/office/officeart/2008/layout/PictureStrips"/>
    <dgm:cxn modelId="{A5A16197-0A29-4152-A1FF-9A3A58EC7758}" type="presParOf" srcId="{F90DA198-D0A2-45FC-A3B5-7DF96A4BB7D7}" destId="{DE9F018E-E6ED-4AEF-A216-43BDABDA4CE5}" srcOrd="0" destOrd="0" presId="urn:microsoft.com/office/officeart/2008/layout/PictureStrips"/>
    <dgm:cxn modelId="{84B05FD4-8B0A-4B11-BE35-7E89057FC1C7}" type="presParOf" srcId="{F90DA198-D0A2-45FC-A3B5-7DF96A4BB7D7}" destId="{15555A21-9339-48F1-B1F3-614EC8C55730}" srcOrd="1" destOrd="0" presId="urn:microsoft.com/office/officeart/2008/layout/PictureStrips"/>
    <dgm:cxn modelId="{651A9066-81A4-4F3E-AC61-AB2F56A6925C}" type="presParOf" srcId="{A2978229-6566-4399-93E1-57DDAFBDFE3D}" destId="{381C84D1-DCD6-489B-AD48-C44AEDBAD8EC}" srcOrd="1" destOrd="0" presId="urn:microsoft.com/office/officeart/2008/layout/PictureStrips"/>
    <dgm:cxn modelId="{169CEF11-161E-4B29-8166-650D35BB0F5D}" type="presParOf" srcId="{A2978229-6566-4399-93E1-57DDAFBDFE3D}" destId="{633322A8-BB91-4135-BD49-142D344165E5}" srcOrd="2" destOrd="0" presId="urn:microsoft.com/office/officeart/2008/layout/PictureStrips"/>
    <dgm:cxn modelId="{0E8C9274-732C-45BE-97E6-4F13BC41510A}" type="presParOf" srcId="{633322A8-BB91-4135-BD49-142D344165E5}" destId="{1DC82DCE-A333-40F9-A3B6-C31B5CE18DA5}" srcOrd="0" destOrd="0" presId="urn:microsoft.com/office/officeart/2008/layout/PictureStrips"/>
    <dgm:cxn modelId="{9AC8BFC4-864D-4BAE-8673-40B7BF32268E}" type="presParOf" srcId="{633322A8-BB91-4135-BD49-142D344165E5}" destId="{B581502C-22A5-4861-89E2-7388E2D0C988}" srcOrd="1" destOrd="0" presId="urn:microsoft.com/office/officeart/2008/layout/PictureStrips"/>
    <dgm:cxn modelId="{C9364B5C-1FA0-42A6-9BB8-4EDBCBFBC421}" type="presParOf" srcId="{A2978229-6566-4399-93E1-57DDAFBDFE3D}" destId="{38ECD112-5759-438D-93CA-D61801F8D1A9}" srcOrd="3" destOrd="0" presId="urn:microsoft.com/office/officeart/2008/layout/PictureStrips"/>
    <dgm:cxn modelId="{47291208-C46A-4A2A-8A54-FF9061B3475D}" type="presParOf" srcId="{A2978229-6566-4399-93E1-57DDAFBDFE3D}" destId="{6C4B73EF-331B-4990-BEB5-BDE2811CA7AE}" srcOrd="4" destOrd="0" presId="urn:microsoft.com/office/officeart/2008/layout/PictureStrips"/>
    <dgm:cxn modelId="{25409339-37FA-414E-876B-8DF4D0BF5FDF}" type="presParOf" srcId="{6C4B73EF-331B-4990-BEB5-BDE2811CA7AE}" destId="{63CEF91B-3F6C-4D7E-AC34-1B2895DC9D13}" srcOrd="0" destOrd="0" presId="urn:microsoft.com/office/officeart/2008/layout/PictureStrips"/>
    <dgm:cxn modelId="{D8676B71-2A1A-419E-96C7-F4B77A013C77}" type="presParOf" srcId="{6C4B73EF-331B-4990-BEB5-BDE2811CA7AE}" destId="{A4FE4FD7-822B-4BF9-B743-604FCC6CACB2}" srcOrd="1" destOrd="0" presId="urn:microsoft.com/office/officeart/2008/layout/PictureStrips"/>
    <dgm:cxn modelId="{B12846CC-7611-4ECB-B958-929D4EF7F3C9}" type="presParOf" srcId="{A2978229-6566-4399-93E1-57DDAFBDFE3D}" destId="{65E92AA4-3545-48EA-851B-7DCEA7FFC32C}" srcOrd="5" destOrd="0" presId="urn:microsoft.com/office/officeart/2008/layout/PictureStrips"/>
    <dgm:cxn modelId="{807796D8-3022-48CD-B5E5-D8A033E7A1F5}" type="presParOf" srcId="{A2978229-6566-4399-93E1-57DDAFBDFE3D}" destId="{D55925D8-6413-4A71-B905-742213C3B9DC}" srcOrd="6" destOrd="0" presId="urn:microsoft.com/office/officeart/2008/layout/PictureStrips"/>
    <dgm:cxn modelId="{1DE92485-6469-4502-9B3F-37360ED6E0AE}" type="presParOf" srcId="{D55925D8-6413-4A71-B905-742213C3B9DC}" destId="{3DAAA680-B383-4656-8C93-44C4737A339D}" srcOrd="0" destOrd="0" presId="urn:microsoft.com/office/officeart/2008/layout/PictureStrips"/>
    <dgm:cxn modelId="{26903419-2716-4684-A072-AFED1FFB1154}" type="presParOf" srcId="{D55925D8-6413-4A71-B905-742213C3B9DC}" destId="{F20D35F3-7A14-445E-A385-795B572C4F60}" srcOrd="1" destOrd="0" presId="urn:microsoft.com/office/officeart/2008/layout/PictureStrips"/>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CECF758-994C-4E7E-B051-07D3481B0B10}" type="doc">
      <dgm:prSet loTypeId="urn:microsoft.com/office/officeart/2005/8/layout/default" loCatId="list" qsTypeId="urn:microsoft.com/office/officeart/2005/8/quickstyle/simple5" qsCatId="simple" csTypeId="urn:microsoft.com/office/officeart/2005/8/colors/colorful4" csCatId="colorful" phldr="1"/>
      <dgm:spPr/>
      <dgm:t>
        <a:bodyPr/>
        <a:lstStyle/>
        <a:p>
          <a:endParaRPr lang="en-US"/>
        </a:p>
      </dgm:t>
    </dgm:pt>
    <dgm:pt modelId="{4FEEE38C-463B-47C4-822D-1684BC08C378}">
      <dgm:prSet phldrT="[Text]" custT="1"/>
      <dgm:spPr/>
      <dgm:t>
        <a:bodyPr/>
        <a:lstStyle/>
        <a:p>
          <a:r>
            <a:rPr lang="en-US" sz="1300" dirty="0"/>
            <a:t>Metrics</a:t>
          </a:r>
        </a:p>
      </dgm:t>
    </dgm:pt>
    <dgm:pt modelId="{83852DDA-3291-4A97-896E-D045C603F269}" type="parTrans" cxnId="{BF352C9D-4417-44F7-ACB0-819D0151826C}">
      <dgm:prSet/>
      <dgm:spPr/>
      <dgm:t>
        <a:bodyPr/>
        <a:lstStyle/>
        <a:p>
          <a:endParaRPr lang="en-US"/>
        </a:p>
      </dgm:t>
    </dgm:pt>
    <dgm:pt modelId="{970AA576-E357-4132-BDAF-25D76CD911FD}" type="sibTrans" cxnId="{BF352C9D-4417-44F7-ACB0-819D0151826C}">
      <dgm:prSet/>
      <dgm:spPr/>
      <dgm:t>
        <a:bodyPr/>
        <a:lstStyle/>
        <a:p>
          <a:endParaRPr lang="en-US"/>
        </a:p>
      </dgm:t>
    </dgm:pt>
    <dgm:pt modelId="{9531987F-180D-475F-A632-1C8F7D0ADBC5}">
      <dgm:prSet phldrT="[Text]" custT="1"/>
      <dgm:spPr/>
      <dgm:t>
        <a:bodyPr/>
        <a:lstStyle/>
        <a:p>
          <a:r>
            <a:rPr lang="en-US" sz="1300" dirty="0"/>
            <a:t>Alerts</a:t>
          </a:r>
        </a:p>
      </dgm:t>
    </dgm:pt>
    <dgm:pt modelId="{C2BDB5BA-FC17-4802-B1BF-AC692BCFF153}" type="parTrans" cxnId="{53010DC9-5584-4C16-846E-2FAECE560B74}">
      <dgm:prSet/>
      <dgm:spPr/>
      <dgm:t>
        <a:bodyPr/>
        <a:lstStyle/>
        <a:p>
          <a:endParaRPr lang="en-US"/>
        </a:p>
      </dgm:t>
    </dgm:pt>
    <dgm:pt modelId="{536F8564-F6F8-4F3D-AAD7-20A42C602072}" type="sibTrans" cxnId="{53010DC9-5584-4C16-846E-2FAECE560B74}">
      <dgm:prSet/>
      <dgm:spPr/>
      <dgm:t>
        <a:bodyPr/>
        <a:lstStyle/>
        <a:p>
          <a:endParaRPr lang="en-US"/>
        </a:p>
      </dgm:t>
    </dgm:pt>
    <dgm:pt modelId="{7587B3CD-CD96-4CF8-9CE1-C779CC71DC6E}">
      <dgm:prSet phldrT="[Text]" custT="1"/>
      <dgm:spPr/>
      <dgm:t>
        <a:bodyPr/>
        <a:lstStyle/>
        <a:p>
          <a:r>
            <a:rPr lang="en-US" sz="1300" dirty="0" err="1"/>
            <a:t>Autoscale</a:t>
          </a:r>
          <a:endParaRPr lang="en-US" sz="1300" dirty="0"/>
        </a:p>
      </dgm:t>
    </dgm:pt>
    <dgm:pt modelId="{0B164518-4492-41CB-B2E6-6564E5162FF7}" type="parTrans" cxnId="{BE0C4D07-12B7-4281-A018-699179696DEC}">
      <dgm:prSet/>
      <dgm:spPr/>
      <dgm:t>
        <a:bodyPr/>
        <a:lstStyle/>
        <a:p>
          <a:endParaRPr lang="en-US"/>
        </a:p>
      </dgm:t>
    </dgm:pt>
    <dgm:pt modelId="{86042FB1-D84E-4D97-A369-D26296F09DB2}" type="sibTrans" cxnId="{BE0C4D07-12B7-4281-A018-699179696DEC}">
      <dgm:prSet/>
      <dgm:spPr/>
      <dgm:t>
        <a:bodyPr/>
        <a:lstStyle/>
        <a:p>
          <a:endParaRPr lang="en-US"/>
        </a:p>
      </dgm:t>
    </dgm:pt>
    <dgm:pt modelId="{2D6A3922-0E18-4BDD-8C6E-FF18AE741A4F}">
      <dgm:prSet phldrT="[Text]" custT="1"/>
      <dgm:spPr/>
      <dgm:t>
        <a:bodyPr/>
        <a:lstStyle/>
        <a:p>
          <a:r>
            <a:rPr lang="en-US" sz="1300" dirty="0"/>
            <a:t>Activity Log</a:t>
          </a:r>
        </a:p>
      </dgm:t>
    </dgm:pt>
    <dgm:pt modelId="{CC3EB7C5-DE9F-413F-8834-5898D1626A16}" type="parTrans" cxnId="{674C9659-36BC-4005-A977-6F2235B6E09F}">
      <dgm:prSet/>
      <dgm:spPr/>
      <dgm:t>
        <a:bodyPr/>
        <a:lstStyle/>
        <a:p>
          <a:endParaRPr lang="en-US"/>
        </a:p>
      </dgm:t>
    </dgm:pt>
    <dgm:pt modelId="{7280F7F1-8BDD-4B37-8BB9-AA7DFAABC637}" type="sibTrans" cxnId="{674C9659-36BC-4005-A977-6F2235B6E09F}">
      <dgm:prSet/>
      <dgm:spPr/>
      <dgm:t>
        <a:bodyPr/>
        <a:lstStyle/>
        <a:p>
          <a:endParaRPr lang="en-US"/>
        </a:p>
      </dgm:t>
    </dgm:pt>
    <dgm:pt modelId="{C8E0155C-F9BA-4C9F-A579-DD0768D34942}">
      <dgm:prSet phldrT="[Text]" custT="1"/>
      <dgm:spPr/>
      <dgm:t>
        <a:bodyPr/>
        <a:lstStyle/>
        <a:p>
          <a:r>
            <a:rPr lang="en-US" sz="1300" dirty="0"/>
            <a:t>Action Groups</a:t>
          </a:r>
        </a:p>
      </dgm:t>
    </dgm:pt>
    <dgm:pt modelId="{572FEA37-E53B-45AD-ADDA-78B5609D5615}" type="parTrans" cxnId="{3C839F1D-DBC1-48AA-85F9-FAA6A1F5878D}">
      <dgm:prSet/>
      <dgm:spPr/>
      <dgm:t>
        <a:bodyPr/>
        <a:lstStyle/>
        <a:p>
          <a:endParaRPr lang="en-US"/>
        </a:p>
      </dgm:t>
    </dgm:pt>
    <dgm:pt modelId="{4B9AAF7A-810A-4335-8935-1E74166959C7}" type="sibTrans" cxnId="{3C839F1D-DBC1-48AA-85F9-FAA6A1F5878D}">
      <dgm:prSet/>
      <dgm:spPr/>
      <dgm:t>
        <a:bodyPr/>
        <a:lstStyle/>
        <a:p>
          <a:endParaRPr lang="en-US"/>
        </a:p>
      </dgm:t>
    </dgm:pt>
    <dgm:pt modelId="{343486D8-F23A-4265-B5FA-D288B0E88F7A}">
      <dgm:prSet phldrT="[Text]" custT="1"/>
      <dgm:spPr/>
      <dgm:t>
        <a:bodyPr/>
        <a:lstStyle/>
        <a:p>
          <a:r>
            <a:rPr lang="en-US" sz="1300" dirty="0"/>
            <a:t>Diagnostic Logs</a:t>
          </a:r>
        </a:p>
      </dgm:t>
    </dgm:pt>
    <dgm:pt modelId="{F3338238-1C17-4281-9068-7987DC2A89C5}" type="parTrans" cxnId="{837DB6EA-9A7B-43B7-9041-D4ECF042211D}">
      <dgm:prSet/>
      <dgm:spPr/>
      <dgm:t>
        <a:bodyPr/>
        <a:lstStyle/>
        <a:p>
          <a:endParaRPr lang="en-US"/>
        </a:p>
      </dgm:t>
    </dgm:pt>
    <dgm:pt modelId="{9B852D60-C021-4E50-86A0-AE1409845D8A}" type="sibTrans" cxnId="{837DB6EA-9A7B-43B7-9041-D4ECF042211D}">
      <dgm:prSet/>
      <dgm:spPr/>
      <dgm:t>
        <a:bodyPr/>
        <a:lstStyle/>
        <a:p>
          <a:endParaRPr lang="en-US"/>
        </a:p>
      </dgm:t>
    </dgm:pt>
    <dgm:pt modelId="{FC40B9F4-0E35-4777-A1FC-2EBA280553D4}" type="pres">
      <dgm:prSet presAssocID="{9CECF758-994C-4E7E-B051-07D3481B0B10}" presName="diagram" presStyleCnt="0">
        <dgm:presLayoutVars>
          <dgm:dir/>
          <dgm:resizeHandles val="exact"/>
        </dgm:presLayoutVars>
      </dgm:prSet>
      <dgm:spPr/>
    </dgm:pt>
    <dgm:pt modelId="{63FC1FE9-0BD7-4E0E-9187-5D957E97DB20}" type="pres">
      <dgm:prSet presAssocID="{4FEEE38C-463B-47C4-822D-1684BC08C378}" presName="node" presStyleLbl="node1" presStyleIdx="0" presStyleCnt="6">
        <dgm:presLayoutVars>
          <dgm:bulletEnabled val="1"/>
        </dgm:presLayoutVars>
      </dgm:prSet>
      <dgm:spPr/>
    </dgm:pt>
    <dgm:pt modelId="{2BB61371-5D10-47C4-94F0-F09B710FBE0A}" type="pres">
      <dgm:prSet presAssocID="{970AA576-E357-4132-BDAF-25D76CD911FD}" presName="sibTrans" presStyleCnt="0"/>
      <dgm:spPr/>
    </dgm:pt>
    <dgm:pt modelId="{DBCD4A4B-4A7B-4F56-939C-CC772B5E474C}" type="pres">
      <dgm:prSet presAssocID="{9531987F-180D-475F-A632-1C8F7D0ADBC5}" presName="node" presStyleLbl="node1" presStyleIdx="1" presStyleCnt="6">
        <dgm:presLayoutVars>
          <dgm:bulletEnabled val="1"/>
        </dgm:presLayoutVars>
      </dgm:prSet>
      <dgm:spPr/>
    </dgm:pt>
    <dgm:pt modelId="{91E087CD-CD4D-426B-BC8B-0343BAD63AAC}" type="pres">
      <dgm:prSet presAssocID="{536F8564-F6F8-4F3D-AAD7-20A42C602072}" presName="sibTrans" presStyleCnt="0"/>
      <dgm:spPr/>
    </dgm:pt>
    <dgm:pt modelId="{24F7414B-96AC-4156-B5A9-E9256EE3A38B}" type="pres">
      <dgm:prSet presAssocID="{7587B3CD-CD96-4CF8-9CE1-C779CC71DC6E}" presName="node" presStyleLbl="node1" presStyleIdx="2" presStyleCnt="6">
        <dgm:presLayoutVars>
          <dgm:bulletEnabled val="1"/>
        </dgm:presLayoutVars>
      </dgm:prSet>
      <dgm:spPr/>
    </dgm:pt>
    <dgm:pt modelId="{62F45525-06FB-4E15-87B0-7EF3C6A5C6BD}" type="pres">
      <dgm:prSet presAssocID="{86042FB1-D84E-4D97-A369-D26296F09DB2}" presName="sibTrans" presStyleCnt="0"/>
      <dgm:spPr/>
    </dgm:pt>
    <dgm:pt modelId="{CACC16B1-C980-478D-81B9-9497B45E3E3C}" type="pres">
      <dgm:prSet presAssocID="{2D6A3922-0E18-4BDD-8C6E-FF18AE741A4F}" presName="node" presStyleLbl="node1" presStyleIdx="3" presStyleCnt="6">
        <dgm:presLayoutVars>
          <dgm:bulletEnabled val="1"/>
        </dgm:presLayoutVars>
      </dgm:prSet>
      <dgm:spPr/>
    </dgm:pt>
    <dgm:pt modelId="{950A2714-53DD-4BA3-B28D-3764E5DE8C32}" type="pres">
      <dgm:prSet presAssocID="{7280F7F1-8BDD-4B37-8BB9-AA7DFAABC637}" presName="sibTrans" presStyleCnt="0"/>
      <dgm:spPr/>
    </dgm:pt>
    <dgm:pt modelId="{2125485D-B99F-4AE6-820E-13A0D61AC020}" type="pres">
      <dgm:prSet presAssocID="{C8E0155C-F9BA-4C9F-A579-DD0768D34942}" presName="node" presStyleLbl="node1" presStyleIdx="4" presStyleCnt="6">
        <dgm:presLayoutVars>
          <dgm:bulletEnabled val="1"/>
        </dgm:presLayoutVars>
      </dgm:prSet>
      <dgm:spPr/>
    </dgm:pt>
    <dgm:pt modelId="{342AC0F5-7CB6-4EC2-A390-421367C7A2B6}" type="pres">
      <dgm:prSet presAssocID="{4B9AAF7A-810A-4335-8935-1E74166959C7}" presName="sibTrans" presStyleCnt="0"/>
      <dgm:spPr/>
    </dgm:pt>
    <dgm:pt modelId="{0A5FC056-6CC5-44D7-A0D8-7CEF7B9C6F1F}" type="pres">
      <dgm:prSet presAssocID="{343486D8-F23A-4265-B5FA-D288B0E88F7A}" presName="node" presStyleLbl="node1" presStyleIdx="5" presStyleCnt="6">
        <dgm:presLayoutVars>
          <dgm:bulletEnabled val="1"/>
        </dgm:presLayoutVars>
      </dgm:prSet>
      <dgm:spPr/>
    </dgm:pt>
  </dgm:ptLst>
  <dgm:cxnLst>
    <dgm:cxn modelId="{BE0C4D07-12B7-4281-A018-699179696DEC}" srcId="{9CECF758-994C-4E7E-B051-07D3481B0B10}" destId="{7587B3CD-CD96-4CF8-9CE1-C779CC71DC6E}" srcOrd="2" destOrd="0" parTransId="{0B164518-4492-41CB-B2E6-6564E5162FF7}" sibTransId="{86042FB1-D84E-4D97-A369-D26296F09DB2}"/>
    <dgm:cxn modelId="{3C839F1D-DBC1-48AA-85F9-FAA6A1F5878D}" srcId="{9CECF758-994C-4E7E-B051-07D3481B0B10}" destId="{C8E0155C-F9BA-4C9F-A579-DD0768D34942}" srcOrd="4" destOrd="0" parTransId="{572FEA37-E53B-45AD-ADDA-78B5609D5615}" sibTransId="{4B9AAF7A-810A-4335-8935-1E74166959C7}"/>
    <dgm:cxn modelId="{8A0AFB5C-4506-42A3-9CA0-F0D8347540E1}" type="presOf" srcId="{343486D8-F23A-4265-B5FA-D288B0E88F7A}" destId="{0A5FC056-6CC5-44D7-A0D8-7CEF7B9C6F1F}" srcOrd="0" destOrd="0" presId="urn:microsoft.com/office/officeart/2005/8/layout/default"/>
    <dgm:cxn modelId="{EB3E605E-302D-4CDF-BD72-1B3A60805B8A}" type="presOf" srcId="{9531987F-180D-475F-A632-1C8F7D0ADBC5}" destId="{DBCD4A4B-4A7B-4F56-939C-CC772B5E474C}" srcOrd="0" destOrd="0" presId="urn:microsoft.com/office/officeart/2005/8/layout/default"/>
    <dgm:cxn modelId="{FE963F66-FA0E-4607-BC51-A687FFF40A59}" type="presOf" srcId="{4FEEE38C-463B-47C4-822D-1684BC08C378}" destId="{63FC1FE9-0BD7-4E0E-9187-5D957E97DB20}" srcOrd="0" destOrd="0" presId="urn:microsoft.com/office/officeart/2005/8/layout/default"/>
    <dgm:cxn modelId="{674C9659-36BC-4005-A977-6F2235B6E09F}" srcId="{9CECF758-994C-4E7E-B051-07D3481B0B10}" destId="{2D6A3922-0E18-4BDD-8C6E-FF18AE741A4F}" srcOrd="3" destOrd="0" parTransId="{CC3EB7C5-DE9F-413F-8834-5898D1626A16}" sibTransId="{7280F7F1-8BDD-4B37-8BB9-AA7DFAABC637}"/>
    <dgm:cxn modelId="{BF352C9D-4417-44F7-ACB0-819D0151826C}" srcId="{9CECF758-994C-4E7E-B051-07D3481B0B10}" destId="{4FEEE38C-463B-47C4-822D-1684BC08C378}" srcOrd="0" destOrd="0" parTransId="{83852DDA-3291-4A97-896E-D045C603F269}" sibTransId="{970AA576-E357-4132-BDAF-25D76CD911FD}"/>
    <dgm:cxn modelId="{C4FD38B2-9C58-481F-915E-715692425011}" type="presOf" srcId="{9CECF758-994C-4E7E-B051-07D3481B0B10}" destId="{FC40B9F4-0E35-4777-A1FC-2EBA280553D4}" srcOrd="0" destOrd="0" presId="urn:microsoft.com/office/officeart/2005/8/layout/default"/>
    <dgm:cxn modelId="{C1D6D8C4-9C7E-4C78-BF82-7B9426FCF420}" type="presOf" srcId="{C8E0155C-F9BA-4C9F-A579-DD0768D34942}" destId="{2125485D-B99F-4AE6-820E-13A0D61AC020}" srcOrd="0" destOrd="0" presId="urn:microsoft.com/office/officeart/2005/8/layout/default"/>
    <dgm:cxn modelId="{53010DC9-5584-4C16-846E-2FAECE560B74}" srcId="{9CECF758-994C-4E7E-B051-07D3481B0B10}" destId="{9531987F-180D-475F-A632-1C8F7D0ADBC5}" srcOrd="1" destOrd="0" parTransId="{C2BDB5BA-FC17-4802-B1BF-AC692BCFF153}" sibTransId="{536F8564-F6F8-4F3D-AAD7-20A42C602072}"/>
    <dgm:cxn modelId="{4D3B54CD-295E-4284-BB93-E27B1EAAAFCC}" type="presOf" srcId="{7587B3CD-CD96-4CF8-9CE1-C779CC71DC6E}" destId="{24F7414B-96AC-4156-B5A9-E9256EE3A38B}" srcOrd="0" destOrd="0" presId="urn:microsoft.com/office/officeart/2005/8/layout/default"/>
    <dgm:cxn modelId="{837DB6EA-9A7B-43B7-9041-D4ECF042211D}" srcId="{9CECF758-994C-4E7E-B051-07D3481B0B10}" destId="{343486D8-F23A-4265-B5FA-D288B0E88F7A}" srcOrd="5" destOrd="0" parTransId="{F3338238-1C17-4281-9068-7987DC2A89C5}" sibTransId="{9B852D60-C021-4E50-86A0-AE1409845D8A}"/>
    <dgm:cxn modelId="{B5404DF6-9E3F-4F4A-86E4-95238620F8E6}" type="presOf" srcId="{2D6A3922-0E18-4BDD-8C6E-FF18AE741A4F}" destId="{CACC16B1-C980-478D-81B9-9497B45E3E3C}" srcOrd="0" destOrd="0" presId="urn:microsoft.com/office/officeart/2005/8/layout/default"/>
    <dgm:cxn modelId="{69E8343B-BC8E-4354-873D-A4014FE88076}" type="presParOf" srcId="{FC40B9F4-0E35-4777-A1FC-2EBA280553D4}" destId="{63FC1FE9-0BD7-4E0E-9187-5D957E97DB20}" srcOrd="0" destOrd="0" presId="urn:microsoft.com/office/officeart/2005/8/layout/default"/>
    <dgm:cxn modelId="{0F3400CB-E906-41A3-BFE3-DB5ACFD9897C}" type="presParOf" srcId="{FC40B9F4-0E35-4777-A1FC-2EBA280553D4}" destId="{2BB61371-5D10-47C4-94F0-F09B710FBE0A}" srcOrd="1" destOrd="0" presId="urn:microsoft.com/office/officeart/2005/8/layout/default"/>
    <dgm:cxn modelId="{0AB33CCA-A72C-4F3F-B206-87002AA891E2}" type="presParOf" srcId="{FC40B9F4-0E35-4777-A1FC-2EBA280553D4}" destId="{DBCD4A4B-4A7B-4F56-939C-CC772B5E474C}" srcOrd="2" destOrd="0" presId="urn:microsoft.com/office/officeart/2005/8/layout/default"/>
    <dgm:cxn modelId="{4A665DD5-9AEF-4F0E-9BFD-414090B7724C}" type="presParOf" srcId="{FC40B9F4-0E35-4777-A1FC-2EBA280553D4}" destId="{91E087CD-CD4D-426B-BC8B-0343BAD63AAC}" srcOrd="3" destOrd="0" presId="urn:microsoft.com/office/officeart/2005/8/layout/default"/>
    <dgm:cxn modelId="{66772340-7807-4FC1-BFF9-F271F190C85C}" type="presParOf" srcId="{FC40B9F4-0E35-4777-A1FC-2EBA280553D4}" destId="{24F7414B-96AC-4156-B5A9-E9256EE3A38B}" srcOrd="4" destOrd="0" presId="urn:microsoft.com/office/officeart/2005/8/layout/default"/>
    <dgm:cxn modelId="{437A9CCE-FEB4-4FDB-805C-41B204AEDF65}" type="presParOf" srcId="{FC40B9F4-0E35-4777-A1FC-2EBA280553D4}" destId="{62F45525-06FB-4E15-87B0-7EF3C6A5C6BD}" srcOrd="5" destOrd="0" presId="urn:microsoft.com/office/officeart/2005/8/layout/default"/>
    <dgm:cxn modelId="{5A382ACA-5E89-4CB6-9AEF-BA92EA71958D}" type="presParOf" srcId="{FC40B9F4-0E35-4777-A1FC-2EBA280553D4}" destId="{CACC16B1-C980-478D-81B9-9497B45E3E3C}" srcOrd="6" destOrd="0" presId="urn:microsoft.com/office/officeart/2005/8/layout/default"/>
    <dgm:cxn modelId="{F1152C39-E785-425F-8506-0DD2E5D0A42F}" type="presParOf" srcId="{FC40B9F4-0E35-4777-A1FC-2EBA280553D4}" destId="{950A2714-53DD-4BA3-B28D-3764E5DE8C32}" srcOrd="7" destOrd="0" presId="urn:microsoft.com/office/officeart/2005/8/layout/default"/>
    <dgm:cxn modelId="{12F2E09F-3AF5-46A2-9020-461CD928516E}" type="presParOf" srcId="{FC40B9F4-0E35-4777-A1FC-2EBA280553D4}" destId="{2125485D-B99F-4AE6-820E-13A0D61AC020}" srcOrd="8" destOrd="0" presId="urn:microsoft.com/office/officeart/2005/8/layout/default"/>
    <dgm:cxn modelId="{142BAEF1-069E-4A94-B41E-66D1260CEACF}" type="presParOf" srcId="{FC40B9F4-0E35-4777-A1FC-2EBA280553D4}" destId="{342AC0F5-7CB6-4EC2-A390-421367C7A2B6}" srcOrd="9" destOrd="0" presId="urn:microsoft.com/office/officeart/2005/8/layout/default"/>
    <dgm:cxn modelId="{D4DE4D16-EE46-40E6-8993-2457030F7484}" type="presParOf" srcId="{FC40B9F4-0E35-4777-A1FC-2EBA280553D4}" destId="{0A5FC056-6CC5-44D7-A0D8-7CEF7B9C6F1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4E2907F-AB67-4086-A012-C2F8E4007F1B}"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91D7B981-2B14-4374-90AA-CB5F3663FF4C}">
      <dgm:prSet/>
      <dgm:spPr/>
      <dgm:t>
        <a:bodyPr/>
        <a:lstStyle/>
        <a:p>
          <a:r>
            <a:rPr lang="en-US" dirty="0"/>
            <a:t>Configure Microsoft Monitoring Agents (MMA)</a:t>
          </a:r>
        </a:p>
      </dgm:t>
    </dgm:pt>
    <dgm:pt modelId="{AB2EBE79-E4DB-42D0-B32C-C0103C26937C}" type="parTrans" cxnId="{26E999EA-C3E3-453F-B20D-3B9088221FE6}">
      <dgm:prSet/>
      <dgm:spPr/>
      <dgm:t>
        <a:bodyPr/>
        <a:lstStyle/>
        <a:p>
          <a:endParaRPr lang="en-US"/>
        </a:p>
      </dgm:t>
    </dgm:pt>
    <dgm:pt modelId="{ED4D701C-95FF-461A-830B-6064C9CA22FE}" type="sibTrans" cxnId="{26E999EA-C3E3-453F-B20D-3B9088221FE6}">
      <dgm:prSet/>
      <dgm:spPr/>
      <dgm:t>
        <a:bodyPr/>
        <a:lstStyle/>
        <a:p>
          <a:endParaRPr lang="en-US"/>
        </a:p>
      </dgm:t>
    </dgm:pt>
    <dgm:pt modelId="{2611B374-E38C-485D-8789-FABEF39EA86F}">
      <dgm:prSet/>
      <dgm:spPr/>
      <dgm:t>
        <a:bodyPr/>
        <a:lstStyle/>
        <a:p>
          <a:r>
            <a:rPr lang="en-US" dirty="0">
              <a:latin typeface="+mj-lt"/>
            </a:rPr>
            <a:t>Windows VMs, Linux VMs, Azure resources; supports HTTP forward proxy</a:t>
          </a:r>
        </a:p>
      </dgm:t>
    </dgm:pt>
    <dgm:pt modelId="{5E7FFAD2-7B3B-40A4-A179-AAA151CB3509}" type="parTrans" cxnId="{F532DD42-B897-4949-9D34-3857F8CF5235}">
      <dgm:prSet/>
      <dgm:spPr/>
      <dgm:t>
        <a:bodyPr/>
        <a:lstStyle/>
        <a:p>
          <a:endParaRPr lang="en-US"/>
        </a:p>
      </dgm:t>
    </dgm:pt>
    <dgm:pt modelId="{86072E4D-F5FB-4336-8B4B-933FBEF9298F}" type="sibTrans" cxnId="{F532DD42-B897-4949-9D34-3857F8CF5235}">
      <dgm:prSet/>
      <dgm:spPr/>
      <dgm:t>
        <a:bodyPr/>
        <a:lstStyle/>
        <a:p>
          <a:endParaRPr lang="en-US"/>
        </a:p>
      </dgm:t>
    </dgm:pt>
    <dgm:pt modelId="{00AAF633-41EB-4356-BA98-1452334D8ADE}">
      <dgm:prSet/>
      <dgm:spPr/>
      <dgm:t>
        <a:bodyPr/>
        <a:lstStyle/>
        <a:p>
          <a:r>
            <a:rPr lang="en-US" dirty="0">
              <a:latin typeface="+mj-lt"/>
            </a:rPr>
            <a:t>Integrate with SCOM or SCCM for additional functionality</a:t>
          </a:r>
        </a:p>
      </dgm:t>
    </dgm:pt>
    <dgm:pt modelId="{A748C65A-FB74-42D3-B82E-F041E4D0AE60}" type="parTrans" cxnId="{BEB319E9-D286-4244-9FD7-270E1F2A6219}">
      <dgm:prSet/>
      <dgm:spPr/>
      <dgm:t>
        <a:bodyPr/>
        <a:lstStyle/>
        <a:p>
          <a:endParaRPr lang="en-US"/>
        </a:p>
      </dgm:t>
    </dgm:pt>
    <dgm:pt modelId="{7279E95F-EF82-44E4-B6CD-0BBDCB6B7858}" type="sibTrans" cxnId="{BEB319E9-D286-4244-9FD7-270E1F2A6219}">
      <dgm:prSet/>
      <dgm:spPr/>
      <dgm:t>
        <a:bodyPr/>
        <a:lstStyle/>
        <a:p>
          <a:endParaRPr lang="en-US"/>
        </a:p>
      </dgm:t>
    </dgm:pt>
    <dgm:pt modelId="{4ACACEC7-3D83-4C9A-A814-EC69A24A39B2}">
      <dgm:prSet/>
      <dgm:spPr/>
      <dgm:t>
        <a:bodyPr/>
        <a:lstStyle/>
        <a:p>
          <a:r>
            <a:rPr lang="en-US" dirty="0">
              <a:latin typeface="+mj-lt"/>
            </a:rPr>
            <a:t>Data is compressed before being sent over the wire</a:t>
          </a:r>
        </a:p>
      </dgm:t>
    </dgm:pt>
    <dgm:pt modelId="{043B8C86-322D-43E1-9AB9-25047A6DD829}" type="parTrans" cxnId="{0B695EBE-14FE-4BD8-A857-A260A215C02A}">
      <dgm:prSet/>
      <dgm:spPr/>
      <dgm:t>
        <a:bodyPr/>
        <a:lstStyle/>
        <a:p>
          <a:endParaRPr lang="en-US"/>
        </a:p>
      </dgm:t>
    </dgm:pt>
    <dgm:pt modelId="{DD0CD5F0-F6BF-47E7-9CC0-8B0DE71E66B3}" type="sibTrans" cxnId="{0B695EBE-14FE-4BD8-A857-A260A215C02A}">
      <dgm:prSet/>
      <dgm:spPr/>
      <dgm:t>
        <a:bodyPr/>
        <a:lstStyle/>
        <a:p>
          <a:endParaRPr lang="en-US"/>
        </a:p>
      </dgm:t>
    </dgm:pt>
    <dgm:pt modelId="{274A1D18-D587-43E9-B7A6-28006573A00E}">
      <dgm:prSet/>
      <dgm:spPr/>
      <dgm:t>
        <a:bodyPr/>
        <a:lstStyle/>
        <a:p>
          <a:r>
            <a:rPr lang="en-US" dirty="0"/>
            <a:t>Send data to the Log Analytics Service</a:t>
          </a:r>
        </a:p>
      </dgm:t>
    </dgm:pt>
    <dgm:pt modelId="{29D2798D-CCB0-4685-AA92-15182A9DDDB0}" type="parTrans" cxnId="{16B9E9D3-38C8-44FA-A810-EFF3E57DC5E9}">
      <dgm:prSet/>
      <dgm:spPr/>
      <dgm:t>
        <a:bodyPr/>
        <a:lstStyle/>
        <a:p>
          <a:endParaRPr lang="en-US"/>
        </a:p>
      </dgm:t>
    </dgm:pt>
    <dgm:pt modelId="{3C08B811-3F1E-46BD-A246-318AD09685EC}" type="sibTrans" cxnId="{16B9E9D3-38C8-44FA-A810-EFF3E57DC5E9}">
      <dgm:prSet/>
      <dgm:spPr/>
      <dgm:t>
        <a:bodyPr/>
        <a:lstStyle/>
        <a:p>
          <a:endParaRPr lang="en-US"/>
        </a:p>
      </dgm:t>
    </dgm:pt>
    <dgm:pt modelId="{F7619AC5-A05C-4E65-BAE7-BCAB709EA680}">
      <dgm:prSet/>
      <dgm:spPr/>
      <dgm:t>
        <a:bodyPr/>
        <a:lstStyle/>
        <a:p>
          <a:r>
            <a:rPr lang="en-US" dirty="0">
              <a:latin typeface="+mj-lt"/>
            </a:rPr>
            <a:t>OMS service exposes public REST endpoint over TLS (SSL 3)</a:t>
          </a:r>
        </a:p>
      </dgm:t>
    </dgm:pt>
    <dgm:pt modelId="{F20E2AD2-E894-418D-B2DE-54272B771E08}" type="parTrans" cxnId="{D3AC1346-DA1A-4767-9A26-FD5191137264}">
      <dgm:prSet/>
      <dgm:spPr/>
      <dgm:t>
        <a:bodyPr/>
        <a:lstStyle/>
        <a:p>
          <a:endParaRPr lang="en-US"/>
        </a:p>
      </dgm:t>
    </dgm:pt>
    <dgm:pt modelId="{0EB5E073-DF9C-4598-8FEB-A049E7C65D57}" type="sibTrans" cxnId="{D3AC1346-DA1A-4767-9A26-FD5191137264}">
      <dgm:prSet/>
      <dgm:spPr/>
      <dgm:t>
        <a:bodyPr/>
        <a:lstStyle/>
        <a:p>
          <a:endParaRPr lang="en-US"/>
        </a:p>
      </dgm:t>
    </dgm:pt>
    <dgm:pt modelId="{98816FFD-FF04-46DB-83E8-3E3EABD331CF}">
      <dgm:prSet/>
      <dgm:spPr/>
      <dgm:t>
        <a:bodyPr/>
        <a:lstStyle/>
        <a:p>
          <a:r>
            <a:rPr lang="en-US" dirty="0">
              <a:latin typeface="+mj-lt"/>
            </a:rPr>
            <a:t>Agents use certificate-based authentication</a:t>
          </a:r>
        </a:p>
      </dgm:t>
    </dgm:pt>
    <dgm:pt modelId="{525CE80D-C2F8-4E41-94D5-7D5622346573}" type="parTrans" cxnId="{19C2FEFD-C4CE-4BE6-9DA6-AA6A8A2CC66F}">
      <dgm:prSet/>
      <dgm:spPr/>
      <dgm:t>
        <a:bodyPr/>
        <a:lstStyle/>
        <a:p>
          <a:endParaRPr lang="en-US"/>
        </a:p>
      </dgm:t>
    </dgm:pt>
    <dgm:pt modelId="{F7AC3B71-AF9B-405D-BC77-A34CA894A189}" type="sibTrans" cxnId="{19C2FEFD-C4CE-4BE6-9DA6-AA6A8A2CC66F}">
      <dgm:prSet/>
      <dgm:spPr/>
      <dgm:t>
        <a:bodyPr/>
        <a:lstStyle/>
        <a:p>
          <a:endParaRPr lang="en-US"/>
        </a:p>
      </dgm:t>
    </dgm:pt>
    <dgm:pt modelId="{15302A88-E804-4772-9B60-99A9B0835D2F}">
      <dgm:prSet/>
      <dgm:spPr/>
      <dgm:t>
        <a:bodyPr/>
        <a:lstStyle/>
        <a:p>
          <a:r>
            <a:rPr lang="en-US" dirty="0">
              <a:latin typeface="+mj-lt"/>
            </a:rPr>
            <a:t>Private keys are managed by Microsoft and rotated every 90 days </a:t>
          </a:r>
        </a:p>
      </dgm:t>
    </dgm:pt>
    <dgm:pt modelId="{67EB6EEF-08D6-4806-B7A3-6934CAF1ED6F}" type="parTrans" cxnId="{2BD9E84A-B5F5-4E34-A13F-CCE061F8E3F0}">
      <dgm:prSet/>
      <dgm:spPr/>
      <dgm:t>
        <a:bodyPr/>
        <a:lstStyle/>
        <a:p>
          <a:endParaRPr lang="en-US"/>
        </a:p>
      </dgm:t>
    </dgm:pt>
    <dgm:pt modelId="{AB68D91D-A6B8-448B-B50E-AC6F85A4CA49}" type="sibTrans" cxnId="{2BD9E84A-B5F5-4E34-A13F-CCE061F8E3F0}">
      <dgm:prSet/>
      <dgm:spPr/>
      <dgm:t>
        <a:bodyPr/>
        <a:lstStyle/>
        <a:p>
          <a:endParaRPr lang="en-US"/>
        </a:p>
      </dgm:t>
    </dgm:pt>
    <dgm:pt modelId="{2C3F6F34-17BF-4531-8E2D-DABF2ECE1D62}">
      <dgm:prSet/>
      <dgm:spPr/>
      <dgm:t>
        <a:bodyPr/>
        <a:lstStyle/>
        <a:p>
          <a:r>
            <a:rPr lang="en-US" dirty="0"/>
            <a:t>Configure Log Analytics Workspaces</a:t>
          </a:r>
        </a:p>
      </dgm:t>
    </dgm:pt>
    <dgm:pt modelId="{42890576-0140-485E-ADB8-DFF42B1F778C}" type="parTrans" cxnId="{2E12A7E9-52E6-4F30-968B-C22ABBBD1D20}">
      <dgm:prSet/>
      <dgm:spPr/>
      <dgm:t>
        <a:bodyPr/>
        <a:lstStyle/>
        <a:p>
          <a:endParaRPr lang="en-US"/>
        </a:p>
      </dgm:t>
    </dgm:pt>
    <dgm:pt modelId="{DF426FA8-DB42-4374-A9D7-74D04E92C200}" type="sibTrans" cxnId="{2E12A7E9-52E6-4F30-968B-C22ABBBD1D20}">
      <dgm:prSet/>
      <dgm:spPr/>
      <dgm:t>
        <a:bodyPr/>
        <a:lstStyle/>
        <a:p>
          <a:endParaRPr lang="en-US"/>
        </a:p>
      </dgm:t>
    </dgm:pt>
    <dgm:pt modelId="{BCE559B2-4F1A-436F-8730-6298133FD310}">
      <dgm:prSet/>
      <dgm:spPr/>
      <dgm:t>
        <a:bodyPr/>
        <a:lstStyle/>
        <a:p>
          <a:r>
            <a:rPr lang="en-US" dirty="0">
              <a:latin typeface="+mj-lt"/>
            </a:rPr>
            <a:t>Workspace = container of aggregated log data</a:t>
          </a:r>
        </a:p>
      </dgm:t>
    </dgm:pt>
    <dgm:pt modelId="{345B365F-EC84-4E11-A333-10338F3F44D6}" type="parTrans" cxnId="{7AAB9029-2088-41EA-B7FF-904695481D63}">
      <dgm:prSet/>
      <dgm:spPr/>
      <dgm:t>
        <a:bodyPr/>
        <a:lstStyle/>
        <a:p>
          <a:endParaRPr lang="en-US"/>
        </a:p>
      </dgm:t>
    </dgm:pt>
    <dgm:pt modelId="{E2FF17A7-EC25-4855-9FF9-54B291AA8CB7}" type="sibTrans" cxnId="{7AAB9029-2088-41EA-B7FF-904695481D63}">
      <dgm:prSet/>
      <dgm:spPr/>
      <dgm:t>
        <a:bodyPr/>
        <a:lstStyle/>
        <a:p>
          <a:endParaRPr lang="en-US"/>
        </a:p>
      </dgm:t>
    </dgm:pt>
    <dgm:pt modelId="{738DA430-673B-4E80-888B-F2A07401127E}">
      <dgm:prSet/>
      <dgm:spPr/>
      <dgm:t>
        <a:bodyPr/>
        <a:lstStyle/>
        <a:p>
          <a:r>
            <a:rPr lang="en-US" dirty="0">
              <a:latin typeface="+mj-lt"/>
            </a:rPr>
            <a:t>Factors:  region, billing, isolation, configuration</a:t>
          </a:r>
        </a:p>
      </dgm:t>
    </dgm:pt>
    <dgm:pt modelId="{96A90381-4D78-4CDE-867E-FD219B0405D1}" type="parTrans" cxnId="{B6DFE146-243E-4354-AAC6-FDD8F26BE08B}">
      <dgm:prSet/>
      <dgm:spPr/>
      <dgm:t>
        <a:bodyPr/>
        <a:lstStyle/>
        <a:p>
          <a:endParaRPr lang="en-US"/>
        </a:p>
      </dgm:t>
    </dgm:pt>
    <dgm:pt modelId="{75EF73D1-486C-4582-B046-1675FDAFCEF0}" type="sibTrans" cxnId="{B6DFE146-243E-4354-AAC6-FDD8F26BE08B}">
      <dgm:prSet/>
      <dgm:spPr/>
      <dgm:t>
        <a:bodyPr/>
        <a:lstStyle/>
        <a:p>
          <a:endParaRPr lang="en-US"/>
        </a:p>
      </dgm:t>
    </dgm:pt>
    <dgm:pt modelId="{3FBFB92A-3395-4D7A-A7AB-7F40E3EC7ECD}">
      <dgm:prSet/>
      <dgm:spPr/>
      <dgm:t>
        <a:bodyPr/>
        <a:lstStyle/>
        <a:p>
          <a:r>
            <a:rPr lang="en-US" dirty="0">
              <a:latin typeface="+mj-lt"/>
            </a:rPr>
            <a:t>Agents can send data to multiple workspaces, near real time intervals</a:t>
          </a:r>
        </a:p>
      </dgm:t>
    </dgm:pt>
    <dgm:pt modelId="{4F3B9575-8CEE-4920-B23E-6CAEE4541167}" type="parTrans" cxnId="{31706EB7-674F-45D9-BB00-2AE420CEDE95}">
      <dgm:prSet/>
      <dgm:spPr/>
      <dgm:t>
        <a:bodyPr/>
        <a:lstStyle/>
        <a:p>
          <a:endParaRPr lang="en-US"/>
        </a:p>
      </dgm:t>
    </dgm:pt>
    <dgm:pt modelId="{94F409F4-F193-45B2-AF69-AFFF56E74662}" type="sibTrans" cxnId="{31706EB7-674F-45D9-BB00-2AE420CEDE95}">
      <dgm:prSet/>
      <dgm:spPr/>
      <dgm:t>
        <a:bodyPr/>
        <a:lstStyle/>
        <a:p>
          <a:endParaRPr lang="en-US"/>
        </a:p>
      </dgm:t>
    </dgm:pt>
    <dgm:pt modelId="{C5D03545-BDB2-44A1-BADA-F0FA5EE781FB}">
      <dgm:prSet/>
      <dgm:spPr/>
      <dgm:t>
        <a:bodyPr/>
        <a:lstStyle/>
        <a:p>
          <a:r>
            <a:rPr lang="en-US" dirty="0"/>
            <a:t>Consume dashboards, reports, alerts</a:t>
          </a:r>
        </a:p>
      </dgm:t>
    </dgm:pt>
    <dgm:pt modelId="{3A738EE2-8322-4FB3-9DA0-F75C106D551F}" type="parTrans" cxnId="{120889FA-5871-47B6-9631-AE73139F008F}">
      <dgm:prSet/>
      <dgm:spPr/>
      <dgm:t>
        <a:bodyPr/>
        <a:lstStyle/>
        <a:p>
          <a:endParaRPr lang="en-US"/>
        </a:p>
      </dgm:t>
    </dgm:pt>
    <dgm:pt modelId="{F39E9AF1-8372-44D2-9BD0-621D52811776}" type="sibTrans" cxnId="{120889FA-5871-47B6-9631-AE73139F008F}">
      <dgm:prSet/>
      <dgm:spPr/>
      <dgm:t>
        <a:bodyPr/>
        <a:lstStyle/>
        <a:p>
          <a:endParaRPr lang="en-US"/>
        </a:p>
      </dgm:t>
    </dgm:pt>
    <dgm:pt modelId="{B8512883-AEAB-4844-B63E-87DAE7690259}">
      <dgm:prSet/>
      <dgm:spPr/>
      <dgm:t>
        <a:bodyPr/>
        <a:lstStyle/>
        <a:p>
          <a:r>
            <a:rPr lang="en-US" dirty="0">
              <a:latin typeface="+mj-lt"/>
            </a:rPr>
            <a:t>Solution gallery provides turnkey configuration scenarios</a:t>
          </a:r>
        </a:p>
      </dgm:t>
    </dgm:pt>
    <dgm:pt modelId="{DD009E28-4E8D-44E2-9A91-52B63FCE1B2B}" type="parTrans" cxnId="{53A0ECF4-A85D-4D74-BAF9-1790AC87BA73}">
      <dgm:prSet/>
      <dgm:spPr/>
      <dgm:t>
        <a:bodyPr/>
        <a:lstStyle/>
        <a:p>
          <a:endParaRPr lang="en-US"/>
        </a:p>
      </dgm:t>
    </dgm:pt>
    <dgm:pt modelId="{89E07385-2079-4EBA-B43D-675194470C13}" type="sibTrans" cxnId="{53A0ECF4-A85D-4D74-BAF9-1790AC87BA73}">
      <dgm:prSet/>
      <dgm:spPr/>
      <dgm:t>
        <a:bodyPr/>
        <a:lstStyle/>
        <a:p>
          <a:endParaRPr lang="en-US"/>
        </a:p>
      </dgm:t>
    </dgm:pt>
    <dgm:pt modelId="{82E7207F-A463-4DD2-994D-1B97E3CB46B4}">
      <dgm:prSet/>
      <dgm:spPr/>
      <dgm:t>
        <a:bodyPr/>
        <a:lstStyle/>
        <a:p>
          <a:r>
            <a:rPr lang="en-US" dirty="0">
              <a:latin typeface="+mj-lt"/>
            </a:rPr>
            <a:t>Query syntax for advanced data search</a:t>
          </a:r>
        </a:p>
      </dgm:t>
    </dgm:pt>
    <dgm:pt modelId="{E0A2455A-8F88-4CFD-92DB-6977CA14EF1F}" type="parTrans" cxnId="{D93E77FA-C82A-4C54-89E9-4A660179812E}">
      <dgm:prSet/>
      <dgm:spPr/>
      <dgm:t>
        <a:bodyPr/>
        <a:lstStyle/>
        <a:p>
          <a:endParaRPr lang="en-US"/>
        </a:p>
      </dgm:t>
    </dgm:pt>
    <dgm:pt modelId="{2EC06432-3FAA-444C-A69D-F01C667EF28B}" type="sibTrans" cxnId="{D93E77FA-C82A-4C54-89E9-4A660179812E}">
      <dgm:prSet/>
      <dgm:spPr/>
      <dgm:t>
        <a:bodyPr/>
        <a:lstStyle/>
        <a:p>
          <a:endParaRPr lang="en-US"/>
        </a:p>
      </dgm:t>
    </dgm:pt>
    <dgm:pt modelId="{34503674-8980-4BC8-ADF5-4A10BC0510E2}">
      <dgm:prSet/>
      <dgm:spPr/>
      <dgm:t>
        <a:bodyPr/>
        <a:lstStyle/>
        <a:p>
          <a:r>
            <a:rPr lang="en-US" dirty="0">
              <a:latin typeface="+mj-lt"/>
            </a:rPr>
            <a:t>Log integrator to export data to external systems</a:t>
          </a:r>
        </a:p>
      </dgm:t>
    </dgm:pt>
    <dgm:pt modelId="{F2320E36-3239-46AA-B2D6-488C19158722}" type="parTrans" cxnId="{B5B15387-C41C-4996-971A-D9CA875B2564}">
      <dgm:prSet/>
      <dgm:spPr/>
      <dgm:t>
        <a:bodyPr/>
        <a:lstStyle/>
        <a:p>
          <a:endParaRPr lang="en-US"/>
        </a:p>
      </dgm:t>
    </dgm:pt>
    <dgm:pt modelId="{6D225CA5-8194-4B5A-A19F-455A07C43E31}" type="sibTrans" cxnId="{B5B15387-C41C-4996-971A-D9CA875B2564}">
      <dgm:prSet/>
      <dgm:spPr/>
      <dgm:t>
        <a:bodyPr/>
        <a:lstStyle/>
        <a:p>
          <a:endParaRPr lang="en-US"/>
        </a:p>
      </dgm:t>
    </dgm:pt>
    <dgm:pt modelId="{88EEBC6B-2996-4E08-9FBE-1533AF846375}" type="pres">
      <dgm:prSet presAssocID="{34E2907F-AB67-4086-A012-C2F8E4007F1B}" presName="linear" presStyleCnt="0">
        <dgm:presLayoutVars>
          <dgm:animLvl val="lvl"/>
          <dgm:resizeHandles val="exact"/>
        </dgm:presLayoutVars>
      </dgm:prSet>
      <dgm:spPr/>
    </dgm:pt>
    <dgm:pt modelId="{FD1C3FD9-7028-42C3-B942-1C9FFE8C242C}" type="pres">
      <dgm:prSet presAssocID="{91D7B981-2B14-4374-90AA-CB5F3663FF4C}" presName="parentText" presStyleLbl="node1" presStyleIdx="0" presStyleCnt="4">
        <dgm:presLayoutVars>
          <dgm:chMax val="0"/>
          <dgm:bulletEnabled val="1"/>
        </dgm:presLayoutVars>
      </dgm:prSet>
      <dgm:spPr/>
    </dgm:pt>
    <dgm:pt modelId="{106451C1-6CDB-448C-91DA-69FE617E1BBB}" type="pres">
      <dgm:prSet presAssocID="{91D7B981-2B14-4374-90AA-CB5F3663FF4C}" presName="childText" presStyleLbl="revTx" presStyleIdx="0" presStyleCnt="4">
        <dgm:presLayoutVars>
          <dgm:bulletEnabled val="1"/>
        </dgm:presLayoutVars>
      </dgm:prSet>
      <dgm:spPr/>
    </dgm:pt>
    <dgm:pt modelId="{972E4778-01B8-4AA0-B020-66F4B14E82D0}" type="pres">
      <dgm:prSet presAssocID="{274A1D18-D587-43E9-B7A6-28006573A00E}" presName="parentText" presStyleLbl="node1" presStyleIdx="1" presStyleCnt="4">
        <dgm:presLayoutVars>
          <dgm:chMax val="0"/>
          <dgm:bulletEnabled val="1"/>
        </dgm:presLayoutVars>
      </dgm:prSet>
      <dgm:spPr/>
    </dgm:pt>
    <dgm:pt modelId="{A9592725-3DC1-400B-9F36-D02B1AAF02DA}" type="pres">
      <dgm:prSet presAssocID="{274A1D18-D587-43E9-B7A6-28006573A00E}" presName="childText" presStyleLbl="revTx" presStyleIdx="1" presStyleCnt="4">
        <dgm:presLayoutVars>
          <dgm:bulletEnabled val="1"/>
        </dgm:presLayoutVars>
      </dgm:prSet>
      <dgm:spPr/>
    </dgm:pt>
    <dgm:pt modelId="{9901A4FC-1FDF-4150-95F4-0A0699664764}" type="pres">
      <dgm:prSet presAssocID="{2C3F6F34-17BF-4531-8E2D-DABF2ECE1D62}" presName="parentText" presStyleLbl="node1" presStyleIdx="2" presStyleCnt="4">
        <dgm:presLayoutVars>
          <dgm:chMax val="0"/>
          <dgm:bulletEnabled val="1"/>
        </dgm:presLayoutVars>
      </dgm:prSet>
      <dgm:spPr/>
    </dgm:pt>
    <dgm:pt modelId="{95632024-DC6E-4F37-9877-DE4035DD1B4F}" type="pres">
      <dgm:prSet presAssocID="{2C3F6F34-17BF-4531-8E2D-DABF2ECE1D62}" presName="childText" presStyleLbl="revTx" presStyleIdx="2" presStyleCnt="4">
        <dgm:presLayoutVars>
          <dgm:bulletEnabled val="1"/>
        </dgm:presLayoutVars>
      </dgm:prSet>
      <dgm:spPr/>
    </dgm:pt>
    <dgm:pt modelId="{E5A7B3DC-0067-48A2-9F8A-9C02BF65D99F}" type="pres">
      <dgm:prSet presAssocID="{C5D03545-BDB2-44A1-BADA-F0FA5EE781FB}" presName="parentText" presStyleLbl="node1" presStyleIdx="3" presStyleCnt="4">
        <dgm:presLayoutVars>
          <dgm:chMax val="0"/>
          <dgm:bulletEnabled val="1"/>
        </dgm:presLayoutVars>
      </dgm:prSet>
      <dgm:spPr/>
    </dgm:pt>
    <dgm:pt modelId="{9709711B-B4DE-42BF-9846-1703931017FD}" type="pres">
      <dgm:prSet presAssocID="{C5D03545-BDB2-44A1-BADA-F0FA5EE781FB}" presName="childText" presStyleLbl="revTx" presStyleIdx="3" presStyleCnt="4">
        <dgm:presLayoutVars>
          <dgm:bulletEnabled val="1"/>
        </dgm:presLayoutVars>
      </dgm:prSet>
      <dgm:spPr/>
    </dgm:pt>
  </dgm:ptLst>
  <dgm:cxnLst>
    <dgm:cxn modelId="{92C02908-1340-465F-B4D5-8D243423B9A8}" type="presOf" srcId="{274A1D18-D587-43E9-B7A6-28006573A00E}" destId="{972E4778-01B8-4AA0-B020-66F4B14E82D0}" srcOrd="0" destOrd="0" presId="urn:microsoft.com/office/officeart/2005/8/layout/vList2"/>
    <dgm:cxn modelId="{528E0F1D-F6FC-42E4-94D5-0EC85FBBA9BF}" type="presOf" srcId="{B8512883-AEAB-4844-B63E-87DAE7690259}" destId="{9709711B-B4DE-42BF-9846-1703931017FD}" srcOrd="0" destOrd="0" presId="urn:microsoft.com/office/officeart/2005/8/layout/vList2"/>
    <dgm:cxn modelId="{36229625-FD0C-4F0B-9C7C-FAC737DAAE2F}" type="presOf" srcId="{98816FFD-FF04-46DB-83E8-3E3EABD331CF}" destId="{A9592725-3DC1-400B-9F36-D02B1AAF02DA}" srcOrd="0" destOrd="1" presId="urn:microsoft.com/office/officeart/2005/8/layout/vList2"/>
    <dgm:cxn modelId="{0A15AA26-ED2D-4E56-8B61-6CBB394B4987}" type="presOf" srcId="{3FBFB92A-3395-4D7A-A7AB-7F40E3EC7ECD}" destId="{95632024-DC6E-4F37-9877-DE4035DD1B4F}" srcOrd="0" destOrd="2" presId="urn:microsoft.com/office/officeart/2005/8/layout/vList2"/>
    <dgm:cxn modelId="{7AAB9029-2088-41EA-B7FF-904695481D63}" srcId="{2C3F6F34-17BF-4531-8E2D-DABF2ECE1D62}" destId="{BCE559B2-4F1A-436F-8730-6298133FD310}" srcOrd="0" destOrd="0" parTransId="{345B365F-EC84-4E11-A333-10338F3F44D6}" sibTransId="{E2FF17A7-EC25-4855-9FF9-54B291AA8CB7}"/>
    <dgm:cxn modelId="{F532DD42-B897-4949-9D34-3857F8CF5235}" srcId="{91D7B981-2B14-4374-90AA-CB5F3663FF4C}" destId="{2611B374-E38C-485D-8789-FABEF39EA86F}" srcOrd="0" destOrd="0" parTransId="{5E7FFAD2-7B3B-40A4-A179-AAA151CB3509}" sibTransId="{86072E4D-F5FB-4336-8B4B-933FBEF9298F}"/>
    <dgm:cxn modelId="{17164B44-044C-4EF1-A5A7-2C4A9B9B0437}" type="presOf" srcId="{C5D03545-BDB2-44A1-BADA-F0FA5EE781FB}" destId="{E5A7B3DC-0067-48A2-9F8A-9C02BF65D99F}" srcOrd="0" destOrd="0" presId="urn:microsoft.com/office/officeart/2005/8/layout/vList2"/>
    <dgm:cxn modelId="{D3AC1346-DA1A-4767-9A26-FD5191137264}" srcId="{274A1D18-D587-43E9-B7A6-28006573A00E}" destId="{F7619AC5-A05C-4E65-BAE7-BCAB709EA680}" srcOrd="0" destOrd="0" parTransId="{F20E2AD2-E894-418D-B2DE-54272B771E08}" sibTransId="{0EB5E073-DF9C-4598-8FEB-A049E7C65D57}"/>
    <dgm:cxn modelId="{B6DFE146-243E-4354-AAC6-FDD8F26BE08B}" srcId="{2C3F6F34-17BF-4531-8E2D-DABF2ECE1D62}" destId="{738DA430-673B-4E80-888B-F2A07401127E}" srcOrd="1" destOrd="0" parTransId="{96A90381-4D78-4CDE-867E-FD219B0405D1}" sibTransId="{75EF73D1-486C-4582-B046-1675FDAFCEF0}"/>
    <dgm:cxn modelId="{FBC95047-C7E8-419C-AD40-0489E3A0BF93}" type="presOf" srcId="{34E2907F-AB67-4086-A012-C2F8E4007F1B}" destId="{88EEBC6B-2996-4E08-9FBE-1533AF846375}" srcOrd="0" destOrd="0" presId="urn:microsoft.com/office/officeart/2005/8/layout/vList2"/>
    <dgm:cxn modelId="{2BD9E84A-B5F5-4E34-A13F-CCE061F8E3F0}" srcId="{274A1D18-D587-43E9-B7A6-28006573A00E}" destId="{15302A88-E804-4772-9B60-99A9B0835D2F}" srcOrd="2" destOrd="0" parTransId="{67EB6EEF-08D6-4806-B7A3-6934CAF1ED6F}" sibTransId="{AB68D91D-A6B8-448B-B50E-AC6F85A4CA49}"/>
    <dgm:cxn modelId="{1D982E76-93A9-4D83-B4C4-41D7FEDEED07}" type="presOf" srcId="{F7619AC5-A05C-4E65-BAE7-BCAB709EA680}" destId="{A9592725-3DC1-400B-9F36-D02B1AAF02DA}" srcOrd="0" destOrd="0" presId="urn:microsoft.com/office/officeart/2005/8/layout/vList2"/>
    <dgm:cxn modelId="{B8A9F258-563D-42BD-BA5C-6DB01837B883}" type="presOf" srcId="{738DA430-673B-4E80-888B-F2A07401127E}" destId="{95632024-DC6E-4F37-9877-DE4035DD1B4F}" srcOrd="0" destOrd="1" presId="urn:microsoft.com/office/officeart/2005/8/layout/vList2"/>
    <dgm:cxn modelId="{A8271859-5069-4C96-A23A-255F4234AC86}" type="presOf" srcId="{91D7B981-2B14-4374-90AA-CB5F3663FF4C}" destId="{FD1C3FD9-7028-42C3-B942-1C9FFE8C242C}" srcOrd="0" destOrd="0" presId="urn:microsoft.com/office/officeart/2005/8/layout/vList2"/>
    <dgm:cxn modelId="{BD3E627B-58C9-4216-8A37-8D5DD4A6F350}" type="presOf" srcId="{2C3F6F34-17BF-4531-8E2D-DABF2ECE1D62}" destId="{9901A4FC-1FDF-4150-95F4-0A0699664764}" srcOrd="0" destOrd="0" presId="urn:microsoft.com/office/officeart/2005/8/layout/vList2"/>
    <dgm:cxn modelId="{79C35884-C475-4AAA-9D28-E160CAD05962}" type="presOf" srcId="{BCE559B2-4F1A-436F-8730-6298133FD310}" destId="{95632024-DC6E-4F37-9877-DE4035DD1B4F}" srcOrd="0" destOrd="0" presId="urn:microsoft.com/office/officeart/2005/8/layout/vList2"/>
    <dgm:cxn modelId="{B5B15387-C41C-4996-971A-D9CA875B2564}" srcId="{C5D03545-BDB2-44A1-BADA-F0FA5EE781FB}" destId="{34503674-8980-4BC8-ADF5-4A10BC0510E2}" srcOrd="2" destOrd="0" parTransId="{F2320E36-3239-46AA-B2D6-488C19158722}" sibTransId="{6D225CA5-8194-4B5A-A19F-455A07C43E31}"/>
    <dgm:cxn modelId="{AA79179A-F2DC-49DA-A75F-485D50543F45}" type="presOf" srcId="{82E7207F-A463-4DD2-994D-1B97E3CB46B4}" destId="{9709711B-B4DE-42BF-9846-1703931017FD}" srcOrd="0" destOrd="1" presId="urn:microsoft.com/office/officeart/2005/8/layout/vList2"/>
    <dgm:cxn modelId="{31706EB7-674F-45D9-BB00-2AE420CEDE95}" srcId="{2C3F6F34-17BF-4531-8E2D-DABF2ECE1D62}" destId="{3FBFB92A-3395-4D7A-A7AB-7F40E3EC7ECD}" srcOrd="2" destOrd="0" parTransId="{4F3B9575-8CEE-4920-B23E-6CAEE4541167}" sibTransId="{94F409F4-F193-45B2-AF69-AFFF56E74662}"/>
    <dgm:cxn modelId="{0B695EBE-14FE-4BD8-A857-A260A215C02A}" srcId="{91D7B981-2B14-4374-90AA-CB5F3663FF4C}" destId="{4ACACEC7-3D83-4C9A-A814-EC69A24A39B2}" srcOrd="2" destOrd="0" parTransId="{043B8C86-322D-43E1-9AB9-25047A6DD829}" sibTransId="{DD0CD5F0-F6BF-47E7-9CC0-8B0DE71E66B3}"/>
    <dgm:cxn modelId="{94B6E3C8-93D2-4641-A1D7-2AEED05CF7FB}" type="presOf" srcId="{15302A88-E804-4772-9B60-99A9B0835D2F}" destId="{A9592725-3DC1-400B-9F36-D02B1AAF02DA}" srcOrd="0" destOrd="2" presId="urn:microsoft.com/office/officeart/2005/8/layout/vList2"/>
    <dgm:cxn modelId="{16B9E9D3-38C8-44FA-A810-EFF3E57DC5E9}" srcId="{34E2907F-AB67-4086-A012-C2F8E4007F1B}" destId="{274A1D18-D587-43E9-B7A6-28006573A00E}" srcOrd="1" destOrd="0" parTransId="{29D2798D-CCB0-4685-AA92-15182A9DDDB0}" sibTransId="{3C08B811-3F1E-46BD-A246-318AD09685EC}"/>
    <dgm:cxn modelId="{6E8014E1-782A-4D65-80F6-2B753CEFDC66}" type="presOf" srcId="{00AAF633-41EB-4356-BA98-1452334D8ADE}" destId="{106451C1-6CDB-448C-91DA-69FE617E1BBB}" srcOrd="0" destOrd="1" presId="urn:microsoft.com/office/officeart/2005/8/layout/vList2"/>
    <dgm:cxn modelId="{92F1E1E4-B8E4-4746-9387-7A592A116A1E}" type="presOf" srcId="{34503674-8980-4BC8-ADF5-4A10BC0510E2}" destId="{9709711B-B4DE-42BF-9846-1703931017FD}" srcOrd="0" destOrd="2" presId="urn:microsoft.com/office/officeart/2005/8/layout/vList2"/>
    <dgm:cxn modelId="{5806B8E6-5F06-4AAE-95EE-9B73C02DAA92}" type="presOf" srcId="{2611B374-E38C-485D-8789-FABEF39EA86F}" destId="{106451C1-6CDB-448C-91DA-69FE617E1BBB}" srcOrd="0" destOrd="0" presId="urn:microsoft.com/office/officeart/2005/8/layout/vList2"/>
    <dgm:cxn modelId="{BEB319E9-D286-4244-9FD7-270E1F2A6219}" srcId="{91D7B981-2B14-4374-90AA-CB5F3663FF4C}" destId="{00AAF633-41EB-4356-BA98-1452334D8ADE}" srcOrd="1" destOrd="0" parTransId="{A748C65A-FB74-42D3-B82E-F041E4D0AE60}" sibTransId="{7279E95F-EF82-44E4-B6CD-0BBDCB6B7858}"/>
    <dgm:cxn modelId="{2E12A7E9-52E6-4F30-968B-C22ABBBD1D20}" srcId="{34E2907F-AB67-4086-A012-C2F8E4007F1B}" destId="{2C3F6F34-17BF-4531-8E2D-DABF2ECE1D62}" srcOrd="2" destOrd="0" parTransId="{42890576-0140-485E-ADB8-DFF42B1F778C}" sibTransId="{DF426FA8-DB42-4374-A9D7-74D04E92C200}"/>
    <dgm:cxn modelId="{26E999EA-C3E3-453F-B20D-3B9088221FE6}" srcId="{34E2907F-AB67-4086-A012-C2F8E4007F1B}" destId="{91D7B981-2B14-4374-90AA-CB5F3663FF4C}" srcOrd="0" destOrd="0" parTransId="{AB2EBE79-E4DB-42D0-B32C-C0103C26937C}" sibTransId="{ED4D701C-95FF-461A-830B-6064C9CA22FE}"/>
    <dgm:cxn modelId="{1A1492EC-26BA-492D-A376-41454D672D64}" type="presOf" srcId="{4ACACEC7-3D83-4C9A-A814-EC69A24A39B2}" destId="{106451C1-6CDB-448C-91DA-69FE617E1BBB}" srcOrd="0" destOrd="2" presId="urn:microsoft.com/office/officeart/2005/8/layout/vList2"/>
    <dgm:cxn modelId="{53A0ECF4-A85D-4D74-BAF9-1790AC87BA73}" srcId="{C5D03545-BDB2-44A1-BADA-F0FA5EE781FB}" destId="{B8512883-AEAB-4844-B63E-87DAE7690259}" srcOrd="0" destOrd="0" parTransId="{DD009E28-4E8D-44E2-9A91-52B63FCE1B2B}" sibTransId="{89E07385-2079-4EBA-B43D-675194470C13}"/>
    <dgm:cxn modelId="{D93E77FA-C82A-4C54-89E9-4A660179812E}" srcId="{C5D03545-BDB2-44A1-BADA-F0FA5EE781FB}" destId="{82E7207F-A463-4DD2-994D-1B97E3CB46B4}" srcOrd="1" destOrd="0" parTransId="{E0A2455A-8F88-4CFD-92DB-6977CA14EF1F}" sibTransId="{2EC06432-3FAA-444C-A69D-F01C667EF28B}"/>
    <dgm:cxn modelId="{120889FA-5871-47B6-9631-AE73139F008F}" srcId="{34E2907F-AB67-4086-A012-C2F8E4007F1B}" destId="{C5D03545-BDB2-44A1-BADA-F0FA5EE781FB}" srcOrd="3" destOrd="0" parTransId="{3A738EE2-8322-4FB3-9DA0-F75C106D551F}" sibTransId="{F39E9AF1-8372-44D2-9BD0-621D52811776}"/>
    <dgm:cxn modelId="{19C2FEFD-C4CE-4BE6-9DA6-AA6A8A2CC66F}" srcId="{274A1D18-D587-43E9-B7A6-28006573A00E}" destId="{98816FFD-FF04-46DB-83E8-3E3EABD331CF}" srcOrd="1" destOrd="0" parTransId="{525CE80D-C2F8-4E41-94D5-7D5622346573}" sibTransId="{F7AC3B71-AF9B-405D-BC77-A34CA894A189}"/>
    <dgm:cxn modelId="{0E8B1369-D159-4EFA-B12E-CC88D5E63D16}" type="presParOf" srcId="{88EEBC6B-2996-4E08-9FBE-1533AF846375}" destId="{FD1C3FD9-7028-42C3-B942-1C9FFE8C242C}" srcOrd="0" destOrd="0" presId="urn:microsoft.com/office/officeart/2005/8/layout/vList2"/>
    <dgm:cxn modelId="{0FFEA953-08B4-4F67-BE24-14B5BEA1BF25}" type="presParOf" srcId="{88EEBC6B-2996-4E08-9FBE-1533AF846375}" destId="{106451C1-6CDB-448C-91DA-69FE617E1BBB}" srcOrd="1" destOrd="0" presId="urn:microsoft.com/office/officeart/2005/8/layout/vList2"/>
    <dgm:cxn modelId="{093F4624-B805-464C-9FBC-3C3A1B4BFDCE}" type="presParOf" srcId="{88EEBC6B-2996-4E08-9FBE-1533AF846375}" destId="{972E4778-01B8-4AA0-B020-66F4B14E82D0}" srcOrd="2" destOrd="0" presId="urn:microsoft.com/office/officeart/2005/8/layout/vList2"/>
    <dgm:cxn modelId="{2039A315-F083-4FC9-9E7B-52B61FFF9359}" type="presParOf" srcId="{88EEBC6B-2996-4E08-9FBE-1533AF846375}" destId="{A9592725-3DC1-400B-9F36-D02B1AAF02DA}" srcOrd="3" destOrd="0" presId="urn:microsoft.com/office/officeart/2005/8/layout/vList2"/>
    <dgm:cxn modelId="{181A3076-30DA-4BDA-A2B1-19191F16F996}" type="presParOf" srcId="{88EEBC6B-2996-4E08-9FBE-1533AF846375}" destId="{9901A4FC-1FDF-4150-95F4-0A0699664764}" srcOrd="4" destOrd="0" presId="urn:microsoft.com/office/officeart/2005/8/layout/vList2"/>
    <dgm:cxn modelId="{D8D5F868-ADAC-49A6-A881-989A22E6E5EF}" type="presParOf" srcId="{88EEBC6B-2996-4E08-9FBE-1533AF846375}" destId="{95632024-DC6E-4F37-9877-DE4035DD1B4F}" srcOrd="5" destOrd="0" presId="urn:microsoft.com/office/officeart/2005/8/layout/vList2"/>
    <dgm:cxn modelId="{A661FE3B-4B78-422B-9A7F-7BB0C39D9058}" type="presParOf" srcId="{88EEBC6B-2996-4E08-9FBE-1533AF846375}" destId="{E5A7B3DC-0067-48A2-9F8A-9C02BF65D99F}" srcOrd="6" destOrd="0" presId="urn:microsoft.com/office/officeart/2005/8/layout/vList2"/>
    <dgm:cxn modelId="{36C81918-C244-4C3C-BA1E-C161B5C9F582}" type="presParOf" srcId="{88EEBC6B-2996-4E08-9FBE-1533AF846375}" destId="{9709711B-B4DE-42BF-9846-1703931017FD}"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429F172-266E-4194-B325-3535962682A2}"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US"/>
        </a:p>
      </dgm:t>
    </dgm:pt>
    <dgm:pt modelId="{25D1D2E0-2852-4E4E-ABAD-5368BECDB914}">
      <dgm:prSet/>
      <dgm:spPr/>
      <dgm:t>
        <a:bodyPr/>
        <a:lstStyle/>
        <a:p>
          <a:r>
            <a:rPr lang="en-US"/>
            <a:t>Custom Logs</a:t>
          </a:r>
        </a:p>
      </dgm:t>
    </dgm:pt>
    <dgm:pt modelId="{E8917FCD-38D0-4084-BE06-86F764D9638A}" type="parTrans" cxnId="{7D95CE00-F443-4A6E-B295-69DC408562D3}">
      <dgm:prSet/>
      <dgm:spPr/>
      <dgm:t>
        <a:bodyPr/>
        <a:lstStyle/>
        <a:p>
          <a:endParaRPr lang="en-US"/>
        </a:p>
      </dgm:t>
    </dgm:pt>
    <dgm:pt modelId="{EAA04C2B-DA46-46E2-8AFE-4872D6953DF5}" type="sibTrans" cxnId="{7D95CE00-F443-4A6E-B295-69DC408562D3}">
      <dgm:prSet/>
      <dgm:spPr/>
      <dgm:t>
        <a:bodyPr/>
        <a:lstStyle/>
        <a:p>
          <a:endParaRPr lang="en-US"/>
        </a:p>
      </dgm:t>
    </dgm:pt>
    <dgm:pt modelId="{E9749290-AA9F-4153-AD62-6AEB86916FA1}">
      <dgm:prSet/>
      <dgm:spPr/>
      <dgm:t>
        <a:bodyPr/>
        <a:lstStyle/>
        <a:p>
          <a:r>
            <a:rPr lang="en-US" dirty="0">
              <a:latin typeface="+mj-lt"/>
            </a:rPr>
            <a:t>Delimited text files, parsed and mapped to custom fields</a:t>
          </a:r>
        </a:p>
      </dgm:t>
    </dgm:pt>
    <dgm:pt modelId="{7630610C-4F6A-40A1-9DF1-A7C9D654E387}" type="parTrans" cxnId="{AB973F25-98A1-4AE3-8BEE-067BFDE44B59}">
      <dgm:prSet/>
      <dgm:spPr/>
      <dgm:t>
        <a:bodyPr/>
        <a:lstStyle/>
        <a:p>
          <a:endParaRPr lang="en-US"/>
        </a:p>
      </dgm:t>
    </dgm:pt>
    <dgm:pt modelId="{D69833EC-417D-46D9-9A5D-6EF28A928A0A}" type="sibTrans" cxnId="{AB973F25-98A1-4AE3-8BEE-067BFDE44B59}">
      <dgm:prSet/>
      <dgm:spPr/>
      <dgm:t>
        <a:bodyPr/>
        <a:lstStyle/>
        <a:p>
          <a:endParaRPr lang="en-US"/>
        </a:p>
      </dgm:t>
    </dgm:pt>
    <dgm:pt modelId="{B781989C-676A-4FE6-85D2-2BC4CAB8AF5E}">
      <dgm:prSet/>
      <dgm:spPr/>
      <dgm:t>
        <a:bodyPr/>
        <a:lstStyle/>
        <a:p>
          <a:r>
            <a:rPr lang="en-US"/>
            <a:t>Windows Event Logs</a:t>
          </a:r>
        </a:p>
      </dgm:t>
    </dgm:pt>
    <dgm:pt modelId="{E0B9FA4F-B303-45BC-9E55-F55D45588D2B}" type="parTrans" cxnId="{1AE98453-1BB5-4BB2-A43F-F3B8C66797FB}">
      <dgm:prSet/>
      <dgm:spPr/>
      <dgm:t>
        <a:bodyPr/>
        <a:lstStyle/>
        <a:p>
          <a:endParaRPr lang="en-US"/>
        </a:p>
      </dgm:t>
    </dgm:pt>
    <dgm:pt modelId="{050406A3-FD52-450E-AF75-2875E84A933A}" type="sibTrans" cxnId="{1AE98453-1BB5-4BB2-A43F-F3B8C66797FB}">
      <dgm:prSet/>
      <dgm:spPr/>
      <dgm:t>
        <a:bodyPr/>
        <a:lstStyle/>
        <a:p>
          <a:endParaRPr lang="en-US"/>
        </a:p>
      </dgm:t>
    </dgm:pt>
    <dgm:pt modelId="{75CC982C-F3CC-4B2A-93D6-B93149AB54A6}">
      <dgm:prSet/>
      <dgm:spPr/>
      <dgm:t>
        <a:bodyPr/>
        <a:lstStyle/>
        <a:p>
          <a:r>
            <a:rPr lang="en-US" dirty="0">
              <a:latin typeface="+mj-lt"/>
            </a:rPr>
            <a:t>Filter by log name and event severity</a:t>
          </a:r>
        </a:p>
      </dgm:t>
    </dgm:pt>
    <dgm:pt modelId="{F44EA4DD-EF0A-40E6-96E7-D8461A671C15}" type="parTrans" cxnId="{C411119C-762F-4E25-BED7-CB4FCB2B692E}">
      <dgm:prSet/>
      <dgm:spPr/>
      <dgm:t>
        <a:bodyPr/>
        <a:lstStyle/>
        <a:p>
          <a:endParaRPr lang="en-US"/>
        </a:p>
      </dgm:t>
    </dgm:pt>
    <dgm:pt modelId="{75ED2052-B7F4-4C24-998F-D82E225923E0}" type="sibTrans" cxnId="{C411119C-762F-4E25-BED7-CB4FCB2B692E}">
      <dgm:prSet/>
      <dgm:spPr/>
      <dgm:t>
        <a:bodyPr/>
        <a:lstStyle/>
        <a:p>
          <a:endParaRPr lang="en-US"/>
        </a:p>
      </dgm:t>
    </dgm:pt>
    <dgm:pt modelId="{1519DF79-925C-4154-BC00-F13C0D028059}">
      <dgm:prSet/>
      <dgm:spPr/>
      <dgm:t>
        <a:bodyPr/>
        <a:lstStyle/>
        <a:p>
          <a:r>
            <a:rPr lang="en-US"/>
            <a:t>Windows/Linux Performance Counters</a:t>
          </a:r>
        </a:p>
      </dgm:t>
    </dgm:pt>
    <dgm:pt modelId="{339F885E-BD89-4CDC-9578-E10690073AF3}" type="parTrans" cxnId="{4444A949-DE05-431B-BD48-4F41439AECBC}">
      <dgm:prSet/>
      <dgm:spPr/>
      <dgm:t>
        <a:bodyPr/>
        <a:lstStyle/>
        <a:p>
          <a:endParaRPr lang="en-US"/>
        </a:p>
      </dgm:t>
    </dgm:pt>
    <dgm:pt modelId="{5D07EBFD-396E-4C2A-89E7-7B679B690D2D}" type="sibTrans" cxnId="{4444A949-DE05-431B-BD48-4F41439AECBC}">
      <dgm:prSet/>
      <dgm:spPr/>
      <dgm:t>
        <a:bodyPr/>
        <a:lstStyle/>
        <a:p>
          <a:endParaRPr lang="en-US"/>
        </a:p>
      </dgm:t>
    </dgm:pt>
    <dgm:pt modelId="{2A06E1E8-C081-4D3A-A084-7E32BBECAE40}">
      <dgm:prSet/>
      <dgm:spPr/>
      <dgm:t>
        <a:bodyPr/>
        <a:lstStyle/>
        <a:p>
          <a:r>
            <a:rPr lang="en-US" dirty="0">
              <a:latin typeface="+mj-lt"/>
            </a:rPr>
            <a:t>Size = 1 MB x (# counters) x (# agents) x (# instances</a:t>
          </a:r>
          <a:r>
            <a:rPr lang="en-US" dirty="0"/>
            <a:t>)</a:t>
          </a:r>
        </a:p>
      </dgm:t>
    </dgm:pt>
    <dgm:pt modelId="{7808BFE8-4CCC-41D3-9254-17A014E4FCCD}" type="parTrans" cxnId="{36784FBE-DC0D-4598-9F7F-B291D8AF5FAF}">
      <dgm:prSet/>
      <dgm:spPr/>
      <dgm:t>
        <a:bodyPr/>
        <a:lstStyle/>
        <a:p>
          <a:endParaRPr lang="en-US"/>
        </a:p>
      </dgm:t>
    </dgm:pt>
    <dgm:pt modelId="{9400E3C9-4FD2-4DA0-855D-FFB3AAB03CC1}" type="sibTrans" cxnId="{36784FBE-DC0D-4598-9F7F-B291D8AF5FAF}">
      <dgm:prSet/>
      <dgm:spPr/>
      <dgm:t>
        <a:bodyPr/>
        <a:lstStyle/>
        <a:p>
          <a:endParaRPr lang="en-US"/>
        </a:p>
      </dgm:t>
    </dgm:pt>
    <dgm:pt modelId="{898E7772-C4ED-4FB9-88BA-94014A9D7048}">
      <dgm:prSet/>
      <dgm:spPr/>
      <dgm:t>
        <a:bodyPr/>
        <a:lstStyle/>
        <a:p>
          <a:r>
            <a:rPr lang="en-US"/>
            <a:t>Windows IIS Logs</a:t>
          </a:r>
        </a:p>
      </dgm:t>
    </dgm:pt>
    <dgm:pt modelId="{AE6301D4-45B8-489D-8396-0842CDE32287}" type="parTrans" cxnId="{9F440D44-CD79-484D-A2C6-85353E047BE1}">
      <dgm:prSet/>
      <dgm:spPr/>
      <dgm:t>
        <a:bodyPr/>
        <a:lstStyle/>
        <a:p>
          <a:endParaRPr lang="en-US"/>
        </a:p>
      </dgm:t>
    </dgm:pt>
    <dgm:pt modelId="{163FBE30-6B1F-462B-B6E9-A0278779129A}" type="sibTrans" cxnId="{9F440D44-CD79-484D-A2C6-85353E047BE1}">
      <dgm:prSet/>
      <dgm:spPr/>
      <dgm:t>
        <a:bodyPr/>
        <a:lstStyle/>
        <a:p>
          <a:endParaRPr lang="en-US"/>
        </a:p>
      </dgm:t>
    </dgm:pt>
    <dgm:pt modelId="{912F5652-DF7C-4272-8D5A-C9C047A11513}">
      <dgm:prSet/>
      <dgm:spPr/>
      <dgm:t>
        <a:bodyPr/>
        <a:lstStyle/>
        <a:p>
          <a:r>
            <a:rPr lang="en-US" dirty="0">
              <a:latin typeface="+mj-lt"/>
            </a:rPr>
            <a:t>Supports W3C format, 15 minute sampling</a:t>
          </a:r>
        </a:p>
      </dgm:t>
    </dgm:pt>
    <dgm:pt modelId="{7CCC87B3-A89C-47BA-8125-476C405F2DD6}" type="parTrans" cxnId="{6F43C2C3-5CE4-4324-8082-B7DD137AF958}">
      <dgm:prSet/>
      <dgm:spPr/>
      <dgm:t>
        <a:bodyPr/>
        <a:lstStyle/>
        <a:p>
          <a:endParaRPr lang="en-US"/>
        </a:p>
      </dgm:t>
    </dgm:pt>
    <dgm:pt modelId="{EB8B9423-9323-49B3-9E66-836E772C6650}" type="sibTrans" cxnId="{6F43C2C3-5CE4-4324-8082-B7DD137AF958}">
      <dgm:prSet/>
      <dgm:spPr/>
      <dgm:t>
        <a:bodyPr/>
        <a:lstStyle/>
        <a:p>
          <a:endParaRPr lang="en-US"/>
        </a:p>
      </dgm:t>
    </dgm:pt>
    <dgm:pt modelId="{E908AB77-45EE-413E-A21E-6956E82F907D}">
      <dgm:prSet/>
      <dgm:spPr/>
      <dgm:t>
        <a:bodyPr/>
        <a:lstStyle/>
        <a:p>
          <a:r>
            <a:rPr lang="en-US"/>
            <a:t>Syslog</a:t>
          </a:r>
        </a:p>
      </dgm:t>
    </dgm:pt>
    <dgm:pt modelId="{D981FADA-55DE-45E1-987B-9A0E96530DA5}" type="parTrans" cxnId="{6058CFA9-8B74-40F0-AB47-B40A6A9F70AB}">
      <dgm:prSet/>
      <dgm:spPr/>
      <dgm:t>
        <a:bodyPr/>
        <a:lstStyle/>
        <a:p>
          <a:endParaRPr lang="en-US"/>
        </a:p>
      </dgm:t>
    </dgm:pt>
    <dgm:pt modelId="{026E3FCC-5E42-4C28-BDAE-715E62A30561}" type="sibTrans" cxnId="{6058CFA9-8B74-40F0-AB47-B40A6A9F70AB}">
      <dgm:prSet/>
      <dgm:spPr/>
      <dgm:t>
        <a:bodyPr/>
        <a:lstStyle/>
        <a:p>
          <a:endParaRPr lang="en-US"/>
        </a:p>
      </dgm:t>
    </dgm:pt>
    <dgm:pt modelId="{A012BBD7-60FE-4BFE-B43F-5CA25EC0053F}">
      <dgm:prSet/>
      <dgm:spPr/>
      <dgm:t>
        <a:bodyPr/>
        <a:lstStyle/>
        <a:p>
          <a:r>
            <a:rPr lang="en-US" dirty="0">
              <a:latin typeface="+mj-lt"/>
            </a:rPr>
            <a:t>Filter by faculty name and event severity</a:t>
          </a:r>
        </a:p>
      </dgm:t>
    </dgm:pt>
    <dgm:pt modelId="{ED974F28-3D10-459B-8DF6-44B7D4B596A7}" type="parTrans" cxnId="{15C084A9-F9A2-44C7-B7D2-685CECD2EF46}">
      <dgm:prSet/>
      <dgm:spPr/>
      <dgm:t>
        <a:bodyPr/>
        <a:lstStyle/>
        <a:p>
          <a:endParaRPr lang="en-US"/>
        </a:p>
      </dgm:t>
    </dgm:pt>
    <dgm:pt modelId="{9E4103A6-728E-4157-A9CF-CB77E3DA6829}" type="sibTrans" cxnId="{15C084A9-F9A2-44C7-B7D2-685CECD2EF46}">
      <dgm:prSet/>
      <dgm:spPr/>
      <dgm:t>
        <a:bodyPr/>
        <a:lstStyle/>
        <a:p>
          <a:endParaRPr lang="en-US"/>
        </a:p>
      </dgm:t>
    </dgm:pt>
    <dgm:pt modelId="{D8CEFE42-2E2C-4B86-A626-ACE5576801FD}">
      <dgm:prSet/>
      <dgm:spPr/>
      <dgm:t>
        <a:bodyPr/>
        <a:lstStyle/>
        <a:p>
          <a:r>
            <a:rPr lang="en-US"/>
            <a:t>Linux OMS Agent </a:t>
          </a:r>
        </a:p>
      </dgm:t>
    </dgm:pt>
    <dgm:pt modelId="{18036A23-55A8-480A-B9E4-CA533E85BA9D}" type="parTrans" cxnId="{25ED0C39-7815-4BF0-835F-7964D375F8A9}">
      <dgm:prSet/>
      <dgm:spPr/>
      <dgm:t>
        <a:bodyPr/>
        <a:lstStyle/>
        <a:p>
          <a:endParaRPr lang="en-US"/>
        </a:p>
      </dgm:t>
    </dgm:pt>
    <dgm:pt modelId="{FD1E1A32-65D2-452C-A4FA-8D7A4AE42A83}" type="sibTrans" cxnId="{25ED0C39-7815-4BF0-835F-7964D375F8A9}">
      <dgm:prSet/>
      <dgm:spPr/>
      <dgm:t>
        <a:bodyPr/>
        <a:lstStyle/>
        <a:p>
          <a:endParaRPr lang="en-US"/>
        </a:p>
      </dgm:t>
    </dgm:pt>
    <dgm:pt modelId="{1FF1F745-3E24-4136-B33C-55C58FAE5865}">
      <dgm:prSet/>
      <dgm:spPr/>
      <dgm:t>
        <a:bodyPr/>
        <a:lstStyle/>
        <a:p>
          <a:r>
            <a:rPr lang="en-US" dirty="0">
              <a:latin typeface="+mj-lt"/>
            </a:rPr>
            <a:t>Custom JSON data</a:t>
          </a:r>
        </a:p>
      </dgm:t>
    </dgm:pt>
    <dgm:pt modelId="{80C4AA98-E4EE-4CD0-9030-25BE61D9EACE}" type="parTrans" cxnId="{D8B1FD55-E01C-4DB9-BC5D-6B1304739B5D}">
      <dgm:prSet/>
      <dgm:spPr/>
      <dgm:t>
        <a:bodyPr/>
        <a:lstStyle/>
        <a:p>
          <a:endParaRPr lang="en-US"/>
        </a:p>
      </dgm:t>
    </dgm:pt>
    <dgm:pt modelId="{415C2E1B-F8E8-463E-95DB-340E32A7E890}" type="sibTrans" cxnId="{D8B1FD55-E01C-4DB9-BC5D-6B1304739B5D}">
      <dgm:prSet/>
      <dgm:spPr/>
      <dgm:t>
        <a:bodyPr/>
        <a:lstStyle/>
        <a:p>
          <a:endParaRPr lang="en-US"/>
        </a:p>
      </dgm:t>
    </dgm:pt>
    <dgm:pt modelId="{E66DFB0D-017C-46D4-9C05-0071FFDAC25F}">
      <dgm:prSet/>
      <dgm:spPr/>
      <dgm:t>
        <a:bodyPr/>
        <a:lstStyle/>
        <a:p>
          <a:r>
            <a:rPr lang="en-US" dirty="0" err="1">
              <a:latin typeface="+mj-lt"/>
            </a:rPr>
            <a:t>Collectd</a:t>
          </a:r>
          <a:r>
            <a:rPr lang="en-US" dirty="0">
              <a:latin typeface="+mj-lt"/>
            </a:rPr>
            <a:t> performance data</a:t>
          </a:r>
        </a:p>
      </dgm:t>
    </dgm:pt>
    <dgm:pt modelId="{A6391E58-CA8A-4149-808D-FD7FB0A01842}" type="parTrans" cxnId="{AC1924DC-B0D3-47D7-BC54-D0AF3B3DAEDB}">
      <dgm:prSet/>
      <dgm:spPr/>
      <dgm:t>
        <a:bodyPr/>
        <a:lstStyle/>
        <a:p>
          <a:endParaRPr lang="en-US"/>
        </a:p>
      </dgm:t>
    </dgm:pt>
    <dgm:pt modelId="{0517CB42-9196-4EB6-A038-37156FA3D21B}" type="sibTrans" cxnId="{AC1924DC-B0D3-47D7-BC54-D0AF3B3DAEDB}">
      <dgm:prSet/>
      <dgm:spPr/>
      <dgm:t>
        <a:bodyPr/>
        <a:lstStyle/>
        <a:p>
          <a:endParaRPr lang="en-US"/>
        </a:p>
      </dgm:t>
    </dgm:pt>
    <dgm:pt modelId="{8BF2E278-C796-448A-8605-47376B2BA11A}">
      <dgm:prSet/>
      <dgm:spPr/>
      <dgm:t>
        <a:bodyPr/>
        <a:lstStyle/>
        <a:p>
          <a:r>
            <a:rPr lang="en-US" dirty="0">
              <a:latin typeface="+mj-lt"/>
            </a:rPr>
            <a:t>Nagios and Zabbix alerts</a:t>
          </a:r>
        </a:p>
      </dgm:t>
    </dgm:pt>
    <dgm:pt modelId="{5E31F559-15D8-4284-AE70-F525CBF49A30}" type="parTrans" cxnId="{0133BFB4-FF17-4E1C-8D87-8C1D035482D8}">
      <dgm:prSet/>
      <dgm:spPr/>
      <dgm:t>
        <a:bodyPr/>
        <a:lstStyle/>
        <a:p>
          <a:endParaRPr lang="en-US"/>
        </a:p>
      </dgm:t>
    </dgm:pt>
    <dgm:pt modelId="{58A6CD4F-C078-4CC8-8BA2-41D730DCB6BE}" type="sibTrans" cxnId="{0133BFB4-FF17-4E1C-8D87-8C1D035482D8}">
      <dgm:prSet/>
      <dgm:spPr/>
      <dgm:t>
        <a:bodyPr/>
        <a:lstStyle/>
        <a:p>
          <a:endParaRPr lang="en-US"/>
        </a:p>
      </dgm:t>
    </dgm:pt>
    <dgm:pt modelId="{2109A9DD-8C7B-45D0-B615-76894D43E0E0}" type="pres">
      <dgm:prSet presAssocID="{C429F172-266E-4194-B325-3535962682A2}" presName="linear" presStyleCnt="0">
        <dgm:presLayoutVars>
          <dgm:animLvl val="lvl"/>
          <dgm:resizeHandles val="exact"/>
        </dgm:presLayoutVars>
      </dgm:prSet>
      <dgm:spPr/>
    </dgm:pt>
    <dgm:pt modelId="{E9D4DB52-AC2C-4954-BFDE-CAC4FCB7E1A4}" type="pres">
      <dgm:prSet presAssocID="{25D1D2E0-2852-4E4E-ABAD-5368BECDB914}" presName="parentText" presStyleLbl="node1" presStyleIdx="0" presStyleCnt="6">
        <dgm:presLayoutVars>
          <dgm:chMax val="0"/>
          <dgm:bulletEnabled val="1"/>
        </dgm:presLayoutVars>
      </dgm:prSet>
      <dgm:spPr/>
    </dgm:pt>
    <dgm:pt modelId="{B22112F1-E669-4260-9FB8-3EB315174A36}" type="pres">
      <dgm:prSet presAssocID="{25D1D2E0-2852-4E4E-ABAD-5368BECDB914}" presName="childText" presStyleLbl="revTx" presStyleIdx="0" presStyleCnt="6">
        <dgm:presLayoutVars>
          <dgm:bulletEnabled val="1"/>
        </dgm:presLayoutVars>
      </dgm:prSet>
      <dgm:spPr/>
    </dgm:pt>
    <dgm:pt modelId="{773F151A-A0B7-44B7-89F8-A0593D61CEDC}" type="pres">
      <dgm:prSet presAssocID="{B781989C-676A-4FE6-85D2-2BC4CAB8AF5E}" presName="parentText" presStyleLbl="node1" presStyleIdx="1" presStyleCnt="6">
        <dgm:presLayoutVars>
          <dgm:chMax val="0"/>
          <dgm:bulletEnabled val="1"/>
        </dgm:presLayoutVars>
      </dgm:prSet>
      <dgm:spPr/>
    </dgm:pt>
    <dgm:pt modelId="{E201451B-8B6F-4B39-B722-1C99B668DA0F}" type="pres">
      <dgm:prSet presAssocID="{B781989C-676A-4FE6-85D2-2BC4CAB8AF5E}" presName="childText" presStyleLbl="revTx" presStyleIdx="1" presStyleCnt="6">
        <dgm:presLayoutVars>
          <dgm:bulletEnabled val="1"/>
        </dgm:presLayoutVars>
      </dgm:prSet>
      <dgm:spPr/>
    </dgm:pt>
    <dgm:pt modelId="{AE979820-AF8F-4341-901C-0505BDAC9E9A}" type="pres">
      <dgm:prSet presAssocID="{1519DF79-925C-4154-BC00-F13C0D028059}" presName="parentText" presStyleLbl="node1" presStyleIdx="2" presStyleCnt="6">
        <dgm:presLayoutVars>
          <dgm:chMax val="0"/>
          <dgm:bulletEnabled val="1"/>
        </dgm:presLayoutVars>
      </dgm:prSet>
      <dgm:spPr/>
    </dgm:pt>
    <dgm:pt modelId="{84B4219F-4142-4D7B-BE9D-642D863C2ADF}" type="pres">
      <dgm:prSet presAssocID="{1519DF79-925C-4154-BC00-F13C0D028059}" presName="childText" presStyleLbl="revTx" presStyleIdx="2" presStyleCnt="6">
        <dgm:presLayoutVars>
          <dgm:bulletEnabled val="1"/>
        </dgm:presLayoutVars>
      </dgm:prSet>
      <dgm:spPr/>
    </dgm:pt>
    <dgm:pt modelId="{7185570E-5149-4109-97C4-C19091DC595D}" type="pres">
      <dgm:prSet presAssocID="{898E7772-C4ED-4FB9-88BA-94014A9D7048}" presName="parentText" presStyleLbl="node1" presStyleIdx="3" presStyleCnt="6">
        <dgm:presLayoutVars>
          <dgm:chMax val="0"/>
          <dgm:bulletEnabled val="1"/>
        </dgm:presLayoutVars>
      </dgm:prSet>
      <dgm:spPr/>
    </dgm:pt>
    <dgm:pt modelId="{CDA7D5D0-6E1E-458C-A504-C1D3E966B6E1}" type="pres">
      <dgm:prSet presAssocID="{898E7772-C4ED-4FB9-88BA-94014A9D7048}" presName="childText" presStyleLbl="revTx" presStyleIdx="3" presStyleCnt="6">
        <dgm:presLayoutVars>
          <dgm:bulletEnabled val="1"/>
        </dgm:presLayoutVars>
      </dgm:prSet>
      <dgm:spPr/>
    </dgm:pt>
    <dgm:pt modelId="{B00C573D-9EBD-4F7D-889A-5CBA8BAA50C0}" type="pres">
      <dgm:prSet presAssocID="{E908AB77-45EE-413E-A21E-6956E82F907D}" presName="parentText" presStyleLbl="node1" presStyleIdx="4" presStyleCnt="6">
        <dgm:presLayoutVars>
          <dgm:chMax val="0"/>
          <dgm:bulletEnabled val="1"/>
        </dgm:presLayoutVars>
      </dgm:prSet>
      <dgm:spPr/>
    </dgm:pt>
    <dgm:pt modelId="{EE58006B-DD7E-4420-ADAB-4D7149103638}" type="pres">
      <dgm:prSet presAssocID="{E908AB77-45EE-413E-A21E-6956E82F907D}" presName="childText" presStyleLbl="revTx" presStyleIdx="4" presStyleCnt="6">
        <dgm:presLayoutVars>
          <dgm:bulletEnabled val="1"/>
        </dgm:presLayoutVars>
      </dgm:prSet>
      <dgm:spPr/>
    </dgm:pt>
    <dgm:pt modelId="{65A3B41D-32CA-42A0-8320-3A4CD3185163}" type="pres">
      <dgm:prSet presAssocID="{D8CEFE42-2E2C-4B86-A626-ACE5576801FD}" presName="parentText" presStyleLbl="node1" presStyleIdx="5" presStyleCnt="6">
        <dgm:presLayoutVars>
          <dgm:chMax val="0"/>
          <dgm:bulletEnabled val="1"/>
        </dgm:presLayoutVars>
      </dgm:prSet>
      <dgm:spPr/>
    </dgm:pt>
    <dgm:pt modelId="{2E8AA2B6-07DB-48B8-91E0-C88AAE46C9F7}" type="pres">
      <dgm:prSet presAssocID="{D8CEFE42-2E2C-4B86-A626-ACE5576801FD}" presName="childText" presStyleLbl="revTx" presStyleIdx="5" presStyleCnt="6">
        <dgm:presLayoutVars>
          <dgm:bulletEnabled val="1"/>
        </dgm:presLayoutVars>
      </dgm:prSet>
      <dgm:spPr/>
    </dgm:pt>
  </dgm:ptLst>
  <dgm:cxnLst>
    <dgm:cxn modelId="{7D95CE00-F443-4A6E-B295-69DC408562D3}" srcId="{C429F172-266E-4194-B325-3535962682A2}" destId="{25D1D2E0-2852-4E4E-ABAD-5368BECDB914}" srcOrd="0" destOrd="0" parTransId="{E8917FCD-38D0-4084-BE06-86F764D9638A}" sibTransId="{EAA04C2B-DA46-46E2-8AFE-4872D6953DF5}"/>
    <dgm:cxn modelId="{DEBAA303-E372-42CC-A2A3-EC35E23E8ED6}" type="presOf" srcId="{C429F172-266E-4194-B325-3535962682A2}" destId="{2109A9DD-8C7B-45D0-B615-76894D43E0E0}" srcOrd="0" destOrd="0" presId="urn:microsoft.com/office/officeart/2005/8/layout/vList2"/>
    <dgm:cxn modelId="{382B0D0C-E13B-476C-97C9-A0F587C82F89}" type="presOf" srcId="{898E7772-C4ED-4FB9-88BA-94014A9D7048}" destId="{7185570E-5149-4109-97C4-C19091DC595D}" srcOrd="0" destOrd="0" presId="urn:microsoft.com/office/officeart/2005/8/layout/vList2"/>
    <dgm:cxn modelId="{7335D511-A015-4A9A-925D-8564E3C80C77}" type="presOf" srcId="{25D1D2E0-2852-4E4E-ABAD-5368BECDB914}" destId="{E9D4DB52-AC2C-4954-BFDE-CAC4FCB7E1A4}" srcOrd="0" destOrd="0" presId="urn:microsoft.com/office/officeart/2005/8/layout/vList2"/>
    <dgm:cxn modelId="{123CC51B-62D8-42B4-A5E5-1ACD698D8695}" type="presOf" srcId="{D8CEFE42-2E2C-4B86-A626-ACE5576801FD}" destId="{65A3B41D-32CA-42A0-8320-3A4CD3185163}" srcOrd="0" destOrd="0" presId="urn:microsoft.com/office/officeart/2005/8/layout/vList2"/>
    <dgm:cxn modelId="{AB973F25-98A1-4AE3-8BEE-067BFDE44B59}" srcId="{25D1D2E0-2852-4E4E-ABAD-5368BECDB914}" destId="{E9749290-AA9F-4153-AD62-6AEB86916FA1}" srcOrd="0" destOrd="0" parTransId="{7630610C-4F6A-40A1-9DF1-A7C9D654E387}" sibTransId="{D69833EC-417D-46D9-9A5D-6EF28A928A0A}"/>
    <dgm:cxn modelId="{81332426-B1AE-44DF-82AD-138D47DC6398}" type="presOf" srcId="{E908AB77-45EE-413E-A21E-6956E82F907D}" destId="{B00C573D-9EBD-4F7D-889A-5CBA8BAA50C0}" srcOrd="0" destOrd="0" presId="urn:microsoft.com/office/officeart/2005/8/layout/vList2"/>
    <dgm:cxn modelId="{6A882A29-8EA4-462F-8329-576BAC73E91D}" type="presOf" srcId="{1FF1F745-3E24-4136-B33C-55C58FAE5865}" destId="{2E8AA2B6-07DB-48B8-91E0-C88AAE46C9F7}" srcOrd="0" destOrd="0" presId="urn:microsoft.com/office/officeart/2005/8/layout/vList2"/>
    <dgm:cxn modelId="{94A7B429-051A-4AFC-B13E-A9FE928E9FFB}" type="presOf" srcId="{2A06E1E8-C081-4D3A-A084-7E32BBECAE40}" destId="{84B4219F-4142-4D7B-BE9D-642D863C2ADF}" srcOrd="0" destOrd="0" presId="urn:microsoft.com/office/officeart/2005/8/layout/vList2"/>
    <dgm:cxn modelId="{25ED0C39-7815-4BF0-835F-7964D375F8A9}" srcId="{C429F172-266E-4194-B325-3535962682A2}" destId="{D8CEFE42-2E2C-4B86-A626-ACE5576801FD}" srcOrd="5" destOrd="0" parTransId="{18036A23-55A8-480A-B9E4-CA533E85BA9D}" sibTransId="{FD1E1A32-65D2-452C-A4FA-8D7A4AE42A83}"/>
    <dgm:cxn modelId="{112A003E-4208-42E8-8403-8EE42D16882F}" type="presOf" srcId="{75CC982C-F3CC-4B2A-93D6-B93149AB54A6}" destId="{E201451B-8B6F-4B39-B722-1C99B668DA0F}" srcOrd="0" destOrd="0" presId="urn:microsoft.com/office/officeart/2005/8/layout/vList2"/>
    <dgm:cxn modelId="{B3C62541-B220-4D7A-A3FA-39824B332D91}" type="presOf" srcId="{A012BBD7-60FE-4BFE-B43F-5CA25EC0053F}" destId="{EE58006B-DD7E-4420-ADAB-4D7149103638}" srcOrd="0" destOrd="0" presId="urn:microsoft.com/office/officeart/2005/8/layout/vList2"/>
    <dgm:cxn modelId="{9F440D44-CD79-484D-A2C6-85353E047BE1}" srcId="{C429F172-266E-4194-B325-3535962682A2}" destId="{898E7772-C4ED-4FB9-88BA-94014A9D7048}" srcOrd="3" destOrd="0" parTransId="{AE6301D4-45B8-489D-8396-0842CDE32287}" sibTransId="{163FBE30-6B1F-462B-B6E9-A0278779129A}"/>
    <dgm:cxn modelId="{92F7E164-C574-4BCD-A96D-13F964941C29}" type="presOf" srcId="{B781989C-676A-4FE6-85D2-2BC4CAB8AF5E}" destId="{773F151A-A0B7-44B7-89F8-A0593D61CEDC}" srcOrd="0" destOrd="0" presId="urn:microsoft.com/office/officeart/2005/8/layout/vList2"/>
    <dgm:cxn modelId="{B8E92047-A18A-4450-B573-2E8B01972273}" type="presOf" srcId="{912F5652-DF7C-4272-8D5A-C9C047A11513}" destId="{CDA7D5D0-6E1E-458C-A504-C1D3E966B6E1}" srcOrd="0" destOrd="0" presId="urn:microsoft.com/office/officeart/2005/8/layout/vList2"/>
    <dgm:cxn modelId="{4444A949-DE05-431B-BD48-4F41439AECBC}" srcId="{C429F172-266E-4194-B325-3535962682A2}" destId="{1519DF79-925C-4154-BC00-F13C0D028059}" srcOrd="2" destOrd="0" parTransId="{339F885E-BD89-4CDC-9578-E10690073AF3}" sibTransId="{5D07EBFD-396E-4C2A-89E7-7B679B690D2D}"/>
    <dgm:cxn modelId="{1AE98453-1BB5-4BB2-A43F-F3B8C66797FB}" srcId="{C429F172-266E-4194-B325-3535962682A2}" destId="{B781989C-676A-4FE6-85D2-2BC4CAB8AF5E}" srcOrd="1" destOrd="0" parTransId="{E0B9FA4F-B303-45BC-9E55-F55D45588D2B}" sibTransId="{050406A3-FD52-450E-AF75-2875E84A933A}"/>
    <dgm:cxn modelId="{D8B1FD55-E01C-4DB9-BC5D-6B1304739B5D}" srcId="{D8CEFE42-2E2C-4B86-A626-ACE5576801FD}" destId="{1FF1F745-3E24-4136-B33C-55C58FAE5865}" srcOrd="0" destOrd="0" parTransId="{80C4AA98-E4EE-4CD0-9030-25BE61D9EACE}" sibTransId="{415C2E1B-F8E8-463E-95DB-340E32A7E890}"/>
    <dgm:cxn modelId="{C411119C-762F-4E25-BED7-CB4FCB2B692E}" srcId="{B781989C-676A-4FE6-85D2-2BC4CAB8AF5E}" destId="{75CC982C-F3CC-4B2A-93D6-B93149AB54A6}" srcOrd="0" destOrd="0" parTransId="{F44EA4DD-EF0A-40E6-96E7-D8461A671C15}" sibTransId="{75ED2052-B7F4-4C24-998F-D82E225923E0}"/>
    <dgm:cxn modelId="{15C084A9-F9A2-44C7-B7D2-685CECD2EF46}" srcId="{E908AB77-45EE-413E-A21E-6956E82F907D}" destId="{A012BBD7-60FE-4BFE-B43F-5CA25EC0053F}" srcOrd="0" destOrd="0" parTransId="{ED974F28-3D10-459B-8DF6-44B7D4B596A7}" sibTransId="{9E4103A6-728E-4157-A9CF-CB77E3DA6829}"/>
    <dgm:cxn modelId="{6058CFA9-8B74-40F0-AB47-B40A6A9F70AB}" srcId="{C429F172-266E-4194-B325-3535962682A2}" destId="{E908AB77-45EE-413E-A21E-6956E82F907D}" srcOrd="4" destOrd="0" parTransId="{D981FADA-55DE-45E1-987B-9A0E96530DA5}" sibTransId="{026E3FCC-5E42-4C28-BDAE-715E62A30561}"/>
    <dgm:cxn modelId="{0133BFB4-FF17-4E1C-8D87-8C1D035482D8}" srcId="{D8CEFE42-2E2C-4B86-A626-ACE5576801FD}" destId="{8BF2E278-C796-448A-8605-47376B2BA11A}" srcOrd="2" destOrd="0" parTransId="{5E31F559-15D8-4284-AE70-F525CBF49A30}" sibTransId="{58A6CD4F-C078-4CC8-8BA2-41D730DCB6BE}"/>
    <dgm:cxn modelId="{36784FBE-DC0D-4598-9F7F-B291D8AF5FAF}" srcId="{1519DF79-925C-4154-BC00-F13C0D028059}" destId="{2A06E1E8-C081-4D3A-A084-7E32BBECAE40}" srcOrd="0" destOrd="0" parTransId="{7808BFE8-4CCC-41D3-9254-17A014E4FCCD}" sibTransId="{9400E3C9-4FD2-4DA0-855D-FFB3AAB03CC1}"/>
    <dgm:cxn modelId="{6F43C2C3-5CE4-4324-8082-B7DD137AF958}" srcId="{898E7772-C4ED-4FB9-88BA-94014A9D7048}" destId="{912F5652-DF7C-4272-8D5A-C9C047A11513}" srcOrd="0" destOrd="0" parTransId="{7CCC87B3-A89C-47BA-8125-476C405F2DD6}" sibTransId="{EB8B9423-9323-49B3-9E66-836E772C6650}"/>
    <dgm:cxn modelId="{BCD1AACA-8F3B-4C5A-A4C4-1426888E3AFE}" type="presOf" srcId="{E9749290-AA9F-4153-AD62-6AEB86916FA1}" destId="{B22112F1-E669-4260-9FB8-3EB315174A36}" srcOrd="0" destOrd="0" presId="urn:microsoft.com/office/officeart/2005/8/layout/vList2"/>
    <dgm:cxn modelId="{B01A66D5-AB00-4308-8D3E-E6B5F048C73E}" type="presOf" srcId="{8BF2E278-C796-448A-8605-47376B2BA11A}" destId="{2E8AA2B6-07DB-48B8-91E0-C88AAE46C9F7}" srcOrd="0" destOrd="2" presId="urn:microsoft.com/office/officeart/2005/8/layout/vList2"/>
    <dgm:cxn modelId="{282298D5-B409-498B-8DE3-5C95F66CE928}" type="presOf" srcId="{E66DFB0D-017C-46D4-9C05-0071FFDAC25F}" destId="{2E8AA2B6-07DB-48B8-91E0-C88AAE46C9F7}" srcOrd="0" destOrd="1" presId="urn:microsoft.com/office/officeart/2005/8/layout/vList2"/>
    <dgm:cxn modelId="{B8657AD9-8682-415D-9D38-4ACEA09D6E0F}" type="presOf" srcId="{1519DF79-925C-4154-BC00-F13C0D028059}" destId="{AE979820-AF8F-4341-901C-0505BDAC9E9A}" srcOrd="0" destOrd="0" presId="urn:microsoft.com/office/officeart/2005/8/layout/vList2"/>
    <dgm:cxn modelId="{AC1924DC-B0D3-47D7-BC54-D0AF3B3DAEDB}" srcId="{D8CEFE42-2E2C-4B86-A626-ACE5576801FD}" destId="{E66DFB0D-017C-46D4-9C05-0071FFDAC25F}" srcOrd="1" destOrd="0" parTransId="{A6391E58-CA8A-4149-808D-FD7FB0A01842}" sibTransId="{0517CB42-9196-4EB6-A038-37156FA3D21B}"/>
    <dgm:cxn modelId="{4B52C10B-1463-4931-B7A8-6AB6B0C42A08}" type="presParOf" srcId="{2109A9DD-8C7B-45D0-B615-76894D43E0E0}" destId="{E9D4DB52-AC2C-4954-BFDE-CAC4FCB7E1A4}" srcOrd="0" destOrd="0" presId="urn:microsoft.com/office/officeart/2005/8/layout/vList2"/>
    <dgm:cxn modelId="{D7766717-4864-4B5B-B55B-94E4E64BC9DC}" type="presParOf" srcId="{2109A9DD-8C7B-45D0-B615-76894D43E0E0}" destId="{B22112F1-E669-4260-9FB8-3EB315174A36}" srcOrd="1" destOrd="0" presId="urn:microsoft.com/office/officeart/2005/8/layout/vList2"/>
    <dgm:cxn modelId="{2A099400-CDCD-46DF-9F25-0B6EF4A5C386}" type="presParOf" srcId="{2109A9DD-8C7B-45D0-B615-76894D43E0E0}" destId="{773F151A-A0B7-44B7-89F8-A0593D61CEDC}" srcOrd="2" destOrd="0" presId="urn:microsoft.com/office/officeart/2005/8/layout/vList2"/>
    <dgm:cxn modelId="{73472E46-0DEF-4122-BFC4-691A73D28EC9}" type="presParOf" srcId="{2109A9DD-8C7B-45D0-B615-76894D43E0E0}" destId="{E201451B-8B6F-4B39-B722-1C99B668DA0F}" srcOrd="3" destOrd="0" presId="urn:microsoft.com/office/officeart/2005/8/layout/vList2"/>
    <dgm:cxn modelId="{D2DEA0EF-A93B-4B17-A9D6-A2F353AEB81B}" type="presParOf" srcId="{2109A9DD-8C7B-45D0-B615-76894D43E0E0}" destId="{AE979820-AF8F-4341-901C-0505BDAC9E9A}" srcOrd="4" destOrd="0" presId="urn:microsoft.com/office/officeart/2005/8/layout/vList2"/>
    <dgm:cxn modelId="{8D995446-F3A1-4067-B0D3-B3ADFF029BE3}" type="presParOf" srcId="{2109A9DD-8C7B-45D0-B615-76894D43E0E0}" destId="{84B4219F-4142-4D7B-BE9D-642D863C2ADF}" srcOrd="5" destOrd="0" presId="urn:microsoft.com/office/officeart/2005/8/layout/vList2"/>
    <dgm:cxn modelId="{5F40AA48-F8DB-4408-AC9B-A3626D710CA3}" type="presParOf" srcId="{2109A9DD-8C7B-45D0-B615-76894D43E0E0}" destId="{7185570E-5149-4109-97C4-C19091DC595D}" srcOrd="6" destOrd="0" presId="urn:microsoft.com/office/officeart/2005/8/layout/vList2"/>
    <dgm:cxn modelId="{8A64CD8E-FD7E-45AE-B845-49C996B5958D}" type="presParOf" srcId="{2109A9DD-8C7B-45D0-B615-76894D43E0E0}" destId="{CDA7D5D0-6E1E-458C-A504-C1D3E966B6E1}" srcOrd="7" destOrd="0" presId="urn:microsoft.com/office/officeart/2005/8/layout/vList2"/>
    <dgm:cxn modelId="{678E7231-AF4E-4BAD-9F92-6EC6FB78BB54}" type="presParOf" srcId="{2109A9DD-8C7B-45D0-B615-76894D43E0E0}" destId="{B00C573D-9EBD-4F7D-889A-5CBA8BAA50C0}" srcOrd="8" destOrd="0" presId="urn:microsoft.com/office/officeart/2005/8/layout/vList2"/>
    <dgm:cxn modelId="{D8FA6B59-43B5-43A5-8A75-7F0699314511}" type="presParOf" srcId="{2109A9DD-8C7B-45D0-B615-76894D43E0E0}" destId="{EE58006B-DD7E-4420-ADAB-4D7149103638}" srcOrd="9" destOrd="0" presId="urn:microsoft.com/office/officeart/2005/8/layout/vList2"/>
    <dgm:cxn modelId="{F0F7B03C-87D4-4718-B89C-A46CB1F08031}" type="presParOf" srcId="{2109A9DD-8C7B-45D0-B615-76894D43E0E0}" destId="{65A3B41D-32CA-42A0-8320-3A4CD3185163}" srcOrd="10" destOrd="0" presId="urn:microsoft.com/office/officeart/2005/8/layout/vList2"/>
    <dgm:cxn modelId="{F4A19F6F-F064-41F9-B51F-1323C388FA95}" type="presParOf" srcId="{2109A9DD-8C7B-45D0-B615-76894D43E0E0}" destId="{2E8AA2B6-07DB-48B8-91E0-C88AAE46C9F7}"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F7C6DE7-CE6D-40D5-AC7E-D1CE7DA710CA}"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FE2B5B42-F4D4-4805-8BEB-4943C260A1D8}">
      <dgm:prSet phldrT="[Text]"/>
      <dgm:spPr/>
      <dgm:t>
        <a:bodyPr/>
        <a:lstStyle/>
        <a:p>
          <a:r>
            <a:rPr lang="en-US" dirty="0"/>
            <a:t>Free text searchable fields (grey)</a:t>
          </a:r>
        </a:p>
      </dgm:t>
    </dgm:pt>
    <dgm:pt modelId="{F65348D4-590F-4635-8254-D4A01C102D81}" type="parTrans" cxnId="{FE5C9F81-EDD3-46A8-8332-075209BD282F}">
      <dgm:prSet/>
      <dgm:spPr/>
      <dgm:t>
        <a:bodyPr/>
        <a:lstStyle/>
        <a:p>
          <a:endParaRPr lang="en-US"/>
        </a:p>
      </dgm:t>
    </dgm:pt>
    <dgm:pt modelId="{DF391AE4-9CEF-4A72-ABE3-66331D7B1344}" type="sibTrans" cxnId="{FE5C9F81-EDD3-46A8-8332-075209BD282F}">
      <dgm:prSet/>
      <dgm:spPr/>
      <dgm:t>
        <a:bodyPr/>
        <a:lstStyle/>
        <a:p>
          <a:endParaRPr lang="en-US"/>
        </a:p>
      </dgm:t>
    </dgm:pt>
    <dgm:pt modelId="{C32E2819-EA62-41E2-B72F-27428431358B}">
      <dgm:prSet phldrT="[Text]"/>
      <dgm:spPr/>
      <dgm:t>
        <a:bodyPr/>
        <a:lstStyle/>
        <a:p>
          <a:r>
            <a:rPr lang="en-US" dirty="0"/>
            <a:t>Searchable Fields (blue)</a:t>
          </a:r>
        </a:p>
      </dgm:t>
    </dgm:pt>
    <dgm:pt modelId="{787FC220-319D-478C-9664-D96CE6F0CE03}" type="parTrans" cxnId="{399AAA4B-8F9D-4EEB-9429-8E1C0B046C48}">
      <dgm:prSet/>
      <dgm:spPr/>
      <dgm:t>
        <a:bodyPr/>
        <a:lstStyle/>
        <a:p>
          <a:endParaRPr lang="en-US"/>
        </a:p>
      </dgm:t>
    </dgm:pt>
    <dgm:pt modelId="{915A5F87-B498-428A-B1D8-40200255812E}" type="sibTrans" cxnId="{399AAA4B-8F9D-4EEB-9429-8E1C0B046C48}">
      <dgm:prSet/>
      <dgm:spPr/>
      <dgm:t>
        <a:bodyPr/>
        <a:lstStyle/>
        <a:p>
          <a:endParaRPr lang="en-US"/>
        </a:p>
      </dgm:t>
    </dgm:pt>
    <dgm:pt modelId="{4588DA9A-362F-4D1B-BDBB-94803A5BB380}">
      <dgm:prSet phldrT="[Text]"/>
      <dgm:spPr/>
      <dgm:t>
        <a:bodyPr/>
        <a:lstStyle/>
        <a:p>
          <a:r>
            <a:rPr lang="en-US" dirty="0"/>
            <a:t>Filters: Type, </a:t>
          </a:r>
          <a:r>
            <a:rPr lang="en-US" dirty="0" err="1"/>
            <a:t>EventName</a:t>
          </a:r>
          <a:r>
            <a:rPr lang="en-US" dirty="0"/>
            <a:t>, Computer, </a:t>
          </a:r>
          <a:r>
            <a:rPr lang="en-US" dirty="0" err="1"/>
            <a:t>CounterName</a:t>
          </a:r>
          <a:r>
            <a:rPr lang="en-US" dirty="0"/>
            <a:t>, </a:t>
          </a:r>
          <a:r>
            <a:rPr lang="en-US" dirty="0" err="1"/>
            <a:t>CounterValue</a:t>
          </a:r>
          <a:r>
            <a:rPr lang="en-US" dirty="0"/>
            <a:t>, </a:t>
          </a:r>
          <a:r>
            <a:rPr lang="en-US" dirty="0" err="1"/>
            <a:t>InstanceName</a:t>
          </a:r>
          <a:endParaRPr lang="en-US" dirty="0"/>
        </a:p>
      </dgm:t>
    </dgm:pt>
    <dgm:pt modelId="{317E1CC9-290F-438E-8CF2-E1253024A548}" type="parTrans" cxnId="{7815778F-2055-45D2-9925-F35F4B9AEF37}">
      <dgm:prSet/>
      <dgm:spPr/>
      <dgm:t>
        <a:bodyPr/>
        <a:lstStyle/>
        <a:p>
          <a:endParaRPr lang="en-US"/>
        </a:p>
      </dgm:t>
    </dgm:pt>
    <dgm:pt modelId="{A2E24360-5C62-4F4F-9026-E89B3EE3E203}" type="sibTrans" cxnId="{7815778F-2055-45D2-9925-F35F4B9AEF37}">
      <dgm:prSet/>
      <dgm:spPr/>
      <dgm:t>
        <a:bodyPr/>
        <a:lstStyle/>
        <a:p>
          <a:endParaRPr lang="en-US"/>
        </a:p>
      </dgm:t>
    </dgm:pt>
    <dgm:pt modelId="{FCB50F3C-09CF-4B69-8819-644EC1F83EC4}">
      <dgm:prSet phldrT="[Text]"/>
      <dgm:spPr/>
      <dgm:t>
        <a:bodyPr/>
        <a:lstStyle/>
        <a:p>
          <a:r>
            <a:rPr lang="en-US" dirty="0"/>
            <a:t>Operators: AND, OR, NOT, Piping</a:t>
          </a:r>
        </a:p>
      </dgm:t>
    </dgm:pt>
    <dgm:pt modelId="{E2AF2E73-FBBC-4EF7-B715-2D083D181098}" type="parTrans" cxnId="{973101DD-6FAC-45AD-89DE-B42D31DC2CE3}">
      <dgm:prSet/>
      <dgm:spPr/>
      <dgm:t>
        <a:bodyPr/>
        <a:lstStyle/>
        <a:p>
          <a:endParaRPr lang="en-US"/>
        </a:p>
      </dgm:t>
    </dgm:pt>
    <dgm:pt modelId="{9D892707-B0E8-403A-ADE9-0BB7E7BC1E70}" type="sibTrans" cxnId="{973101DD-6FAC-45AD-89DE-B42D31DC2CE3}">
      <dgm:prSet/>
      <dgm:spPr/>
      <dgm:t>
        <a:bodyPr/>
        <a:lstStyle/>
        <a:p>
          <a:endParaRPr lang="en-US"/>
        </a:p>
      </dgm:t>
    </dgm:pt>
    <dgm:pt modelId="{03F8C3C9-D5D2-47D2-AE0F-6500D261B222}">
      <dgm:prSet phldrT="[Text]"/>
      <dgm:spPr/>
      <dgm:t>
        <a:bodyPr/>
        <a:lstStyle/>
        <a:p>
          <a:r>
            <a:rPr lang="en-US" dirty="0"/>
            <a:t>Commands: SELECT, WHERE, MEASURE, DISTINCT, IN</a:t>
          </a:r>
        </a:p>
      </dgm:t>
    </dgm:pt>
    <dgm:pt modelId="{2C6D3E05-8A10-4BB1-8EE1-F78725E8BF43}" type="parTrans" cxnId="{37F3D87B-4F07-4727-BB62-FA73E93B5C6D}">
      <dgm:prSet/>
      <dgm:spPr/>
      <dgm:t>
        <a:bodyPr/>
        <a:lstStyle/>
        <a:p>
          <a:endParaRPr lang="en-US"/>
        </a:p>
      </dgm:t>
    </dgm:pt>
    <dgm:pt modelId="{1F117FAF-C338-4F92-9B60-0F90DA7F0959}" type="sibTrans" cxnId="{37F3D87B-4F07-4727-BB62-FA73E93B5C6D}">
      <dgm:prSet/>
      <dgm:spPr/>
      <dgm:t>
        <a:bodyPr/>
        <a:lstStyle/>
        <a:p>
          <a:endParaRPr lang="en-US"/>
        </a:p>
      </dgm:t>
    </dgm:pt>
    <dgm:pt modelId="{24AE6738-90E0-43DC-BBD6-62186AE56F06}">
      <dgm:prSet phldrT="[Text]"/>
      <dgm:spPr/>
      <dgm:t>
        <a:bodyPr/>
        <a:lstStyle/>
        <a:p>
          <a:r>
            <a:rPr lang="en-US" dirty="0"/>
            <a:t>Computer Groups, Scope Configurations</a:t>
          </a:r>
        </a:p>
      </dgm:t>
    </dgm:pt>
    <dgm:pt modelId="{EB0436FA-E203-44B4-B5E4-1CF58524238B}" type="parTrans" cxnId="{7D7A3FF9-EEDB-4FAC-996B-FABFBD9AF337}">
      <dgm:prSet/>
      <dgm:spPr/>
      <dgm:t>
        <a:bodyPr/>
        <a:lstStyle/>
        <a:p>
          <a:endParaRPr lang="en-US"/>
        </a:p>
      </dgm:t>
    </dgm:pt>
    <dgm:pt modelId="{0F7B8878-A7F9-4981-9C57-8EF2F532591A}" type="sibTrans" cxnId="{7D7A3FF9-EEDB-4FAC-996B-FABFBD9AF337}">
      <dgm:prSet/>
      <dgm:spPr/>
      <dgm:t>
        <a:bodyPr/>
        <a:lstStyle/>
        <a:p>
          <a:endParaRPr lang="en-US"/>
        </a:p>
      </dgm:t>
    </dgm:pt>
    <dgm:pt modelId="{2E8C8239-F00C-4401-8B9C-ED6306FF9800}" type="pres">
      <dgm:prSet presAssocID="{0F7C6DE7-CE6D-40D5-AC7E-D1CE7DA710CA}" presName="diagram" presStyleCnt="0">
        <dgm:presLayoutVars>
          <dgm:dir/>
          <dgm:resizeHandles val="exact"/>
        </dgm:presLayoutVars>
      </dgm:prSet>
      <dgm:spPr/>
    </dgm:pt>
    <dgm:pt modelId="{4FF3D20F-24C1-4C34-981A-03BEE5F61FD0}" type="pres">
      <dgm:prSet presAssocID="{FE2B5B42-F4D4-4805-8BEB-4943C260A1D8}" presName="node" presStyleLbl="node1" presStyleIdx="0" presStyleCnt="6">
        <dgm:presLayoutVars>
          <dgm:bulletEnabled val="1"/>
        </dgm:presLayoutVars>
      </dgm:prSet>
      <dgm:spPr/>
    </dgm:pt>
    <dgm:pt modelId="{A16388A0-A913-43DA-94C7-779F7CFBA917}" type="pres">
      <dgm:prSet presAssocID="{DF391AE4-9CEF-4A72-ABE3-66331D7B1344}" presName="sibTrans" presStyleCnt="0"/>
      <dgm:spPr/>
    </dgm:pt>
    <dgm:pt modelId="{F2082697-586B-4C29-A752-EE841B5A9EF5}" type="pres">
      <dgm:prSet presAssocID="{C32E2819-EA62-41E2-B72F-27428431358B}" presName="node" presStyleLbl="node1" presStyleIdx="1" presStyleCnt="6">
        <dgm:presLayoutVars>
          <dgm:bulletEnabled val="1"/>
        </dgm:presLayoutVars>
      </dgm:prSet>
      <dgm:spPr/>
    </dgm:pt>
    <dgm:pt modelId="{C6574966-5ABF-4A05-A05A-607018A6536E}" type="pres">
      <dgm:prSet presAssocID="{915A5F87-B498-428A-B1D8-40200255812E}" presName="sibTrans" presStyleCnt="0"/>
      <dgm:spPr/>
    </dgm:pt>
    <dgm:pt modelId="{BA5A25FC-78EE-4CB3-928A-FC5FB9678DE7}" type="pres">
      <dgm:prSet presAssocID="{4588DA9A-362F-4D1B-BDBB-94803A5BB380}" presName="node" presStyleLbl="node1" presStyleIdx="2" presStyleCnt="6">
        <dgm:presLayoutVars>
          <dgm:bulletEnabled val="1"/>
        </dgm:presLayoutVars>
      </dgm:prSet>
      <dgm:spPr/>
    </dgm:pt>
    <dgm:pt modelId="{776D07BB-DCE9-4A3B-B761-5DEE96B8661F}" type="pres">
      <dgm:prSet presAssocID="{A2E24360-5C62-4F4F-9026-E89B3EE3E203}" presName="sibTrans" presStyleCnt="0"/>
      <dgm:spPr/>
    </dgm:pt>
    <dgm:pt modelId="{03476A65-0871-474E-8869-4D8E05686048}" type="pres">
      <dgm:prSet presAssocID="{FCB50F3C-09CF-4B69-8819-644EC1F83EC4}" presName="node" presStyleLbl="node1" presStyleIdx="3" presStyleCnt="6">
        <dgm:presLayoutVars>
          <dgm:bulletEnabled val="1"/>
        </dgm:presLayoutVars>
      </dgm:prSet>
      <dgm:spPr/>
    </dgm:pt>
    <dgm:pt modelId="{4BA9917A-E6D2-42EB-8746-9B2B39BD06C2}" type="pres">
      <dgm:prSet presAssocID="{9D892707-B0E8-403A-ADE9-0BB7E7BC1E70}" presName="sibTrans" presStyleCnt="0"/>
      <dgm:spPr/>
    </dgm:pt>
    <dgm:pt modelId="{F921BCA1-C987-4EB2-95CD-D84031D7D728}" type="pres">
      <dgm:prSet presAssocID="{03F8C3C9-D5D2-47D2-AE0F-6500D261B222}" presName="node" presStyleLbl="node1" presStyleIdx="4" presStyleCnt="6">
        <dgm:presLayoutVars>
          <dgm:bulletEnabled val="1"/>
        </dgm:presLayoutVars>
      </dgm:prSet>
      <dgm:spPr/>
    </dgm:pt>
    <dgm:pt modelId="{645E5D92-BAF5-487D-BE4F-73EC951E3D3E}" type="pres">
      <dgm:prSet presAssocID="{1F117FAF-C338-4F92-9B60-0F90DA7F0959}" presName="sibTrans" presStyleCnt="0"/>
      <dgm:spPr/>
    </dgm:pt>
    <dgm:pt modelId="{1FDB6709-EE84-4C3A-A9E5-26EE95D60337}" type="pres">
      <dgm:prSet presAssocID="{24AE6738-90E0-43DC-BBD6-62186AE56F06}" presName="node" presStyleLbl="node1" presStyleIdx="5" presStyleCnt="6">
        <dgm:presLayoutVars>
          <dgm:bulletEnabled val="1"/>
        </dgm:presLayoutVars>
      </dgm:prSet>
      <dgm:spPr/>
    </dgm:pt>
  </dgm:ptLst>
  <dgm:cxnLst>
    <dgm:cxn modelId="{811F1365-CF26-45E1-93F6-C3C74F2BCC2F}" type="presOf" srcId="{0F7C6DE7-CE6D-40D5-AC7E-D1CE7DA710CA}" destId="{2E8C8239-F00C-4401-8B9C-ED6306FF9800}" srcOrd="0" destOrd="0" presId="urn:microsoft.com/office/officeart/2005/8/layout/default"/>
    <dgm:cxn modelId="{FC16544B-A8DF-4B04-9320-E1E23C1B0312}" type="presOf" srcId="{C32E2819-EA62-41E2-B72F-27428431358B}" destId="{F2082697-586B-4C29-A752-EE841B5A9EF5}" srcOrd="0" destOrd="0" presId="urn:microsoft.com/office/officeart/2005/8/layout/default"/>
    <dgm:cxn modelId="{399AAA4B-8F9D-4EEB-9429-8E1C0B046C48}" srcId="{0F7C6DE7-CE6D-40D5-AC7E-D1CE7DA710CA}" destId="{C32E2819-EA62-41E2-B72F-27428431358B}" srcOrd="1" destOrd="0" parTransId="{787FC220-319D-478C-9664-D96CE6F0CE03}" sibTransId="{915A5F87-B498-428A-B1D8-40200255812E}"/>
    <dgm:cxn modelId="{AFCB4F4D-C3DC-41BA-BD24-5050B01C914B}" type="presOf" srcId="{FCB50F3C-09CF-4B69-8819-644EC1F83EC4}" destId="{03476A65-0871-474E-8869-4D8E05686048}" srcOrd="0" destOrd="0" presId="urn:microsoft.com/office/officeart/2005/8/layout/default"/>
    <dgm:cxn modelId="{37F3D87B-4F07-4727-BB62-FA73E93B5C6D}" srcId="{0F7C6DE7-CE6D-40D5-AC7E-D1CE7DA710CA}" destId="{03F8C3C9-D5D2-47D2-AE0F-6500D261B222}" srcOrd="4" destOrd="0" parTransId="{2C6D3E05-8A10-4BB1-8EE1-F78725E8BF43}" sibTransId="{1F117FAF-C338-4F92-9B60-0F90DA7F0959}"/>
    <dgm:cxn modelId="{FE5C9F81-EDD3-46A8-8332-075209BD282F}" srcId="{0F7C6DE7-CE6D-40D5-AC7E-D1CE7DA710CA}" destId="{FE2B5B42-F4D4-4805-8BEB-4943C260A1D8}" srcOrd="0" destOrd="0" parTransId="{F65348D4-590F-4635-8254-D4A01C102D81}" sibTransId="{DF391AE4-9CEF-4A72-ABE3-66331D7B1344}"/>
    <dgm:cxn modelId="{7815778F-2055-45D2-9925-F35F4B9AEF37}" srcId="{0F7C6DE7-CE6D-40D5-AC7E-D1CE7DA710CA}" destId="{4588DA9A-362F-4D1B-BDBB-94803A5BB380}" srcOrd="2" destOrd="0" parTransId="{317E1CC9-290F-438E-8CF2-E1253024A548}" sibTransId="{A2E24360-5C62-4F4F-9026-E89B3EE3E203}"/>
    <dgm:cxn modelId="{E601ADAF-BA60-4966-91C6-519603111F2D}" type="presOf" srcId="{24AE6738-90E0-43DC-BBD6-62186AE56F06}" destId="{1FDB6709-EE84-4C3A-A9E5-26EE95D60337}" srcOrd="0" destOrd="0" presId="urn:microsoft.com/office/officeart/2005/8/layout/default"/>
    <dgm:cxn modelId="{5D83F6DC-6E9F-4525-8B65-15571210EABC}" type="presOf" srcId="{4588DA9A-362F-4D1B-BDBB-94803A5BB380}" destId="{BA5A25FC-78EE-4CB3-928A-FC5FB9678DE7}" srcOrd="0" destOrd="0" presId="urn:microsoft.com/office/officeart/2005/8/layout/default"/>
    <dgm:cxn modelId="{973101DD-6FAC-45AD-89DE-B42D31DC2CE3}" srcId="{0F7C6DE7-CE6D-40D5-AC7E-D1CE7DA710CA}" destId="{FCB50F3C-09CF-4B69-8819-644EC1F83EC4}" srcOrd="3" destOrd="0" parTransId="{E2AF2E73-FBBC-4EF7-B715-2D083D181098}" sibTransId="{9D892707-B0E8-403A-ADE9-0BB7E7BC1E70}"/>
    <dgm:cxn modelId="{7DF789EA-7EE5-4A7D-ADED-676F99ECE987}" type="presOf" srcId="{03F8C3C9-D5D2-47D2-AE0F-6500D261B222}" destId="{F921BCA1-C987-4EB2-95CD-D84031D7D728}" srcOrd="0" destOrd="0" presId="urn:microsoft.com/office/officeart/2005/8/layout/default"/>
    <dgm:cxn modelId="{DFFF32F0-7D0F-4838-9C11-D947A99BFB47}" type="presOf" srcId="{FE2B5B42-F4D4-4805-8BEB-4943C260A1D8}" destId="{4FF3D20F-24C1-4C34-981A-03BEE5F61FD0}" srcOrd="0" destOrd="0" presId="urn:microsoft.com/office/officeart/2005/8/layout/default"/>
    <dgm:cxn modelId="{7D7A3FF9-EEDB-4FAC-996B-FABFBD9AF337}" srcId="{0F7C6DE7-CE6D-40D5-AC7E-D1CE7DA710CA}" destId="{24AE6738-90E0-43DC-BBD6-62186AE56F06}" srcOrd="5" destOrd="0" parTransId="{EB0436FA-E203-44B4-B5E4-1CF58524238B}" sibTransId="{0F7B8878-A7F9-4981-9C57-8EF2F532591A}"/>
    <dgm:cxn modelId="{C88EF468-CFA9-4647-B092-F5B3426B66CF}" type="presParOf" srcId="{2E8C8239-F00C-4401-8B9C-ED6306FF9800}" destId="{4FF3D20F-24C1-4C34-981A-03BEE5F61FD0}" srcOrd="0" destOrd="0" presId="urn:microsoft.com/office/officeart/2005/8/layout/default"/>
    <dgm:cxn modelId="{5D5A74B9-4F5F-42B0-8755-FA9E40562EB2}" type="presParOf" srcId="{2E8C8239-F00C-4401-8B9C-ED6306FF9800}" destId="{A16388A0-A913-43DA-94C7-779F7CFBA917}" srcOrd="1" destOrd="0" presId="urn:microsoft.com/office/officeart/2005/8/layout/default"/>
    <dgm:cxn modelId="{FAB22DC8-DD48-4933-9741-4B7135EA2845}" type="presParOf" srcId="{2E8C8239-F00C-4401-8B9C-ED6306FF9800}" destId="{F2082697-586B-4C29-A752-EE841B5A9EF5}" srcOrd="2" destOrd="0" presId="urn:microsoft.com/office/officeart/2005/8/layout/default"/>
    <dgm:cxn modelId="{FC2AF989-D4F4-42EE-BA1C-D087A21E7E30}" type="presParOf" srcId="{2E8C8239-F00C-4401-8B9C-ED6306FF9800}" destId="{C6574966-5ABF-4A05-A05A-607018A6536E}" srcOrd="3" destOrd="0" presId="urn:microsoft.com/office/officeart/2005/8/layout/default"/>
    <dgm:cxn modelId="{6F64EFC2-8601-43EB-8449-335060710363}" type="presParOf" srcId="{2E8C8239-F00C-4401-8B9C-ED6306FF9800}" destId="{BA5A25FC-78EE-4CB3-928A-FC5FB9678DE7}" srcOrd="4" destOrd="0" presId="urn:microsoft.com/office/officeart/2005/8/layout/default"/>
    <dgm:cxn modelId="{861CE470-DCF0-4B3E-86BC-3A7278D89A1F}" type="presParOf" srcId="{2E8C8239-F00C-4401-8B9C-ED6306FF9800}" destId="{776D07BB-DCE9-4A3B-B761-5DEE96B8661F}" srcOrd="5" destOrd="0" presId="urn:microsoft.com/office/officeart/2005/8/layout/default"/>
    <dgm:cxn modelId="{6EA0DD8D-C9E1-4299-A043-2E313E2662E3}" type="presParOf" srcId="{2E8C8239-F00C-4401-8B9C-ED6306FF9800}" destId="{03476A65-0871-474E-8869-4D8E05686048}" srcOrd="6" destOrd="0" presId="urn:microsoft.com/office/officeart/2005/8/layout/default"/>
    <dgm:cxn modelId="{7619BD04-4F85-419F-9D2F-3EBA19D504E2}" type="presParOf" srcId="{2E8C8239-F00C-4401-8B9C-ED6306FF9800}" destId="{4BA9917A-E6D2-42EB-8746-9B2B39BD06C2}" srcOrd="7" destOrd="0" presId="urn:microsoft.com/office/officeart/2005/8/layout/default"/>
    <dgm:cxn modelId="{6A3463BD-B473-4DBA-AADD-9AE46F33C951}" type="presParOf" srcId="{2E8C8239-F00C-4401-8B9C-ED6306FF9800}" destId="{F921BCA1-C987-4EB2-95CD-D84031D7D728}" srcOrd="8" destOrd="0" presId="urn:microsoft.com/office/officeart/2005/8/layout/default"/>
    <dgm:cxn modelId="{DAB9E445-B652-4C12-8AB0-53CD745B7CBB}" type="presParOf" srcId="{2E8C8239-F00C-4401-8B9C-ED6306FF9800}" destId="{645E5D92-BAF5-487D-BE4F-73EC951E3D3E}" srcOrd="9" destOrd="0" presId="urn:microsoft.com/office/officeart/2005/8/layout/default"/>
    <dgm:cxn modelId="{9ED0D03C-21BA-4422-A50B-C2C9D6E375D5}" type="presParOf" srcId="{2E8C8239-F00C-4401-8B9C-ED6306FF9800}" destId="{1FDB6709-EE84-4C3A-A9E5-26EE95D60337}"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73F8D28-9B24-45F7-82C2-D98FCC74B220}" type="doc">
      <dgm:prSet loTypeId="urn:microsoft.com/office/officeart/2005/8/layout/default" loCatId="list" qsTypeId="urn:microsoft.com/office/officeart/2005/8/quickstyle/simple5" qsCatId="simple" csTypeId="urn:microsoft.com/office/officeart/2005/8/colors/colorful3" csCatId="colorful" phldr="1"/>
      <dgm:spPr/>
    </dgm:pt>
    <dgm:pt modelId="{AEF87A14-CD1B-4C7A-AD2A-E6A5AE47005A}">
      <dgm:prSet phldrT="[Text]" custT="1"/>
      <dgm:spPr/>
      <dgm:t>
        <a:bodyPr/>
        <a:lstStyle/>
        <a:p>
          <a:r>
            <a:rPr lang="en-US" sz="2000" dirty="0"/>
            <a:t>Health Check</a:t>
          </a:r>
        </a:p>
      </dgm:t>
    </dgm:pt>
    <dgm:pt modelId="{A09BE54F-79F5-4681-B28A-9140D3082AA8}" type="parTrans" cxnId="{3527C197-016F-4431-A862-8C4E579A3C78}">
      <dgm:prSet/>
      <dgm:spPr/>
      <dgm:t>
        <a:bodyPr/>
        <a:lstStyle/>
        <a:p>
          <a:endParaRPr lang="en-US" sz="2000"/>
        </a:p>
      </dgm:t>
    </dgm:pt>
    <dgm:pt modelId="{43A4FD19-F269-4C16-AC73-2D096854B3FF}" type="sibTrans" cxnId="{3527C197-016F-4431-A862-8C4E579A3C78}">
      <dgm:prSet/>
      <dgm:spPr/>
      <dgm:t>
        <a:bodyPr/>
        <a:lstStyle/>
        <a:p>
          <a:endParaRPr lang="en-US" sz="2000"/>
        </a:p>
      </dgm:t>
    </dgm:pt>
    <dgm:pt modelId="{7606BCA9-C302-4783-BFBD-2DC518E778CD}">
      <dgm:prSet phldrT="[Text]" custT="1"/>
      <dgm:spPr/>
      <dgm:t>
        <a:bodyPr/>
        <a:lstStyle/>
        <a:p>
          <a:r>
            <a:rPr lang="en-US" sz="2000" dirty="0"/>
            <a:t>Monitor &amp; Optimize</a:t>
          </a:r>
        </a:p>
      </dgm:t>
    </dgm:pt>
    <dgm:pt modelId="{0028FD89-5221-4A08-BB87-C2FA6BE4E51E}" type="parTrans" cxnId="{98680B21-BD29-449C-BACB-F7DFCC4278D3}">
      <dgm:prSet/>
      <dgm:spPr/>
      <dgm:t>
        <a:bodyPr/>
        <a:lstStyle/>
        <a:p>
          <a:endParaRPr lang="en-US" sz="2000"/>
        </a:p>
      </dgm:t>
    </dgm:pt>
    <dgm:pt modelId="{C76DB427-5F76-4C03-B2F4-D396A18A7955}" type="sibTrans" cxnId="{98680B21-BD29-449C-BACB-F7DFCC4278D3}">
      <dgm:prSet/>
      <dgm:spPr/>
      <dgm:t>
        <a:bodyPr/>
        <a:lstStyle/>
        <a:p>
          <a:endParaRPr lang="en-US" sz="2000"/>
        </a:p>
      </dgm:t>
    </dgm:pt>
    <dgm:pt modelId="{7C5F65D0-987A-4547-8956-DEAEB930EF01}">
      <dgm:prSet phldrT="[Text]" custT="1"/>
      <dgm:spPr/>
      <dgm:t>
        <a:bodyPr/>
        <a:lstStyle/>
        <a:p>
          <a:r>
            <a:rPr lang="en-US" sz="2000" dirty="0"/>
            <a:t>Detect &amp; Debug</a:t>
          </a:r>
        </a:p>
      </dgm:t>
    </dgm:pt>
    <dgm:pt modelId="{C79765E4-F24E-4124-B276-6978EC5B6055}" type="parTrans" cxnId="{5AD82AE1-483F-4DCF-8549-E1AE7AF88F67}">
      <dgm:prSet/>
      <dgm:spPr/>
      <dgm:t>
        <a:bodyPr/>
        <a:lstStyle/>
        <a:p>
          <a:endParaRPr lang="en-US"/>
        </a:p>
      </dgm:t>
    </dgm:pt>
    <dgm:pt modelId="{C81B2EF9-E743-4021-95C3-DD07C516F72A}" type="sibTrans" cxnId="{5AD82AE1-483F-4DCF-8549-E1AE7AF88F67}">
      <dgm:prSet/>
      <dgm:spPr/>
      <dgm:t>
        <a:bodyPr/>
        <a:lstStyle/>
        <a:p>
          <a:endParaRPr lang="en-US"/>
        </a:p>
      </dgm:t>
    </dgm:pt>
    <dgm:pt modelId="{CA91E749-730E-4094-B695-0D9F2963D1ED}">
      <dgm:prSet phldrT="[Text]" custT="1"/>
      <dgm:spPr/>
      <dgm:t>
        <a:bodyPr/>
        <a:lstStyle/>
        <a:p>
          <a:r>
            <a:rPr lang="en-US" sz="2000" dirty="0"/>
            <a:t>ML/Data Analytics</a:t>
          </a:r>
        </a:p>
      </dgm:t>
    </dgm:pt>
    <dgm:pt modelId="{B367A802-62F2-467B-B7FB-E5B37E06CF86}" type="parTrans" cxnId="{14337AC6-EC19-46CF-BFEF-B4EB42AF4FCA}">
      <dgm:prSet/>
      <dgm:spPr/>
      <dgm:t>
        <a:bodyPr/>
        <a:lstStyle/>
        <a:p>
          <a:endParaRPr lang="en-US"/>
        </a:p>
      </dgm:t>
    </dgm:pt>
    <dgm:pt modelId="{2224C933-293D-461E-9ECE-774206E35998}" type="sibTrans" cxnId="{14337AC6-EC19-46CF-BFEF-B4EB42AF4FCA}">
      <dgm:prSet/>
      <dgm:spPr/>
      <dgm:t>
        <a:bodyPr/>
        <a:lstStyle/>
        <a:p>
          <a:endParaRPr lang="en-US"/>
        </a:p>
      </dgm:t>
    </dgm:pt>
    <dgm:pt modelId="{0841CD39-4A26-4AA0-9C2A-2566F1D538AF}" type="pres">
      <dgm:prSet presAssocID="{473F8D28-9B24-45F7-82C2-D98FCC74B220}" presName="diagram" presStyleCnt="0">
        <dgm:presLayoutVars>
          <dgm:dir/>
          <dgm:resizeHandles val="exact"/>
        </dgm:presLayoutVars>
      </dgm:prSet>
      <dgm:spPr/>
    </dgm:pt>
    <dgm:pt modelId="{0645E0B4-3376-40A3-98C2-7265730819FB}" type="pres">
      <dgm:prSet presAssocID="{AEF87A14-CD1B-4C7A-AD2A-E6A5AE47005A}" presName="node" presStyleLbl="node1" presStyleIdx="0" presStyleCnt="4" custLinFactNeighborX="0" custLinFactNeighborY="-620">
        <dgm:presLayoutVars>
          <dgm:bulletEnabled val="1"/>
        </dgm:presLayoutVars>
      </dgm:prSet>
      <dgm:spPr/>
    </dgm:pt>
    <dgm:pt modelId="{740435A0-1B4D-4F63-9F7E-638B284A8FF8}" type="pres">
      <dgm:prSet presAssocID="{43A4FD19-F269-4C16-AC73-2D096854B3FF}" presName="sibTrans" presStyleCnt="0"/>
      <dgm:spPr/>
    </dgm:pt>
    <dgm:pt modelId="{01BD7407-6600-49EC-AE01-3BB05AB2888D}" type="pres">
      <dgm:prSet presAssocID="{7606BCA9-C302-4783-BFBD-2DC518E778CD}" presName="node" presStyleLbl="node1" presStyleIdx="1" presStyleCnt="4">
        <dgm:presLayoutVars>
          <dgm:bulletEnabled val="1"/>
        </dgm:presLayoutVars>
      </dgm:prSet>
      <dgm:spPr/>
    </dgm:pt>
    <dgm:pt modelId="{269A08DE-71C5-417B-AD5F-2075A3BC26E4}" type="pres">
      <dgm:prSet presAssocID="{C76DB427-5F76-4C03-B2F4-D396A18A7955}" presName="sibTrans" presStyleCnt="0"/>
      <dgm:spPr/>
    </dgm:pt>
    <dgm:pt modelId="{9148E4B0-2B22-4978-9CF0-F1BF187149D8}" type="pres">
      <dgm:prSet presAssocID="{7C5F65D0-987A-4547-8956-DEAEB930EF01}" presName="node" presStyleLbl="node1" presStyleIdx="2" presStyleCnt="4">
        <dgm:presLayoutVars>
          <dgm:bulletEnabled val="1"/>
        </dgm:presLayoutVars>
      </dgm:prSet>
      <dgm:spPr/>
    </dgm:pt>
    <dgm:pt modelId="{E03CBAD9-5476-47DE-885F-890B17FFC59D}" type="pres">
      <dgm:prSet presAssocID="{C81B2EF9-E743-4021-95C3-DD07C516F72A}" presName="sibTrans" presStyleCnt="0"/>
      <dgm:spPr/>
    </dgm:pt>
    <dgm:pt modelId="{ED078599-38AC-4CC7-A33E-CB36959F71AE}" type="pres">
      <dgm:prSet presAssocID="{CA91E749-730E-4094-B695-0D9F2963D1ED}" presName="node" presStyleLbl="node1" presStyleIdx="3" presStyleCnt="4">
        <dgm:presLayoutVars>
          <dgm:bulletEnabled val="1"/>
        </dgm:presLayoutVars>
      </dgm:prSet>
      <dgm:spPr/>
    </dgm:pt>
  </dgm:ptLst>
  <dgm:cxnLst>
    <dgm:cxn modelId="{98680B21-BD29-449C-BACB-F7DFCC4278D3}" srcId="{473F8D28-9B24-45F7-82C2-D98FCC74B220}" destId="{7606BCA9-C302-4783-BFBD-2DC518E778CD}" srcOrd="1" destOrd="0" parTransId="{0028FD89-5221-4A08-BB87-C2FA6BE4E51E}" sibTransId="{C76DB427-5F76-4C03-B2F4-D396A18A7955}"/>
    <dgm:cxn modelId="{EEE3E333-6538-4EE1-98E7-42E5D2D6C743}" type="presOf" srcId="{7C5F65D0-987A-4547-8956-DEAEB930EF01}" destId="{9148E4B0-2B22-4978-9CF0-F1BF187149D8}" srcOrd="0" destOrd="0" presId="urn:microsoft.com/office/officeart/2005/8/layout/default"/>
    <dgm:cxn modelId="{5DAA375D-FA87-4D11-907E-15D213917ABA}" type="presOf" srcId="{CA91E749-730E-4094-B695-0D9F2963D1ED}" destId="{ED078599-38AC-4CC7-A33E-CB36959F71AE}" srcOrd="0" destOrd="0" presId="urn:microsoft.com/office/officeart/2005/8/layout/default"/>
    <dgm:cxn modelId="{871D6B90-968D-4701-B818-CECAB333644B}" type="presOf" srcId="{AEF87A14-CD1B-4C7A-AD2A-E6A5AE47005A}" destId="{0645E0B4-3376-40A3-98C2-7265730819FB}" srcOrd="0" destOrd="0" presId="urn:microsoft.com/office/officeart/2005/8/layout/default"/>
    <dgm:cxn modelId="{3527C197-016F-4431-A862-8C4E579A3C78}" srcId="{473F8D28-9B24-45F7-82C2-D98FCC74B220}" destId="{AEF87A14-CD1B-4C7A-AD2A-E6A5AE47005A}" srcOrd="0" destOrd="0" parTransId="{A09BE54F-79F5-4681-B28A-9140D3082AA8}" sibTransId="{43A4FD19-F269-4C16-AC73-2D096854B3FF}"/>
    <dgm:cxn modelId="{14337AC6-EC19-46CF-BFEF-B4EB42AF4FCA}" srcId="{473F8D28-9B24-45F7-82C2-D98FCC74B220}" destId="{CA91E749-730E-4094-B695-0D9F2963D1ED}" srcOrd="3" destOrd="0" parTransId="{B367A802-62F2-467B-B7FB-E5B37E06CF86}" sibTransId="{2224C933-293D-461E-9ECE-774206E35998}"/>
    <dgm:cxn modelId="{14B089D1-A749-435E-9AD6-F3AA5903042E}" type="presOf" srcId="{473F8D28-9B24-45F7-82C2-D98FCC74B220}" destId="{0841CD39-4A26-4AA0-9C2A-2566F1D538AF}" srcOrd="0" destOrd="0" presId="urn:microsoft.com/office/officeart/2005/8/layout/default"/>
    <dgm:cxn modelId="{B8BCDCDA-A006-4E15-B317-E1D6E175638D}" type="presOf" srcId="{7606BCA9-C302-4783-BFBD-2DC518E778CD}" destId="{01BD7407-6600-49EC-AE01-3BB05AB2888D}" srcOrd="0" destOrd="0" presId="urn:microsoft.com/office/officeart/2005/8/layout/default"/>
    <dgm:cxn modelId="{5AD82AE1-483F-4DCF-8549-E1AE7AF88F67}" srcId="{473F8D28-9B24-45F7-82C2-D98FCC74B220}" destId="{7C5F65D0-987A-4547-8956-DEAEB930EF01}" srcOrd="2" destOrd="0" parTransId="{C79765E4-F24E-4124-B276-6978EC5B6055}" sibTransId="{C81B2EF9-E743-4021-95C3-DD07C516F72A}"/>
    <dgm:cxn modelId="{FF03EE07-3C70-44C4-B991-794DCCF79E92}" type="presParOf" srcId="{0841CD39-4A26-4AA0-9C2A-2566F1D538AF}" destId="{0645E0B4-3376-40A3-98C2-7265730819FB}" srcOrd="0" destOrd="0" presId="urn:microsoft.com/office/officeart/2005/8/layout/default"/>
    <dgm:cxn modelId="{9198479E-335D-4E7E-AC5C-C05AD5ACD234}" type="presParOf" srcId="{0841CD39-4A26-4AA0-9C2A-2566F1D538AF}" destId="{740435A0-1B4D-4F63-9F7E-638B284A8FF8}" srcOrd="1" destOrd="0" presId="urn:microsoft.com/office/officeart/2005/8/layout/default"/>
    <dgm:cxn modelId="{C648281A-763D-4E1C-8723-982F7F064BB2}" type="presParOf" srcId="{0841CD39-4A26-4AA0-9C2A-2566F1D538AF}" destId="{01BD7407-6600-49EC-AE01-3BB05AB2888D}" srcOrd="2" destOrd="0" presId="urn:microsoft.com/office/officeart/2005/8/layout/default"/>
    <dgm:cxn modelId="{24E458AB-5430-49C1-9135-E81AECD4FDD3}" type="presParOf" srcId="{0841CD39-4A26-4AA0-9C2A-2566F1D538AF}" destId="{269A08DE-71C5-417B-AD5F-2075A3BC26E4}" srcOrd="3" destOrd="0" presId="urn:microsoft.com/office/officeart/2005/8/layout/default"/>
    <dgm:cxn modelId="{4E5A148C-363C-4D7B-B897-630C8874FFA4}" type="presParOf" srcId="{0841CD39-4A26-4AA0-9C2A-2566F1D538AF}" destId="{9148E4B0-2B22-4978-9CF0-F1BF187149D8}" srcOrd="4" destOrd="0" presId="urn:microsoft.com/office/officeart/2005/8/layout/default"/>
    <dgm:cxn modelId="{96EBBF9D-1F91-4574-A10F-48A61CF263CA}" type="presParOf" srcId="{0841CD39-4A26-4AA0-9C2A-2566F1D538AF}" destId="{E03CBAD9-5476-47DE-885F-890B17FFC59D}" srcOrd="5" destOrd="0" presId="urn:microsoft.com/office/officeart/2005/8/layout/default"/>
    <dgm:cxn modelId="{9A267A7F-0F92-453B-99CA-4F68A7762C16}" type="presParOf" srcId="{0841CD39-4A26-4AA0-9C2A-2566F1D538AF}" destId="{ED078599-38AC-4CC7-A33E-CB36959F71AE}"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7E51C6-9F7C-4614-99BA-32C4368A23C1}">
      <dsp:nvSpPr>
        <dsp:cNvPr id="0" name=""/>
        <dsp:cNvSpPr/>
      </dsp:nvSpPr>
      <dsp:spPr>
        <a:xfrm>
          <a:off x="481502" y="185165"/>
          <a:ext cx="1972338" cy="616355"/>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7478"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1"/>
              </a:solidFill>
            </a:rPr>
            <a:t>REST </a:t>
          </a:r>
          <a:r>
            <a:rPr lang="en-US" sz="1100" b="1" kern="1200" dirty="0">
              <a:solidFill>
                <a:schemeClr val="accent1"/>
              </a:solidFill>
            </a:rPr>
            <a:t>API / SDKS</a:t>
          </a:r>
        </a:p>
        <a:p>
          <a:pPr marL="57150" lvl="1" indent="-57150" algn="l" defTabSz="400050">
            <a:lnSpc>
              <a:spcPct val="90000"/>
            </a:lnSpc>
            <a:spcBef>
              <a:spcPct val="0"/>
            </a:spcBef>
            <a:spcAft>
              <a:spcPct val="15000"/>
            </a:spcAft>
            <a:buChar char="•"/>
          </a:pPr>
          <a:r>
            <a:rPr lang="en-US" sz="900" kern="1200" dirty="0"/>
            <a:t>Integration</a:t>
          </a:r>
        </a:p>
        <a:p>
          <a:pPr marL="57150" lvl="1" indent="-57150" algn="l" defTabSz="400050">
            <a:lnSpc>
              <a:spcPct val="90000"/>
            </a:lnSpc>
            <a:spcBef>
              <a:spcPct val="0"/>
            </a:spcBef>
            <a:spcAft>
              <a:spcPct val="15000"/>
            </a:spcAft>
            <a:buChar char="•"/>
          </a:pPr>
          <a:r>
            <a:rPr lang="en-US" sz="900" kern="1200" dirty="0"/>
            <a:t>Customization</a:t>
          </a:r>
        </a:p>
      </dsp:txBody>
      <dsp:txXfrm>
        <a:off x="481502" y="185165"/>
        <a:ext cx="1972338" cy="616355"/>
      </dsp:txXfrm>
    </dsp:sp>
    <dsp:sp modelId="{287D23DB-7D23-42A2-9EF9-E36A4467ED86}">
      <dsp:nvSpPr>
        <dsp:cNvPr id="0" name=""/>
        <dsp:cNvSpPr/>
      </dsp:nvSpPr>
      <dsp:spPr>
        <a:xfrm>
          <a:off x="399321" y="96136"/>
          <a:ext cx="431448" cy="64717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25332A07-ACC5-4569-ACAE-0DE8CBCFDCFD}">
      <dsp:nvSpPr>
        <dsp:cNvPr id="0" name=""/>
        <dsp:cNvSpPr/>
      </dsp:nvSpPr>
      <dsp:spPr>
        <a:xfrm>
          <a:off x="2609311" y="185331"/>
          <a:ext cx="1971092" cy="615966"/>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7215" tIns="34290" rIns="34290" bIns="3429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PORTAL</a:t>
          </a:r>
        </a:p>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Owner Setup</a:t>
          </a:r>
        </a:p>
        <a:p>
          <a:pPr marL="57150" lvl="1" indent="-57150" algn="l" defTabSz="400050">
            <a:lnSpc>
              <a:spcPct val="90000"/>
            </a:lnSpc>
            <a:spcBef>
              <a:spcPct val="0"/>
            </a:spcBef>
            <a:spcAft>
              <a:spcPct val="15000"/>
            </a:spcAft>
            <a:buChar char="•"/>
          </a:pPr>
          <a:r>
            <a:rPr lang="en-US" sz="900" kern="1200" dirty="0">
              <a:solidFill>
                <a:srgbClr val="505050">
                  <a:hueOff val="0"/>
                  <a:satOff val="0"/>
                  <a:lumOff val="0"/>
                  <a:alphaOff val="0"/>
                </a:srgbClr>
              </a:solidFill>
              <a:latin typeface="Segoe UI"/>
              <a:ea typeface="+mn-ea"/>
              <a:cs typeface="+mn-cs"/>
            </a:rPr>
            <a:t>Management plane</a:t>
          </a:r>
        </a:p>
      </dsp:txBody>
      <dsp:txXfrm>
        <a:off x="2609311" y="185331"/>
        <a:ext cx="1971092" cy="615966"/>
      </dsp:txXfrm>
    </dsp:sp>
    <dsp:sp modelId="{00864889-5FCA-47A1-ACC8-33F4DF3AD39D}">
      <dsp:nvSpPr>
        <dsp:cNvPr id="0" name=""/>
        <dsp:cNvSpPr/>
      </dsp:nvSpPr>
      <dsp:spPr>
        <a:xfrm>
          <a:off x="2527182" y="96358"/>
          <a:ext cx="431176" cy="646764"/>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4BEF1A48-89B6-470E-83A2-F72D50D08D6D}">
      <dsp:nvSpPr>
        <dsp:cNvPr id="0" name=""/>
        <dsp:cNvSpPr/>
      </dsp:nvSpPr>
      <dsp:spPr>
        <a:xfrm>
          <a:off x="4735564"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ARM TEMPLATES</a:t>
          </a:r>
        </a:p>
        <a:p>
          <a:pPr marL="57150" lvl="1" indent="-57150" algn="l" defTabSz="400050">
            <a:lnSpc>
              <a:spcPct val="90000"/>
            </a:lnSpc>
            <a:spcBef>
              <a:spcPct val="0"/>
            </a:spcBef>
            <a:spcAft>
              <a:spcPct val="15000"/>
            </a:spcAft>
            <a:buChar char="•"/>
          </a:pPr>
          <a:r>
            <a:rPr lang="en-US" sz="900" kern="1200" dirty="0"/>
            <a:t>Declarative config-as-code</a:t>
          </a:r>
        </a:p>
        <a:p>
          <a:pPr marL="57150" lvl="1" indent="-57150" algn="l" defTabSz="400050">
            <a:lnSpc>
              <a:spcPct val="90000"/>
            </a:lnSpc>
            <a:spcBef>
              <a:spcPct val="0"/>
            </a:spcBef>
            <a:spcAft>
              <a:spcPct val="15000"/>
            </a:spcAft>
            <a:buChar char="•"/>
          </a:pPr>
          <a:r>
            <a:rPr lang="en-US" sz="900" kern="1200" dirty="0"/>
            <a:t>3</a:t>
          </a:r>
          <a:r>
            <a:rPr lang="en-US" sz="900" kern="1200" baseline="30000" dirty="0"/>
            <a:t>rd</a:t>
          </a:r>
          <a:r>
            <a:rPr lang="en-US" sz="900" kern="1200" dirty="0"/>
            <a:t> party automation tools</a:t>
          </a:r>
        </a:p>
      </dsp:txBody>
      <dsp:txXfrm>
        <a:off x="4735564" y="186329"/>
        <a:ext cx="1963625" cy="613632"/>
      </dsp:txXfrm>
    </dsp:sp>
    <dsp:sp modelId="{058B2B7A-9017-4CF7-8822-9F26E82B3EC6}">
      <dsp:nvSpPr>
        <dsp:cNvPr id="0" name=""/>
        <dsp:cNvSpPr/>
      </dsp:nvSpPr>
      <dsp:spPr>
        <a:xfrm>
          <a:off x="4653746" y="97694"/>
          <a:ext cx="429543" cy="64431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0037AE0-B65F-43D8-9E12-71CD01C3CAFD}">
      <dsp:nvSpPr>
        <dsp:cNvPr id="0" name=""/>
        <dsp:cNvSpPr/>
      </dsp:nvSpPr>
      <dsp:spPr>
        <a:xfrm>
          <a:off x="6854349"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COMMAND LINE</a:t>
          </a:r>
        </a:p>
        <a:p>
          <a:pPr marL="57150" lvl="1" indent="-57150" algn="l" defTabSz="400050">
            <a:lnSpc>
              <a:spcPct val="90000"/>
            </a:lnSpc>
            <a:spcBef>
              <a:spcPct val="0"/>
            </a:spcBef>
            <a:spcAft>
              <a:spcPct val="15000"/>
            </a:spcAft>
            <a:buChar char="•"/>
          </a:pPr>
          <a:r>
            <a:rPr lang="en-US" sz="900" kern="1200" dirty="0"/>
            <a:t>PowerShell</a:t>
          </a:r>
        </a:p>
        <a:p>
          <a:pPr marL="57150" lvl="1" indent="-57150" algn="l" defTabSz="400050">
            <a:lnSpc>
              <a:spcPct val="90000"/>
            </a:lnSpc>
            <a:spcBef>
              <a:spcPct val="0"/>
            </a:spcBef>
            <a:spcAft>
              <a:spcPct val="15000"/>
            </a:spcAft>
            <a:buChar char="•"/>
          </a:pPr>
          <a:r>
            <a:rPr lang="en-US" sz="900" kern="1200" dirty="0"/>
            <a:t>Cross platform Azure CLI</a:t>
          </a:r>
        </a:p>
      </dsp:txBody>
      <dsp:txXfrm>
        <a:off x="6854349" y="186329"/>
        <a:ext cx="1963625" cy="613632"/>
      </dsp:txXfrm>
    </dsp:sp>
    <dsp:sp modelId="{6C291C59-B91B-4313-BC48-FE8D8F4C1FB3}">
      <dsp:nvSpPr>
        <dsp:cNvPr id="0" name=""/>
        <dsp:cNvSpPr/>
      </dsp:nvSpPr>
      <dsp:spPr>
        <a:xfrm>
          <a:off x="6772532" y="97694"/>
          <a:ext cx="429543" cy="644314"/>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56D28519-16BA-479F-8457-A1CCAFFCCFC9}">
      <dsp:nvSpPr>
        <dsp:cNvPr id="0" name=""/>
        <dsp:cNvSpPr/>
      </dsp:nvSpPr>
      <dsp:spPr>
        <a:xfrm>
          <a:off x="8973135" y="186329"/>
          <a:ext cx="1963625" cy="613632"/>
        </a:xfrm>
        <a:prstGeom prst="rect">
          <a:avLst/>
        </a:prstGeom>
        <a:solidFill>
          <a:schemeClr val="accent1">
            <a:alpha val="4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1563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1"/>
              </a:solidFill>
            </a:rPr>
            <a:t>RESOURCE GROUPS</a:t>
          </a:r>
        </a:p>
        <a:p>
          <a:pPr marL="57150" lvl="1" indent="-57150" algn="l" defTabSz="400050">
            <a:lnSpc>
              <a:spcPct val="90000"/>
            </a:lnSpc>
            <a:spcBef>
              <a:spcPct val="0"/>
            </a:spcBef>
            <a:spcAft>
              <a:spcPct val="15000"/>
            </a:spcAft>
            <a:buChar char="•"/>
          </a:pPr>
          <a:r>
            <a:rPr lang="en-US" sz="900" kern="1200" dirty="0"/>
            <a:t>Lifecycle management</a:t>
          </a:r>
        </a:p>
        <a:p>
          <a:pPr marL="57150" lvl="1" indent="-57150" algn="l" defTabSz="400050">
            <a:lnSpc>
              <a:spcPct val="90000"/>
            </a:lnSpc>
            <a:spcBef>
              <a:spcPct val="0"/>
            </a:spcBef>
            <a:spcAft>
              <a:spcPct val="15000"/>
            </a:spcAft>
            <a:buChar char="•"/>
          </a:pPr>
          <a:r>
            <a:rPr lang="en-US" sz="900" kern="1200" dirty="0"/>
            <a:t>Organization</a:t>
          </a:r>
        </a:p>
      </dsp:txBody>
      <dsp:txXfrm>
        <a:off x="8973135" y="186329"/>
        <a:ext cx="1963625" cy="613632"/>
      </dsp:txXfrm>
    </dsp:sp>
    <dsp:sp modelId="{768832B2-F877-4FA3-9345-EB93B2B0EFB4}">
      <dsp:nvSpPr>
        <dsp:cNvPr id="0" name=""/>
        <dsp:cNvSpPr/>
      </dsp:nvSpPr>
      <dsp:spPr>
        <a:xfrm>
          <a:off x="8891317" y="97694"/>
          <a:ext cx="429543" cy="644314"/>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820D46-0FEA-4B16-823A-EE57A0B7F217}">
      <dsp:nvSpPr>
        <dsp:cNvPr id="0" name=""/>
        <dsp:cNvSpPr/>
      </dsp:nvSpPr>
      <dsp:spPr>
        <a:xfrm>
          <a:off x="0" y="335783"/>
          <a:ext cx="1551973" cy="931183"/>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Generate Alerts</a:t>
          </a:r>
        </a:p>
      </dsp:txBody>
      <dsp:txXfrm>
        <a:off x="0" y="335783"/>
        <a:ext cx="1551973" cy="931183"/>
      </dsp:txXfrm>
    </dsp:sp>
    <dsp:sp modelId="{1443D666-4A2B-4056-85CE-D842A38B160C}">
      <dsp:nvSpPr>
        <dsp:cNvPr id="0" name=""/>
        <dsp:cNvSpPr/>
      </dsp:nvSpPr>
      <dsp:spPr>
        <a:xfrm>
          <a:off x="0" y="1422165"/>
          <a:ext cx="1551973" cy="931183"/>
        </a:xfrm>
        <a:prstGeom prst="rect">
          <a:avLst/>
        </a:prstGeom>
        <a:solidFill>
          <a:schemeClr val="accent3">
            <a:hueOff val="2963990"/>
            <a:satOff val="-8172"/>
            <a:lumOff val="32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ke  Actions</a:t>
          </a:r>
        </a:p>
      </dsp:txBody>
      <dsp:txXfrm>
        <a:off x="0" y="1422165"/>
        <a:ext cx="1551973" cy="931183"/>
      </dsp:txXfrm>
    </dsp:sp>
    <dsp:sp modelId="{830675DB-577B-46EE-9C0E-06640DC020B0}">
      <dsp:nvSpPr>
        <dsp:cNvPr id="0" name=""/>
        <dsp:cNvSpPr/>
      </dsp:nvSpPr>
      <dsp:spPr>
        <a:xfrm>
          <a:off x="0" y="2508546"/>
          <a:ext cx="1551973" cy="931183"/>
        </a:xfrm>
        <a:prstGeom prst="rect">
          <a:avLst/>
        </a:prstGeom>
        <a:solidFill>
          <a:schemeClr val="accent3">
            <a:hueOff val="5927981"/>
            <a:satOff val="-16343"/>
            <a:lumOff val="65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stomer Insights</a:t>
          </a:r>
        </a:p>
      </dsp:txBody>
      <dsp:txXfrm>
        <a:off x="0" y="2508546"/>
        <a:ext cx="1551973" cy="931183"/>
      </dsp:txXfrm>
    </dsp:sp>
    <dsp:sp modelId="{3E5624FC-8C14-47DA-A1DC-6DBEF1F5BB5A}">
      <dsp:nvSpPr>
        <dsp:cNvPr id="0" name=""/>
        <dsp:cNvSpPr/>
      </dsp:nvSpPr>
      <dsp:spPr>
        <a:xfrm>
          <a:off x="0" y="3594927"/>
          <a:ext cx="1551973" cy="931183"/>
        </a:xfrm>
        <a:prstGeom prst="rect">
          <a:avLst/>
        </a:prstGeom>
        <a:solidFill>
          <a:schemeClr val="accent3">
            <a:hueOff val="8891971"/>
            <a:satOff val="-24515"/>
            <a:lumOff val="98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port &amp; Correlate</a:t>
          </a:r>
        </a:p>
      </dsp:txBody>
      <dsp:txXfrm>
        <a:off x="0" y="3594927"/>
        <a:ext cx="1551973" cy="93118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433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reat Intelligence</a:t>
          </a:r>
        </a:p>
      </dsp:txBody>
      <dsp:txXfrm>
        <a:off x="28900" y="133232"/>
        <a:ext cx="5750900" cy="534220"/>
      </dsp:txXfrm>
    </dsp:sp>
    <dsp:sp modelId="{A552BFD7-8322-49DE-94E4-30E8FCC2B51C}">
      <dsp:nvSpPr>
        <dsp:cNvPr id="0" name=""/>
        <dsp:cNvSpPr/>
      </dsp:nvSpPr>
      <dsp:spPr>
        <a:xfrm>
          <a:off x="0" y="696352"/>
          <a:ext cx="5808700" cy="1952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Intelligent Security Graph</a:t>
          </a:r>
        </a:p>
        <a:p>
          <a:pPr marL="171450" lvl="1" indent="-171450" algn="l" defTabSz="800100">
            <a:lnSpc>
              <a:spcPct val="90000"/>
            </a:lnSpc>
            <a:spcBef>
              <a:spcPct val="0"/>
            </a:spcBef>
            <a:spcAft>
              <a:spcPct val="20000"/>
            </a:spcAft>
            <a:buChar char="•"/>
          </a:pPr>
          <a:r>
            <a:rPr lang="en-US" sz="1800" kern="1200" dirty="0">
              <a:latin typeface="+mj-lt"/>
            </a:rPr>
            <a:t>Microsoft Digital Crimes Unit</a:t>
          </a:r>
        </a:p>
        <a:p>
          <a:pPr marL="171450" lvl="1" indent="-171450" algn="l" defTabSz="800100">
            <a:lnSpc>
              <a:spcPct val="90000"/>
            </a:lnSpc>
            <a:spcBef>
              <a:spcPct val="0"/>
            </a:spcBef>
            <a:spcAft>
              <a:spcPct val="20000"/>
            </a:spcAft>
            <a:buChar char="•"/>
          </a:pPr>
          <a:r>
            <a:rPr lang="en-US" sz="1800" kern="1200" dirty="0">
              <a:latin typeface="+mj-lt"/>
            </a:rPr>
            <a:t>Microsoft Security Response Center</a:t>
          </a:r>
        </a:p>
        <a:p>
          <a:pPr marL="171450" lvl="1" indent="-171450" algn="l" defTabSz="800100">
            <a:lnSpc>
              <a:spcPct val="90000"/>
            </a:lnSpc>
            <a:spcBef>
              <a:spcPct val="0"/>
            </a:spcBef>
            <a:spcAft>
              <a:spcPct val="20000"/>
            </a:spcAft>
            <a:buChar char="•"/>
          </a:pPr>
          <a:r>
            <a:rPr lang="en-US" sz="1800" kern="1200" dirty="0">
              <a:latin typeface="+mj-lt"/>
            </a:rPr>
            <a:t>External security feeds</a:t>
          </a:r>
        </a:p>
        <a:p>
          <a:pPr marL="171450" lvl="1" indent="-171450" algn="l" defTabSz="800100">
            <a:lnSpc>
              <a:spcPct val="90000"/>
            </a:lnSpc>
            <a:spcBef>
              <a:spcPct val="0"/>
            </a:spcBef>
            <a:spcAft>
              <a:spcPct val="20000"/>
            </a:spcAft>
            <a:buChar char="•"/>
          </a:pPr>
          <a:r>
            <a:rPr lang="en-US" sz="1800" kern="1200" dirty="0">
              <a:latin typeface="+mj-lt"/>
            </a:rPr>
            <a:t>Telemetry from Microsoft services (Azure, Office 365, outlook.com, CRM online, MSN.com)</a:t>
          </a:r>
        </a:p>
      </dsp:txBody>
      <dsp:txXfrm>
        <a:off x="0" y="696352"/>
        <a:ext cx="5808700" cy="1952010"/>
      </dsp:txXfrm>
    </dsp:sp>
    <dsp:sp modelId="{8827F5D1-F7B9-4EB6-BBAC-0684D270A04D}">
      <dsp:nvSpPr>
        <dsp:cNvPr id="0" name=""/>
        <dsp:cNvSpPr/>
      </dsp:nvSpPr>
      <dsp:spPr>
        <a:xfrm>
          <a:off x="0" y="264836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havioral Analytics</a:t>
          </a:r>
        </a:p>
      </dsp:txBody>
      <dsp:txXfrm>
        <a:off x="28900" y="2677262"/>
        <a:ext cx="5750900" cy="534220"/>
      </dsp:txXfrm>
    </dsp:sp>
    <dsp:sp modelId="{3BC6DC3E-E84C-46EA-A710-2C935B699E67}">
      <dsp:nvSpPr>
        <dsp:cNvPr id="0" name=""/>
        <dsp:cNvSpPr/>
      </dsp:nvSpPr>
      <dsp:spPr>
        <a:xfrm>
          <a:off x="0" y="3240382"/>
          <a:ext cx="5808700" cy="95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latin typeface="+mj-lt"/>
            </a:rPr>
            <a:t>Learn </a:t>
          </a:r>
          <a:r>
            <a:rPr lang="en-US" sz="1800" kern="1200" dirty="0">
              <a:latin typeface="+mj-lt"/>
            </a:rPr>
            <a:t>threat patterns using machine learning algorithms against massive datasets</a:t>
          </a:r>
        </a:p>
        <a:p>
          <a:pPr marL="171450" lvl="1" indent="-171450" algn="l" defTabSz="800100">
            <a:lnSpc>
              <a:spcPct val="90000"/>
            </a:lnSpc>
            <a:spcBef>
              <a:spcPct val="0"/>
            </a:spcBef>
            <a:spcAft>
              <a:spcPct val="20000"/>
            </a:spcAft>
            <a:buChar char="•"/>
          </a:pPr>
          <a:r>
            <a:rPr lang="en-US" sz="1800" kern="1200" dirty="0">
              <a:latin typeface="+mj-lt"/>
            </a:rPr>
            <a:t>Analyze logs to identify compromised resources</a:t>
          </a:r>
        </a:p>
      </dsp:txBody>
      <dsp:txXfrm>
        <a:off x="0" y="3240382"/>
        <a:ext cx="5808700" cy="952200"/>
      </dsp:txXfrm>
    </dsp:sp>
    <dsp:sp modelId="{E776B90D-9982-4A55-B61F-55B653778176}">
      <dsp:nvSpPr>
        <dsp:cNvPr id="0" name=""/>
        <dsp:cNvSpPr/>
      </dsp:nvSpPr>
      <dsp:spPr>
        <a:xfrm>
          <a:off x="0" y="4192582"/>
          <a:ext cx="5808700"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nomaly Detection</a:t>
          </a:r>
        </a:p>
      </dsp:txBody>
      <dsp:txXfrm>
        <a:off x="28900" y="4221482"/>
        <a:ext cx="5750900" cy="534220"/>
      </dsp:txXfrm>
    </dsp:sp>
    <dsp:sp modelId="{F3432368-7821-494A-8162-7EE17636C7A3}">
      <dsp:nvSpPr>
        <dsp:cNvPr id="0" name=""/>
        <dsp:cNvSpPr/>
      </dsp:nvSpPr>
      <dsp:spPr>
        <a:xfrm>
          <a:off x="0" y="4784602"/>
          <a:ext cx="5808700"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4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Establish customer baselines from regular usage</a:t>
          </a:r>
        </a:p>
        <a:p>
          <a:pPr marL="171450" lvl="1" indent="-171450" algn="l" defTabSz="800100">
            <a:lnSpc>
              <a:spcPct val="90000"/>
            </a:lnSpc>
            <a:spcBef>
              <a:spcPct val="0"/>
            </a:spcBef>
            <a:spcAft>
              <a:spcPct val="20000"/>
            </a:spcAft>
            <a:buChar char="•"/>
          </a:pPr>
          <a:r>
            <a:rPr lang="en-US" sz="1800" kern="1200" dirty="0">
              <a:latin typeface="+mj-lt"/>
            </a:rPr>
            <a:t>Apply machine learning models to identify outliers</a:t>
          </a:r>
        </a:p>
      </dsp:txBody>
      <dsp:txXfrm>
        <a:off x="0" y="4784602"/>
        <a:ext cx="5808700" cy="67844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73B91-EF11-49A7-8D60-59537D0B73A2}">
      <dsp:nvSpPr>
        <dsp:cNvPr id="0" name=""/>
        <dsp:cNvSpPr/>
      </dsp:nvSpPr>
      <dsp:spPr>
        <a:xfrm>
          <a:off x="167354" y="228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rash analysis</a:t>
          </a:r>
        </a:p>
      </dsp:txBody>
      <dsp:txXfrm>
        <a:off x="167354" y="2285"/>
        <a:ext cx="1256733" cy="754040"/>
      </dsp:txXfrm>
    </dsp:sp>
    <dsp:sp modelId="{08BA7392-92A7-46E7-8FB7-152665F983F0}">
      <dsp:nvSpPr>
        <dsp:cNvPr id="0" name=""/>
        <dsp:cNvSpPr/>
      </dsp:nvSpPr>
      <dsp:spPr>
        <a:xfrm>
          <a:off x="1549760" y="2285"/>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hellcode discovered</a:t>
          </a:r>
        </a:p>
      </dsp:txBody>
      <dsp:txXfrm>
        <a:off x="1549760" y="2285"/>
        <a:ext cx="1256733" cy="754040"/>
      </dsp:txXfrm>
    </dsp:sp>
    <dsp:sp modelId="{6677B7A6-72E0-4B41-BA0F-E6FE1F9AC98C}">
      <dsp:nvSpPr>
        <dsp:cNvPr id="0" name=""/>
        <dsp:cNvSpPr/>
      </dsp:nvSpPr>
      <dsp:spPr>
        <a:xfrm>
          <a:off x="2932167" y="228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ule hijacking discovered</a:t>
          </a:r>
        </a:p>
      </dsp:txBody>
      <dsp:txXfrm>
        <a:off x="2932167" y="2285"/>
        <a:ext cx="1256733" cy="754040"/>
      </dsp:txXfrm>
    </dsp:sp>
    <dsp:sp modelId="{88630C80-91B5-4DFD-BCEF-6D829443B00F}">
      <dsp:nvSpPr>
        <dsp:cNvPr id="0" name=""/>
        <dsp:cNvSpPr/>
      </dsp:nvSpPr>
      <dsp:spPr>
        <a:xfrm>
          <a:off x="4314574" y="228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asquerading Windows module detected</a:t>
          </a:r>
        </a:p>
      </dsp:txBody>
      <dsp:txXfrm>
        <a:off x="4314574" y="2285"/>
        <a:ext cx="1256733" cy="754040"/>
      </dsp:txXfrm>
    </dsp:sp>
    <dsp:sp modelId="{F3F94399-F8A4-47A7-99D8-6C6F511F8A39}">
      <dsp:nvSpPr>
        <dsp:cNvPr id="0" name=""/>
        <dsp:cNvSpPr/>
      </dsp:nvSpPr>
      <dsp:spPr>
        <a:xfrm>
          <a:off x="167354" y="881998"/>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odified system binary discovered</a:t>
          </a:r>
        </a:p>
      </dsp:txBody>
      <dsp:txXfrm>
        <a:off x="167354" y="881998"/>
        <a:ext cx="1256733" cy="754040"/>
      </dsp:txXfrm>
    </dsp:sp>
    <dsp:sp modelId="{60A595F4-0A25-46F1-A1CB-B419C4E351BB}">
      <dsp:nvSpPr>
        <dsp:cNvPr id="0" name=""/>
        <dsp:cNvSpPr/>
      </dsp:nvSpPr>
      <dsp:spPr>
        <a:xfrm>
          <a:off x="1549760" y="881998"/>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process executed</a:t>
          </a:r>
        </a:p>
      </dsp:txBody>
      <dsp:txXfrm>
        <a:off x="1549760" y="881998"/>
        <a:ext cx="1256733" cy="754040"/>
      </dsp:txXfrm>
    </dsp:sp>
    <dsp:sp modelId="{BA2819CB-F030-41D9-BD10-294FDBBB6C93}">
      <dsp:nvSpPr>
        <dsp:cNvPr id="0" name=""/>
        <dsp:cNvSpPr/>
      </dsp:nvSpPr>
      <dsp:spPr>
        <a:xfrm>
          <a:off x="2932167" y="881998"/>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ultiple domain accounts queried</a:t>
          </a:r>
        </a:p>
      </dsp:txBody>
      <dsp:txXfrm>
        <a:off x="2932167" y="881998"/>
        <a:ext cx="1256733" cy="754040"/>
      </dsp:txXfrm>
    </dsp:sp>
    <dsp:sp modelId="{971E4EA6-6B1F-48F2-9604-7F80A8831CD0}">
      <dsp:nvSpPr>
        <dsp:cNvPr id="0" name=""/>
        <dsp:cNvSpPr/>
      </dsp:nvSpPr>
      <dsp:spPr>
        <a:xfrm>
          <a:off x="4314574" y="881998"/>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omalous mix of upper and lower case characters</a:t>
          </a:r>
        </a:p>
      </dsp:txBody>
      <dsp:txXfrm>
        <a:off x="4314574" y="881998"/>
        <a:ext cx="1256733" cy="754040"/>
      </dsp:txXfrm>
    </dsp:sp>
    <dsp:sp modelId="{634AE05E-48DD-42E7-94DD-1B4EB5DC032B}">
      <dsp:nvSpPr>
        <dsp:cNvPr id="0" name=""/>
        <dsp:cNvSpPr/>
      </dsp:nvSpPr>
      <dsp:spPr>
        <a:xfrm>
          <a:off x="167354" y="1761712"/>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ected Kerberos Golden Ticket attack</a:t>
          </a:r>
        </a:p>
      </dsp:txBody>
      <dsp:txXfrm>
        <a:off x="167354" y="1761712"/>
        <a:ext cx="1256733" cy="754040"/>
      </dsp:txXfrm>
    </dsp:sp>
    <dsp:sp modelId="{C63D81F8-75BA-4643-929A-28DA25390FC3}">
      <dsp:nvSpPr>
        <dsp:cNvPr id="0" name=""/>
        <dsp:cNvSpPr/>
      </dsp:nvSpPr>
      <dsp:spPr>
        <a:xfrm>
          <a:off x="1549760" y="1761712"/>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account created</a:t>
          </a:r>
        </a:p>
      </dsp:txBody>
      <dsp:txXfrm>
        <a:off x="1549760" y="1761712"/>
        <a:ext cx="1256733" cy="754040"/>
      </dsp:txXfrm>
    </dsp:sp>
    <dsp:sp modelId="{590F9680-200E-43BB-B657-13AD81569285}">
      <dsp:nvSpPr>
        <dsp:cNvPr id="0" name=""/>
        <dsp:cNvSpPr/>
      </dsp:nvSpPr>
      <dsp:spPr>
        <a:xfrm>
          <a:off x="2932167" y="176171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firewall rule created</a:t>
          </a:r>
        </a:p>
      </dsp:txBody>
      <dsp:txXfrm>
        <a:off x="2932167" y="1761712"/>
        <a:ext cx="1256733" cy="754040"/>
      </dsp:txXfrm>
    </dsp:sp>
    <dsp:sp modelId="{BE5CF8F1-EA53-47BE-A992-0D8F54963663}">
      <dsp:nvSpPr>
        <dsp:cNvPr id="0" name=""/>
        <dsp:cNvSpPr/>
      </dsp:nvSpPr>
      <dsp:spPr>
        <a:xfrm>
          <a:off x="4314574" y="1761712"/>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combination of HTA and PowerShell</a:t>
          </a:r>
        </a:p>
      </dsp:txBody>
      <dsp:txXfrm>
        <a:off x="4314574" y="1761712"/>
        <a:ext cx="1256733" cy="754040"/>
      </dsp:txXfrm>
    </dsp:sp>
    <dsp:sp modelId="{5644C563-C4B8-41E6-96EC-3FDCCF728DF1}">
      <dsp:nvSpPr>
        <dsp:cNvPr id="0" name=""/>
        <dsp:cNvSpPr/>
      </dsp:nvSpPr>
      <dsp:spPr>
        <a:xfrm>
          <a:off x="167354" y="2641425"/>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uspicious outgoing traffic detected</a:t>
          </a:r>
        </a:p>
      </dsp:txBody>
      <dsp:txXfrm>
        <a:off x="167354" y="2641425"/>
        <a:ext cx="1256733" cy="754040"/>
      </dsp:txXfrm>
    </dsp:sp>
    <dsp:sp modelId="{A9F8C7F4-970F-459E-A468-420223F0BFE3}">
      <dsp:nvSpPr>
        <dsp:cNvPr id="0" name=""/>
        <dsp:cNvSpPr/>
      </dsp:nvSpPr>
      <dsp:spPr>
        <a:xfrm>
          <a:off x="1549760" y="2641425"/>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Network communication with a malicious machine</a:t>
          </a:r>
        </a:p>
      </dsp:txBody>
      <dsp:txXfrm>
        <a:off x="1549760" y="2641425"/>
        <a:ext cx="1256733" cy="754040"/>
      </dsp:txXfrm>
    </dsp:sp>
    <dsp:sp modelId="{DDF3AAC3-B836-44FF-ACB3-35721EA63A36}">
      <dsp:nvSpPr>
        <dsp:cNvPr id="0" name=""/>
        <dsp:cNvSpPr/>
      </dsp:nvSpPr>
      <dsp:spPr>
        <a:xfrm>
          <a:off x="2932167" y="2641425"/>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ssible outgoing denial-of-service attack detected</a:t>
          </a:r>
        </a:p>
      </dsp:txBody>
      <dsp:txXfrm>
        <a:off x="2932167" y="2641425"/>
        <a:ext cx="1256733" cy="754040"/>
      </dsp:txXfrm>
    </dsp:sp>
    <dsp:sp modelId="{808A61BA-118F-4F94-8A17-A05C9A2AC513}">
      <dsp:nvSpPr>
        <dsp:cNvPr id="0" name=""/>
        <dsp:cNvSpPr/>
      </dsp:nvSpPr>
      <dsp:spPr>
        <a:xfrm>
          <a:off x="4314574" y="2641425"/>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otential SQL injection</a:t>
          </a:r>
        </a:p>
      </dsp:txBody>
      <dsp:txXfrm>
        <a:off x="4314574" y="2641425"/>
        <a:ext cx="1256733" cy="754040"/>
      </dsp:txXfrm>
    </dsp:sp>
    <dsp:sp modelId="{92C719FA-435E-4B7E-87A2-0CC4614C3157}">
      <dsp:nvSpPr>
        <dsp:cNvPr id="0" name=""/>
        <dsp:cNvSpPr/>
      </dsp:nvSpPr>
      <dsp:spPr>
        <a:xfrm>
          <a:off x="167354" y="3521139"/>
          <a:ext cx="1256733" cy="75404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Vulnerability to SQL injection</a:t>
          </a:r>
        </a:p>
      </dsp:txBody>
      <dsp:txXfrm>
        <a:off x="167354" y="3521139"/>
        <a:ext cx="1256733" cy="754040"/>
      </dsp:txXfrm>
    </dsp:sp>
    <dsp:sp modelId="{2D3E446E-FBC1-4ABF-92A4-9F7BAED9A111}">
      <dsp:nvSpPr>
        <dsp:cNvPr id="0" name=""/>
        <dsp:cNvSpPr/>
      </dsp:nvSpPr>
      <dsp:spPr>
        <a:xfrm>
          <a:off x="1549760" y="3521139"/>
          <a:ext cx="1256733" cy="754040"/>
        </a:xfrm>
        <a:prstGeom prst="rect">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Unusual access from unfamiliar location</a:t>
          </a:r>
        </a:p>
      </dsp:txBody>
      <dsp:txXfrm>
        <a:off x="1549760" y="3521139"/>
        <a:ext cx="1256733" cy="754040"/>
      </dsp:txXfrm>
    </dsp:sp>
    <dsp:sp modelId="{0AC98931-A821-407F-89E2-B1170BF0D959}">
      <dsp:nvSpPr>
        <dsp:cNvPr id="0" name=""/>
        <dsp:cNvSpPr/>
      </dsp:nvSpPr>
      <dsp:spPr>
        <a:xfrm>
          <a:off x="2932167" y="3521139"/>
          <a:ext cx="1256733" cy="754040"/>
        </a:xfrm>
        <a:prstGeom prst="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Log clear events</a:t>
          </a:r>
        </a:p>
      </dsp:txBody>
      <dsp:txXfrm>
        <a:off x="2932167" y="3521139"/>
        <a:ext cx="1256733" cy="754040"/>
      </dsp:txXfrm>
    </dsp:sp>
    <dsp:sp modelId="{5B39ECC0-EE0F-4A69-AB44-502744C1128F}">
      <dsp:nvSpPr>
        <dsp:cNvPr id="0" name=""/>
        <dsp:cNvSpPr/>
      </dsp:nvSpPr>
      <dsp:spPr>
        <a:xfrm>
          <a:off x="4314574" y="3521139"/>
          <a:ext cx="1256733" cy="754040"/>
        </a:xfrm>
        <a:prstGeom prst="rect">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NP device plugged from unknown device</a:t>
          </a:r>
        </a:p>
      </dsp:txBody>
      <dsp:txXfrm>
        <a:off x="4314574" y="3521139"/>
        <a:ext cx="1256733" cy="754040"/>
      </dsp:txXfrm>
    </dsp:sp>
    <dsp:sp modelId="{375417FE-5C28-429B-91B4-1F1519C5F693}">
      <dsp:nvSpPr>
        <dsp:cNvPr id="0" name=""/>
        <dsp:cNvSpPr/>
      </dsp:nvSpPr>
      <dsp:spPr>
        <a:xfrm>
          <a:off x="2240964" y="4400852"/>
          <a:ext cx="1256733" cy="75404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lerts which are not actionable</a:t>
          </a:r>
        </a:p>
      </dsp:txBody>
      <dsp:txXfrm>
        <a:off x="2240964" y="4400852"/>
        <a:ext cx="1256733" cy="75404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FEDA95-23FE-49DB-9E30-EF6C3EF529CD}">
      <dsp:nvSpPr>
        <dsp:cNvPr id="0" name=""/>
        <dsp:cNvSpPr/>
      </dsp:nvSpPr>
      <dsp:spPr>
        <a:xfrm>
          <a:off x="155610" y="58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data collection for subscriptions</a:t>
          </a:r>
        </a:p>
      </dsp:txBody>
      <dsp:txXfrm>
        <a:off x="155610" y="581"/>
        <a:ext cx="1214886" cy="728932"/>
      </dsp:txXfrm>
    </dsp:sp>
    <dsp:sp modelId="{0909C2B4-C659-4C5A-878A-A373B015E349}">
      <dsp:nvSpPr>
        <dsp:cNvPr id="0" name=""/>
        <dsp:cNvSpPr/>
      </dsp:nvSpPr>
      <dsp:spPr>
        <a:xfrm>
          <a:off x="1491986" y="58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OS vulnerabilities</a:t>
          </a:r>
        </a:p>
      </dsp:txBody>
      <dsp:txXfrm>
        <a:off x="1491986" y="581"/>
        <a:ext cx="1214886" cy="728932"/>
      </dsp:txXfrm>
    </dsp:sp>
    <dsp:sp modelId="{B2BE80C3-9EC5-4246-B6E4-2B3F67FCBF1A}">
      <dsp:nvSpPr>
        <dsp:cNvPr id="0" name=""/>
        <dsp:cNvSpPr/>
      </dsp:nvSpPr>
      <dsp:spPr>
        <a:xfrm>
          <a:off x="2828361" y="58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system updates</a:t>
          </a:r>
        </a:p>
      </dsp:txBody>
      <dsp:txXfrm>
        <a:off x="2828361" y="581"/>
        <a:ext cx="1214886" cy="728932"/>
      </dsp:txXfrm>
    </dsp:sp>
    <dsp:sp modelId="{BCF96262-7C34-4B54-8AEB-35A02DCF376B}">
      <dsp:nvSpPr>
        <dsp:cNvPr id="0" name=""/>
        <dsp:cNvSpPr/>
      </dsp:nvSpPr>
      <dsp:spPr>
        <a:xfrm>
          <a:off x="4164737" y="581"/>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a Just-In-Time network access control</a:t>
          </a:r>
        </a:p>
      </dsp:txBody>
      <dsp:txXfrm>
        <a:off x="4164737" y="581"/>
        <a:ext cx="1214886" cy="728932"/>
      </dsp:txXfrm>
    </dsp:sp>
    <dsp:sp modelId="{D0E75F77-FDF3-43F5-BF49-9345F0AF20E8}">
      <dsp:nvSpPr>
        <dsp:cNvPr id="0" name=""/>
        <dsp:cNvSpPr/>
      </dsp:nvSpPr>
      <dsp:spPr>
        <a:xfrm>
          <a:off x="155610" y="851001"/>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boot after system updates</a:t>
          </a:r>
        </a:p>
      </dsp:txBody>
      <dsp:txXfrm>
        <a:off x="155610" y="851001"/>
        <a:ext cx="1214886" cy="728932"/>
      </dsp:txXfrm>
    </dsp:sp>
    <dsp:sp modelId="{B907C098-85C0-423B-BE73-E265BF4224FB}">
      <dsp:nvSpPr>
        <dsp:cNvPr id="0" name=""/>
        <dsp:cNvSpPr/>
      </dsp:nvSpPr>
      <dsp:spPr>
        <a:xfrm>
          <a:off x="1491986" y="851001"/>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web application firewall</a:t>
          </a:r>
        </a:p>
      </dsp:txBody>
      <dsp:txXfrm>
        <a:off x="1491986" y="851001"/>
        <a:ext cx="1214886" cy="728932"/>
      </dsp:txXfrm>
    </dsp:sp>
    <dsp:sp modelId="{B187B364-FD3F-46D0-AEB7-88CA90933649}">
      <dsp:nvSpPr>
        <dsp:cNvPr id="0" name=""/>
        <dsp:cNvSpPr/>
      </dsp:nvSpPr>
      <dsp:spPr>
        <a:xfrm>
          <a:off x="2828361" y="851001"/>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Finalize application protection</a:t>
          </a:r>
        </a:p>
      </dsp:txBody>
      <dsp:txXfrm>
        <a:off x="2828361" y="851001"/>
        <a:ext cx="1214886" cy="728932"/>
      </dsp:txXfrm>
    </dsp:sp>
    <dsp:sp modelId="{6B8737CB-6C23-4331-B53E-365287512F22}">
      <dsp:nvSpPr>
        <dsp:cNvPr id="0" name=""/>
        <dsp:cNvSpPr/>
      </dsp:nvSpPr>
      <dsp:spPr>
        <a:xfrm>
          <a:off x="4164737" y="851001"/>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dd a Next Generation Firewall</a:t>
          </a:r>
        </a:p>
      </dsp:txBody>
      <dsp:txXfrm>
        <a:off x="4164737" y="851001"/>
        <a:ext cx="1214886" cy="728932"/>
      </dsp:txXfrm>
    </dsp:sp>
    <dsp:sp modelId="{3062C5F8-6F89-446B-B50F-FE62BEB4D3FB}">
      <dsp:nvSpPr>
        <dsp:cNvPr id="0" name=""/>
        <dsp:cNvSpPr/>
      </dsp:nvSpPr>
      <dsp:spPr>
        <a:xfrm>
          <a:off x="155610" y="1701422"/>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oute traffic through NGFW only</a:t>
          </a:r>
        </a:p>
      </dsp:txBody>
      <dsp:txXfrm>
        <a:off x="155610" y="1701422"/>
        <a:ext cx="1214886" cy="728932"/>
      </dsp:txXfrm>
    </dsp:sp>
    <dsp:sp modelId="{A7799332-B546-445E-B50A-B219179AC0A6}">
      <dsp:nvSpPr>
        <dsp:cNvPr id="0" name=""/>
        <dsp:cNvSpPr/>
      </dsp:nvSpPr>
      <dsp:spPr>
        <a:xfrm>
          <a:off x="1491986" y="1701422"/>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Install Endpoint Protection</a:t>
          </a:r>
        </a:p>
      </dsp:txBody>
      <dsp:txXfrm>
        <a:off x="1491986" y="1701422"/>
        <a:ext cx="1214886" cy="728932"/>
      </dsp:txXfrm>
    </dsp:sp>
    <dsp:sp modelId="{F4AFEBDC-F908-4AB0-A868-1CF77AE48385}">
      <dsp:nvSpPr>
        <dsp:cNvPr id="0" name=""/>
        <dsp:cNvSpPr/>
      </dsp:nvSpPr>
      <dsp:spPr>
        <a:xfrm>
          <a:off x="2828361" y="1701422"/>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olve Endpoint Protection health alerts</a:t>
          </a:r>
        </a:p>
      </dsp:txBody>
      <dsp:txXfrm>
        <a:off x="2828361" y="1701422"/>
        <a:ext cx="1214886" cy="728932"/>
      </dsp:txXfrm>
    </dsp:sp>
    <dsp:sp modelId="{5EDD574E-95F8-4660-8299-EF3744081250}">
      <dsp:nvSpPr>
        <dsp:cNvPr id="0" name=""/>
        <dsp:cNvSpPr/>
      </dsp:nvSpPr>
      <dsp:spPr>
        <a:xfrm>
          <a:off x="4164737" y="1701422"/>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Network Security Groups on subnets or virtual machines</a:t>
          </a:r>
        </a:p>
      </dsp:txBody>
      <dsp:txXfrm>
        <a:off x="4164737" y="1701422"/>
        <a:ext cx="1214886" cy="728932"/>
      </dsp:txXfrm>
    </dsp:sp>
    <dsp:sp modelId="{CA8F25AB-98B8-44B3-9FC1-F21D971D1881}">
      <dsp:nvSpPr>
        <dsp:cNvPr id="0" name=""/>
        <dsp:cNvSpPr/>
      </dsp:nvSpPr>
      <dsp:spPr>
        <a:xfrm>
          <a:off x="155610" y="2551843"/>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strict access through Internet facing endpoint</a:t>
          </a:r>
        </a:p>
      </dsp:txBody>
      <dsp:txXfrm>
        <a:off x="155610" y="2551843"/>
        <a:ext cx="1214886" cy="728932"/>
      </dsp:txXfrm>
    </dsp:sp>
    <dsp:sp modelId="{CD344EC9-0E27-4D67-87D3-D35266AAC5ED}">
      <dsp:nvSpPr>
        <dsp:cNvPr id="0" name=""/>
        <dsp:cNvSpPr/>
      </dsp:nvSpPr>
      <dsp:spPr>
        <a:xfrm>
          <a:off x="1491986" y="2551843"/>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servers</a:t>
          </a:r>
        </a:p>
      </dsp:txBody>
      <dsp:txXfrm>
        <a:off x="1491986" y="2551843"/>
        <a:ext cx="1214886" cy="728932"/>
      </dsp:txXfrm>
    </dsp:sp>
    <dsp:sp modelId="{A7215453-12BF-4121-AA53-479F3205BD28}">
      <dsp:nvSpPr>
        <dsp:cNvPr id="0" name=""/>
        <dsp:cNvSpPr/>
      </dsp:nvSpPr>
      <dsp:spPr>
        <a:xfrm>
          <a:off x="2828361" y="2551843"/>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auditing and threat detection on SQL databases</a:t>
          </a:r>
        </a:p>
      </dsp:txBody>
      <dsp:txXfrm>
        <a:off x="2828361" y="2551843"/>
        <a:ext cx="1214886" cy="728932"/>
      </dsp:txXfrm>
    </dsp:sp>
    <dsp:sp modelId="{4A8B55CB-9A23-4CE2-BD5F-54DB1337AD38}">
      <dsp:nvSpPr>
        <dsp:cNvPr id="0" name=""/>
        <dsp:cNvSpPr/>
      </dsp:nvSpPr>
      <dsp:spPr>
        <a:xfrm>
          <a:off x="4164737" y="2551843"/>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Transparent Data Encryption on SQL databases</a:t>
          </a:r>
        </a:p>
      </dsp:txBody>
      <dsp:txXfrm>
        <a:off x="4164737" y="2551843"/>
        <a:ext cx="1214886" cy="728932"/>
      </dsp:txXfrm>
    </dsp:sp>
    <dsp:sp modelId="{8AF9124B-9262-4840-8D26-0E52FFC12786}">
      <dsp:nvSpPr>
        <dsp:cNvPr id="0" name=""/>
        <dsp:cNvSpPr/>
      </dsp:nvSpPr>
      <dsp:spPr>
        <a:xfrm>
          <a:off x="155610" y="340226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VM Agent</a:t>
          </a:r>
        </a:p>
      </dsp:txBody>
      <dsp:txXfrm>
        <a:off x="155610" y="3402264"/>
        <a:ext cx="1214886" cy="728932"/>
      </dsp:txXfrm>
    </dsp:sp>
    <dsp:sp modelId="{A547AC15-40F5-4255-AD61-E291A6618465}">
      <dsp:nvSpPr>
        <dsp:cNvPr id="0" name=""/>
        <dsp:cNvSpPr/>
      </dsp:nvSpPr>
      <dsp:spPr>
        <a:xfrm>
          <a:off x="1491986" y="340226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pply disk encryption</a:t>
          </a:r>
        </a:p>
      </dsp:txBody>
      <dsp:txXfrm>
        <a:off x="1491986" y="3402264"/>
        <a:ext cx="1214886" cy="728932"/>
      </dsp:txXfrm>
    </dsp:sp>
    <dsp:sp modelId="{18547B21-B553-4768-88A8-D57CE3405A9A}">
      <dsp:nvSpPr>
        <dsp:cNvPr id="0" name=""/>
        <dsp:cNvSpPr/>
      </dsp:nvSpPr>
      <dsp:spPr>
        <a:xfrm>
          <a:off x="2828361" y="3402264"/>
          <a:ext cx="1214886" cy="728932"/>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vide security contact details</a:t>
          </a:r>
        </a:p>
      </dsp:txBody>
      <dsp:txXfrm>
        <a:off x="2828361" y="3402264"/>
        <a:ext cx="1214886" cy="728932"/>
      </dsp:txXfrm>
    </dsp:sp>
    <dsp:sp modelId="{54AA26A7-EF6F-4758-82EE-C2D852DE1D92}">
      <dsp:nvSpPr>
        <dsp:cNvPr id="0" name=""/>
        <dsp:cNvSpPr/>
      </dsp:nvSpPr>
      <dsp:spPr>
        <a:xfrm>
          <a:off x="4164737" y="3402264"/>
          <a:ext cx="1214886" cy="728932"/>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Update OS version</a:t>
          </a:r>
        </a:p>
      </dsp:txBody>
      <dsp:txXfrm>
        <a:off x="4164737" y="3402264"/>
        <a:ext cx="1214886" cy="728932"/>
      </dsp:txXfrm>
    </dsp:sp>
    <dsp:sp modelId="{CF398DCF-BADD-4138-B73C-03B2E55F12E3}">
      <dsp:nvSpPr>
        <dsp:cNvPr id="0" name=""/>
        <dsp:cNvSpPr/>
      </dsp:nvSpPr>
      <dsp:spPr>
        <a:xfrm>
          <a:off x="823798" y="4252684"/>
          <a:ext cx="1214886" cy="728932"/>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Vulnerability assessment not installed</a:t>
          </a:r>
        </a:p>
      </dsp:txBody>
      <dsp:txXfrm>
        <a:off x="823798" y="4252684"/>
        <a:ext cx="1214886" cy="728932"/>
      </dsp:txXfrm>
    </dsp:sp>
    <dsp:sp modelId="{146B313C-C2A0-43B6-910F-95BE7F0A6539}">
      <dsp:nvSpPr>
        <dsp:cNvPr id="0" name=""/>
        <dsp:cNvSpPr/>
      </dsp:nvSpPr>
      <dsp:spPr>
        <a:xfrm>
          <a:off x="2160174" y="4252684"/>
          <a:ext cx="1214886" cy="728932"/>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mediate vulnerabilities</a:t>
          </a:r>
        </a:p>
      </dsp:txBody>
      <dsp:txXfrm>
        <a:off x="2160174" y="4252684"/>
        <a:ext cx="1214886" cy="728932"/>
      </dsp:txXfrm>
    </dsp:sp>
    <dsp:sp modelId="{FF66D753-54FA-4F7A-88B7-DC3AEB0FB0D1}">
      <dsp:nvSpPr>
        <dsp:cNvPr id="0" name=""/>
        <dsp:cNvSpPr/>
      </dsp:nvSpPr>
      <dsp:spPr>
        <a:xfrm>
          <a:off x="3496549" y="4252684"/>
          <a:ext cx="1214886" cy="728932"/>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Enable encryption for Azure Storage Account</a:t>
          </a:r>
        </a:p>
      </dsp:txBody>
      <dsp:txXfrm>
        <a:off x="3496549" y="4252684"/>
        <a:ext cx="1214886" cy="72893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BAC0-33F6-4CBE-B0E4-02B5814E532B}">
      <dsp:nvSpPr>
        <dsp:cNvPr id="0" name=""/>
        <dsp:cNvSpPr/>
      </dsp:nvSpPr>
      <dsp:spPr>
        <a:xfrm>
          <a:off x="764939" y="237"/>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end Micro</a:t>
          </a:r>
        </a:p>
      </dsp:txBody>
      <dsp:txXfrm>
        <a:off x="764939" y="237"/>
        <a:ext cx="1462698" cy="877619"/>
      </dsp:txXfrm>
    </dsp:sp>
    <dsp:sp modelId="{9119FA99-A6AF-4099-82A7-8C24B70FE159}">
      <dsp:nvSpPr>
        <dsp:cNvPr id="0" name=""/>
        <dsp:cNvSpPr/>
      </dsp:nvSpPr>
      <dsp:spPr>
        <a:xfrm>
          <a:off x="2373907" y="237"/>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icrosoft Antimalware</a:t>
          </a:r>
        </a:p>
      </dsp:txBody>
      <dsp:txXfrm>
        <a:off x="2373907" y="237"/>
        <a:ext cx="1462698" cy="877619"/>
      </dsp:txXfrm>
    </dsp:sp>
    <dsp:sp modelId="{E89BC89C-0D75-4278-AD22-D5E8A1CA0E81}">
      <dsp:nvSpPr>
        <dsp:cNvPr id="0" name=""/>
        <dsp:cNvSpPr/>
      </dsp:nvSpPr>
      <dsp:spPr>
        <a:xfrm>
          <a:off x="764939" y="1024126"/>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arracuda</a:t>
          </a:r>
        </a:p>
      </dsp:txBody>
      <dsp:txXfrm>
        <a:off x="764939" y="1024126"/>
        <a:ext cx="1462698" cy="877619"/>
      </dsp:txXfrm>
    </dsp:sp>
    <dsp:sp modelId="{B9B1A806-33F0-4B71-8AE0-95D91255503F}">
      <dsp:nvSpPr>
        <dsp:cNvPr id="0" name=""/>
        <dsp:cNvSpPr/>
      </dsp:nvSpPr>
      <dsp:spPr>
        <a:xfrm>
          <a:off x="2373907" y="1024126"/>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5</a:t>
          </a:r>
        </a:p>
      </dsp:txBody>
      <dsp:txXfrm>
        <a:off x="2373907" y="1024126"/>
        <a:ext cx="1462698" cy="877619"/>
      </dsp:txXfrm>
    </dsp:sp>
    <dsp:sp modelId="{325B5309-D9A0-4459-8AF4-F7C707F63A75}">
      <dsp:nvSpPr>
        <dsp:cNvPr id="0" name=""/>
        <dsp:cNvSpPr/>
      </dsp:nvSpPr>
      <dsp:spPr>
        <a:xfrm>
          <a:off x="764939" y="2048015"/>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mperva</a:t>
          </a:r>
        </a:p>
      </dsp:txBody>
      <dsp:txXfrm>
        <a:off x="764939" y="2048015"/>
        <a:ext cx="1462698" cy="877619"/>
      </dsp:txXfrm>
    </dsp:sp>
    <dsp:sp modelId="{0B5F9948-5798-4BC7-92CF-0412F27FE112}">
      <dsp:nvSpPr>
        <dsp:cNvPr id="0" name=""/>
        <dsp:cNvSpPr/>
      </dsp:nvSpPr>
      <dsp:spPr>
        <a:xfrm>
          <a:off x="2373907" y="2048015"/>
          <a:ext cx="1462698" cy="87761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ortinet</a:t>
          </a:r>
        </a:p>
      </dsp:txBody>
      <dsp:txXfrm>
        <a:off x="2373907" y="2048015"/>
        <a:ext cx="1462698" cy="877619"/>
      </dsp:txXfrm>
    </dsp:sp>
    <dsp:sp modelId="{84A975DF-2915-452A-AC07-BC45C466D9B2}">
      <dsp:nvSpPr>
        <dsp:cNvPr id="0" name=""/>
        <dsp:cNvSpPr/>
      </dsp:nvSpPr>
      <dsp:spPr>
        <a:xfrm>
          <a:off x="764939" y="3071904"/>
          <a:ext cx="1462698" cy="877619"/>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Application Gateway</a:t>
          </a:r>
        </a:p>
      </dsp:txBody>
      <dsp:txXfrm>
        <a:off x="764939" y="3071904"/>
        <a:ext cx="1462698" cy="877619"/>
      </dsp:txXfrm>
    </dsp:sp>
    <dsp:sp modelId="{19248172-6157-497B-BA70-FA56FE6BF3C5}">
      <dsp:nvSpPr>
        <dsp:cNvPr id="0" name=""/>
        <dsp:cNvSpPr/>
      </dsp:nvSpPr>
      <dsp:spPr>
        <a:xfrm>
          <a:off x="2373907" y="3071904"/>
          <a:ext cx="1462698" cy="877619"/>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eck Point</a:t>
          </a:r>
        </a:p>
      </dsp:txBody>
      <dsp:txXfrm>
        <a:off x="2373907" y="3071904"/>
        <a:ext cx="1462698" cy="877619"/>
      </dsp:txXfrm>
    </dsp:sp>
    <dsp:sp modelId="{6D183435-34CF-4B12-9DA8-2F47FE0D5A58}">
      <dsp:nvSpPr>
        <dsp:cNvPr id="0" name=""/>
        <dsp:cNvSpPr/>
      </dsp:nvSpPr>
      <dsp:spPr>
        <a:xfrm>
          <a:off x="764939" y="4095793"/>
          <a:ext cx="1462698" cy="877619"/>
        </a:xfrm>
        <a:prstGeom prst="rect">
          <a:avLst/>
        </a:prstGeom>
        <a:solidFill>
          <a:schemeClr val="accent5">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isco</a:t>
          </a:r>
        </a:p>
      </dsp:txBody>
      <dsp:txXfrm>
        <a:off x="764939" y="4095793"/>
        <a:ext cx="1462698" cy="877619"/>
      </dsp:txXfrm>
    </dsp:sp>
    <dsp:sp modelId="{9AEA98C7-4090-4C05-97E1-03FBA897BDD3}">
      <dsp:nvSpPr>
        <dsp:cNvPr id="0" name=""/>
        <dsp:cNvSpPr/>
      </dsp:nvSpPr>
      <dsp:spPr>
        <a:xfrm>
          <a:off x="2373907" y="4095793"/>
          <a:ext cx="1462698" cy="877619"/>
        </a:xfrm>
        <a:prstGeom prst="rect">
          <a:avLst/>
        </a:prstGeom>
        <a:solidFill>
          <a:schemeClr val="accent6">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Qualys</a:t>
          </a:r>
        </a:p>
      </dsp:txBody>
      <dsp:txXfrm>
        <a:off x="2373907" y="4095793"/>
        <a:ext cx="1462698" cy="87761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urn off non-prod VMs during off hour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elete expired resources</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onitor connections and integrations</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spond to monitoring alerts</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roduce compliance reports</a:t>
          </a:r>
        </a:p>
      </dsp:txBody>
      <dsp:txXfrm>
        <a:off x="416224" y="4123030"/>
        <a:ext cx="1471411" cy="88284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416224" y="3079"/>
          <a:ext cx="1471411" cy="882846"/>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zure Services</a:t>
          </a:r>
        </a:p>
      </dsp:txBody>
      <dsp:txXfrm>
        <a:off x="416224" y="3079"/>
        <a:ext cx="1471411" cy="882846"/>
      </dsp:txXfrm>
    </dsp:sp>
    <dsp:sp modelId="{DBCD4A4B-4A7B-4F56-939C-CC772B5E474C}">
      <dsp:nvSpPr>
        <dsp:cNvPr id="0" name=""/>
        <dsp:cNvSpPr/>
      </dsp:nvSpPr>
      <dsp:spPr>
        <a:xfrm>
          <a:off x="416224" y="1033067"/>
          <a:ext cx="1471411" cy="882846"/>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ffice 365</a:t>
          </a:r>
        </a:p>
      </dsp:txBody>
      <dsp:txXfrm>
        <a:off x="416224" y="1033067"/>
        <a:ext cx="1471411" cy="882846"/>
      </dsp:txXfrm>
    </dsp:sp>
    <dsp:sp modelId="{24F7414B-96AC-4156-B5A9-E9256EE3A38B}">
      <dsp:nvSpPr>
        <dsp:cNvPr id="0" name=""/>
        <dsp:cNvSpPr/>
      </dsp:nvSpPr>
      <dsp:spPr>
        <a:xfrm>
          <a:off x="416224" y="2063055"/>
          <a:ext cx="1471411" cy="882846"/>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AP</a:t>
          </a:r>
        </a:p>
      </dsp:txBody>
      <dsp:txXfrm>
        <a:off x="416224" y="2063055"/>
        <a:ext cx="1471411" cy="882846"/>
      </dsp:txXfrm>
    </dsp:sp>
    <dsp:sp modelId="{CACC16B1-C980-478D-81B9-9497B45E3E3C}">
      <dsp:nvSpPr>
        <dsp:cNvPr id="0" name=""/>
        <dsp:cNvSpPr/>
      </dsp:nvSpPr>
      <dsp:spPr>
        <a:xfrm>
          <a:off x="416224" y="3093042"/>
          <a:ext cx="1471411" cy="882846"/>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alesforce</a:t>
          </a:r>
        </a:p>
      </dsp:txBody>
      <dsp:txXfrm>
        <a:off x="416224" y="3093042"/>
        <a:ext cx="1471411" cy="882846"/>
      </dsp:txXfrm>
    </dsp:sp>
    <dsp:sp modelId="{2125485D-B99F-4AE6-820E-13A0D61AC020}">
      <dsp:nvSpPr>
        <dsp:cNvPr id="0" name=""/>
        <dsp:cNvSpPr/>
      </dsp:nvSpPr>
      <dsp:spPr>
        <a:xfrm>
          <a:off x="416224" y="4123030"/>
          <a:ext cx="1471411" cy="882846"/>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racle</a:t>
          </a:r>
        </a:p>
      </dsp:txBody>
      <dsp:txXfrm>
        <a:off x="416224" y="4123030"/>
        <a:ext cx="1471411" cy="88284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7856ED-AB73-4EE1-857C-4EEC4FA498F4}">
      <dsp:nvSpPr>
        <dsp:cNvPr id="0" name=""/>
        <dsp:cNvSpPr/>
      </dsp:nvSpPr>
      <dsp:spPr>
        <a:xfrm>
          <a:off x="0"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a:t>
          </a:r>
        </a:p>
      </dsp:txBody>
      <dsp:txXfrm>
        <a:off x="0" y="216397"/>
        <a:ext cx="1303733" cy="782240"/>
      </dsp:txXfrm>
    </dsp:sp>
    <dsp:sp modelId="{D1210EBF-2B00-460B-B4E2-490A4C6D26AA}">
      <dsp:nvSpPr>
        <dsp:cNvPr id="0" name=""/>
        <dsp:cNvSpPr/>
      </dsp:nvSpPr>
      <dsp:spPr>
        <a:xfrm>
          <a:off x="1434107"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2</a:t>
          </a:r>
        </a:p>
      </dsp:txBody>
      <dsp:txXfrm>
        <a:off x="1434107" y="216397"/>
        <a:ext cx="1303733" cy="782240"/>
      </dsp:txXfrm>
    </dsp:sp>
    <dsp:sp modelId="{B67C0479-8C7F-4B4C-8067-B717794BE932}">
      <dsp:nvSpPr>
        <dsp:cNvPr id="0" name=""/>
        <dsp:cNvSpPr/>
      </dsp:nvSpPr>
      <dsp:spPr>
        <a:xfrm>
          <a:off x="2868214" y="216397"/>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3</a:t>
          </a:r>
        </a:p>
      </dsp:txBody>
      <dsp:txXfrm>
        <a:off x="2868214" y="216397"/>
        <a:ext cx="1303733" cy="782240"/>
      </dsp:txXfrm>
    </dsp:sp>
    <dsp:sp modelId="{5CFA7A53-1FC3-4001-BAC8-0FD6651493D7}">
      <dsp:nvSpPr>
        <dsp:cNvPr id="0" name=""/>
        <dsp:cNvSpPr/>
      </dsp:nvSpPr>
      <dsp:spPr>
        <a:xfrm>
          <a:off x="0"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4</a:t>
          </a:r>
        </a:p>
      </dsp:txBody>
      <dsp:txXfrm>
        <a:off x="0" y="1129011"/>
        <a:ext cx="1303733" cy="782240"/>
      </dsp:txXfrm>
    </dsp:sp>
    <dsp:sp modelId="{EF6E218F-F4A3-4901-9314-DE3069B4EE3C}">
      <dsp:nvSpPr>
        <dsp:cNvPr id="0" name=""/>
        <dsp:cNvSpPr/>
      </dsp:nvSpPr>
      <dsp:spPr>
        <a:xfrm>
          <a:off x="1434107"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5</a:t>
          </a:r>
        </a:p>
      </dsp:txBody>
      <dsp:txXfrm>
        <a:off x="1434107" y="1129011"/>
        <a:ext cx="1303733" cy="782240"/>
      </dsp:txXfrm>
    </dsp:sp>
    <dsp:sp modelId="{D238A3FF-A2F3-45FE-8D52-5D6133D83A72}">
      <dsp:nvSpPr>
        <dsp:cNvPr id="0" name=""/>
        <dsp:cNvSpPr/>
      </dsp:nvSpPr>
      <dsp:spPr>
        <a:xfrm>
          <a:off x="2868214" y="1129011"/>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6</a:t>
          </a:r>
        </a:p>
      </dsp:txBody>
      <dsp:txXfrm>
        <a:off x="2868214" y="1129011"/>
        <a:ext cx="1303733" cy="782240"/>
      </dsp:txXfrm>
    </dsp:sp>
    <dsp:sp modelId="{59BEE0CF-B99C-4BDE-9B3F-9DB41B8AF34E}">
      <dsp:nvSpPr>
        <dsp:cNvPr id="0" name=""/>
        <dsp:cNvSpPr/>
      </dsp:nvSpPr>
      <dsp:spPr>
        <a:xfrm>
          <a:off x="0"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7</a:t>
          </a:r>
        </a:p>
      </dsp:txBody>
      <dsp:txXfrm>
        <a:off x="0" y="2041625"/>
        <a:ext cx="1303733" cy="782240"/>
      </dsp:txXfrm>
    </dsp:sp>
    <dsp:sp modelId="{01F77A6F-A8C8-43B9-9623-EA0577125C93}">
      <dsp:nvSpPr>
        <dsp:cNvPr id="0" name=""/>
        <dsp:cNvSpPr/>
      </dsp:nvSpPr>
      <dsp:spPr>
        <a:xfrm>
          <a:off x="1434107"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8</a:t>
          </a:r>
        </a:p>
      </dsp:txBody>
      <dsp:txXfrm>
        <a:off x="1434107" y="2041625"/>
        <a:ext cx="1303733" cy="782240"/>
      </dsp:txXfrm>
    </dsp:sp>
    <dsp:sp modelId="{47543818-EF56-4B84-AD43-D66CA858D03A}">
      <dsp:nvSpPr>
        <dsp:cNvPr id="0" name=""/>
        <dsp:cNvSpPr/>
      </dsp:nvSpPr>
      <dsp:spPr>
        <a:xfrm>
          <a:off x="2868214" y="2041625"/>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9</a:t>
          </a:r>
        </a:p>
      </dsp:txBody>
      <dsp:txXfrm>
        <a:off x="2868214" y="2041625"/>
        <a:ext cx="1303733" cy="782240"/>
      </dsp:txXfrm>
    </dsp:sp>
    <dsp:sp modelId="{3E0834CC-50A1-4261-BDFD-604545D3A895}">
      <dsp:nvSpPr>
        <dsp:cNvPr id="0" name=""/>
        <dsp:cNvSpPr/>
      </dsp:nvSpPr>
      <dsp:spPr>
        <a:xfrm>
          <a:off x="1434107" y="2954238"/>
          <a:ext cx="1303733" cy="78224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UD 10</a:t>
          </a:r>
        </a:p>
      </dsp:txBody>
      <dsp:txXfrm>
        <a:off x="1434107" y="2954238"/>
        <a:ext cx="1303733" cy="78224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08889" y="2664"/>
          <a:ext cx="1471655" cy="882993"/>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usage characteristics</a:t>
          </a:r>
        </a:p>
      </dsp:txBody>
      <dsp:txXfrm>
        <a:off x="108889" y="2664"/>
        <a:ext cx="1471655" cy="882993"/>
      </dsp:txXfrm>
    </dsp:sp>
    <dsp:sp modelId="{85D84BEA-0AC9-40C8-A195-E3B126B28A09}">
      <dsp:nvSpPr>
        <dsp:cNvPr id="0" name=""/>
        <dsp:cNvSpPr/>
      </dsp:nvSpPr>
      <dsp:spPr>
        <a:xfrm>
          <a:off x="108889" y="1032823"/>
          <a:ext cx="1471655" cy="882993"/>
        </a:xfrm>
        <a:prstGeom prst="rect">
          <a:avLst/>
        </a:prstGeom>
        <a:solidFill>
          <a:schemeClr val="accent4">
            <a:hueOff val="-1433764"/>
            <a:satOff val="11842"/>
            <a:lumOff val="-2941"/>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pecific user activity</a:t>
          </a:r>
        </a:p>
      </dsp:txBody>
      <dsp:txXfrm>
        <a:off x="108889" y="1032823"/>
        <a:ext cx="1471655" cy="882993"/>
      </dsp:txXfrm>
    </dsp:sp>
    <dsp:sp modelId="{DBCD4A4B-4A7B-4F56-939C-CC772B5E474C}">
      <dsp:nvSpPr>
        <dsp:cNvPr id="0" name=""/>
        <dsp:cNvSpPr/>
      </dsp:nvSpPr>
      <dsp:spPr>
        <a:xfrm>
          <a:off x="108889" y="2062981"/>
          <a:ext cx="1471655" cy="882993"/>
        </a:xfrm>
        <a:prstGeom prst="rect">
          <a:avLst/>
        </a:prstGeom>
        <a:solidFill>
          <a:schemeClr val="accent4">
            <a:hueOff val="-2867528"/>
            <a:satOff val="23684"/>
            <a:lumOff val="-588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ervice errors and deployment failures</a:t>
          </a:r>
        </a:p>
      </dsp:txBody>
      <dsp:txXfrm>
        <a:off x="108889" y="2062981"/>
        <a:ext cx="1471655" cy="882993"/>
      </dsp:txXfrm>
    </dsp:sp>
    <dsp:sp modelId="{24F7414B-96AC-4156-B5A9-E9256EE3A38B}">
      <dsp:nvSpPr>
        <dsp:cNvPr id="0" name=""/>
        <dsp:cNvSpPr/>
      </dsp:nvSpPr>
      <dsp:spPr>
        <a:xfrm>
          <a:off x="108889" y="3093140"/>
          <a:ext cx="1471655" cy="882993"/>
        </a:xfrm>
        <a:prstGeom prst="rect">
          <a:avLst/>
        </a:prstGeom>
        <a:solidFill>
          <a:schemeClr val="accent4">
            <a:hueOff val="-4301292"/>
            <a:satOff val="35525"/>
            <a:lumOff val="-8824"/>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Newly created resource instances</a:t>
          </a:r>
        </a:p>
      </dsp:txBody>
      <dsp:txXfrm>
        <a:off x="108889" y="3093140"/>
        <a:ext cx="1471655" cy="882993"/>
      </dsp:txXfrm>
    </dsp:sp>
    <dsp:sp modelId="{CACC16B1-C980-478D-81B9-9497B45E3E3C}">
      <dsp:nvSpPr>
        <dsp:cNvPr id="0" name=""/>
        <dsp:cNvSpPr/>
      </dsp:nvSpPr>
      <dsp:spPr>
        <a:xfrm>
          <a:off x="108889" y="4123299"/>
          <a:ext cx="1471655" cy="882993"/>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ustom audit events</a:t>
          </a:r>
        </a:p>
      </dsp:txBody>
      <dsp:txXfrm>
        <a:off x="108889" y="4123299"/>
        <a:ext cx="1471655" cy="88299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73023"/>
          <a:ext cx="4489359"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Communication</a:t>
          </a:r>
        </a:p>
      </dsp:txBody>
      <dsp:txXfrm>
        <a:off x="28900" y="101923"/>
        <a:ext cx="4431559" cy="534220"/>
      </dsp:txXfrm>
    </dsp:sp>
    <dsp:sp modelId="{C507344E-9998-4274-8F33-5D72D645D895}">
      <dsp:nvSpPr>
        <dsp:cNvPr id="0" name=""/>
        <dsp:cNvSpPr/>
      </dsp:nvSpPr>
      <dsp:spPr>
        <a:xfrm>
          <a:off x="0" y="665043"/>
          <a:ext cx="4489359" cy="1571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537"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Management Server </a:t>
          </a:r>
          <a:r>
            <a:rPr lang="en-US" sz="1800" kern="1200" dirty="0">
              <a:sym typeface="Wingdings" panose="05000000000000000000" pitchFamily="2" charset="2"/>
            </a:rPr>
            <a:t></a:t>
          </a:r>
          <a:r>
            <a:rPr lang="en-US" sz="1800" kern="1200" dirty="0"/>
            <a:t> Log Analytics web service</a:t>
          </a:r>
        </a:p>
        <a:p>
          <a:pPr marL="171450" lvl="1" indent="-171450" algn="l" defTabSz="800100">
            <a:lnSpc>
              <a:spcPct val="90000"/>
            </a:lnSpc>
            <a:spcBef>
              <a:spcPct val="0"/>
            </a:spcBef>
            <a:spcAft>
              <a:spcPct val="20000"/>
            </a:spcAft>
            <a:buChar char="•"/>
          </a:pPr>
          <a:r>
            <a:rPr lang="en-US" sz="1800" kern="1200" dirty="0"/>
            <a:t>Agents –Log Analytics web services</a:t>
          </a:r>
        </a:p>
        <a:p>
          <a:pPr marL="171450" lvl="1" indent="-171450" algn="l" defTabSz="800100">
            <a:lnSpc>
              <a:spcPct val="90000"/>
            </a:lnSpc>
            <a:spcBef>
              <a:spcPct val="0"/>
            </a:spcBef>
            <a:spcAft>
              <a:spcPct val="20000"/>
            </a:spcAft>
            <a:buChar char="•"/>
          </a:pPr>
          <a:r>
            <a:rPr lang="en-US" sz="1800" kern="1200" dirty="0"/>
            <a:t>OMS Gateway service </a:t>
          </a:r>
          <a:r>
            <a:rPr lang="en-US" sz="1800" kern="1200" dirty="0">
              <a:sym typeface="Wingdings" panose="05000000000000000000" pitchFamily="2" charset="2"/>
            </a:rPr>
            <a:t> Log Analytics web services</a:t>
          </a:r>
          <a:endParaRPr lang="en-US" sz="1800" kern="1200" dirty="0"/>
        </a:p>
      </dsp:txBody>
      <dsp:txXfrm>
        <a:off x="0" y="665043"/>
        <a:ext cx="4489359" cy="1571130"/>
      </dsp:txXfrm>
    </dsp:sp>
    <dsp:sp modelId="{C89AE3DB-F856-45A2-AACD-1749D0A31957}">
      <dsp:nvSpPr>
        <dsp:cNvPr id="0" name=""/>
        <dsp:cNvSpPr/>
      </dsp:nvSpPr>
      <dsp:spPr>
        <a:xfrm>
          <a:off x="0" y="2236173"/>
          <a:ext cx="4489359" cy="59202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Benefits</a:t>
          </a:r>
        </a:p>
      </dsp:txBody>
      <dsp:txXfrm>
        <a:off x="28900" y="2265073"/>
        <a:ext cx="4431559" cy="534220"/>
      </dsp:txXfrm>
    </dsp:sp>
    <dsp:sp modelId="{1F7FEF9A-DB3A-4DEA-B615-A12D30231C59}">
      <dsp:nvSpPr>
        <dsp:cNvPr id="0" name=""/>
        <dsp:cNvSpPr/>
      </dsp:nvSpPr>
      <dsp:spPr>
        <a:xfrm>
          <a:off x="0" y="2828193"/>
          <a:ext cx="4489359" cy="266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537"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ontinue monitoring the health of your IT services with Operations Manager</a:t>
          </a:r>
        </a:p>
        <a:p>
          <a:pPr marL="171450" lvl="1" indent="-171450" algn="l" defTabSz="800100">
            <a:lnSpc>
              <a:spcPct val="90000"/>
            </a:lnSpc>
            <a:spcBef>
              <a:spcPct val="0"/>
            </a:spcBef>
            <a:spcAft>
              <a:spcPct val="20000"/>
            </a:spcAft>
            <a:buChar char="•"/>
          </a:pPr>
          <a:r>
            <a:rPr lang="en-US" sz="1800" kern="1200" dirty="0"/>
            <a:t>Maintain integration with your ITSM solutions supporting incident and problem management</a:t>
          </a:r>
        </a:p>
        <a:p>
          <a:pPr marL="171450" lvl="1" indent="-171450" algn="l" defTabSz="800100">
            <a:lnSpc>
              <a:spcPct val="90000"/>
            </a:lnSpc>
            <a:spcBef>
              <a:spcPct val="0"/>
            </a:spcBef>
            <a:spcAft>
              <a:spcPct val="20000"/>
            </a:spcAft>
            <a:buChar char="•"/>
          </a:pPr>
          <a:r>
            <a:rPr lang="en-US" sz="1800" kern="1200" dirty="0"/>
            <a:t>Manage the lifecycle of agents deployed to on-premises and public cloud IaaS virtual machines that you monitor with Operations Manager</a:t>
          </a:r>
        </a:p>
      </dsp:txBody>
      <dsp:txXfrm>
        <a:off x="0" y="2828193"/>
        <a:ext cx="4489359" cy="2666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A1FC9E-DE61-4851-A9C2-3392D8BC748C}">
      <dsp:nvSpPr>
        <dsp:cNvPr id="0" name=""/>
        <dsp:cNvSpPr/>
      </dsp:nvSpPr>
      <dsp:spPr>
        <a:xfrm>
          <a:off x="487415" y="182063"/>
          <a:ext cx="1995542" cy="623606"/>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239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AUTOMATION</a:t>
          </a:r>
        </a:p>
        <a:p>
          <a:pPr marL="57150" lvl="1" indent="-57150" algn="l" defTabSz="400050">
            <a:lnSpc>
              <a:spcPct val="90000"/>
            </a:lnSpc>
            <a:spcBef>
              <a:spcPct val="0"/>
            </a:spcBef>
            <a:spcAft>
              <a:spcPct val="15000"/>
            </a:spcAft>
            <a:buChar char="•"/>
          </a:pPr>
          <a:r>
            <a:rPr lang="en-US" sz="900" kern="1200" dirty="0"/>
            <a:t>Standardize recurring tasks</a:t>
          </a:r>
        </a:p>
        <a:p>
          <a:pPr marL="57150" lvl="1" indent="-57150" algn="l" defTabSz="400050">
            <a:lnSpc>
              <a:spcPct val="90000"/>
            </a:lnSpc>
            <a:spcBef>
              <a:spcPct val="0"/>
            </a:spcBef>
            <a:spcAft>
              <a:spcPct val="15000"/>
            </a:spcAft>
            <a:buChar char="•"/>
          </a:pPr>
          <a:r>
            <a:rPr lang="en-US" sz="900" kern="1200" dirty="0"/>
            <a:t>Automate remediation</a:t>
          </a:r>
        </a:p>
      </dsp:txBody>
      <dsp:txXfrm>
        <a:off x="487415" y="182063"/>
        <a:ext cx="1995542" cy="623606"/>
      </dsp:txXfrm>
    </dsp:sp>
    <dsp:sp modelId="{0BB77135-2D39-4711-9F35-B992675CC2F3}">
      <dsp:nvSpPr>
        <dsp:cNvPr id="0" name=""/>
        <dsp:cNvSpPr/>
      </dsp:nvSpPr>
      <dsp:spPr>
        <a:xfrm>
          <a:off x="404267" y="91986"/>
          <a:ext cx="436524" cy="65478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D75976F8-1086-4F1A-900A-57FC9584D112}">
      <dsp:nvSpPr>
        <dsp:cNvPr id="0" name=""/>
        <dsp:cNvSpPr/>
      </dsp:nvSpPr>
      <dsp:spPr>
        <a:xfrm>
          <a:off x="2640257" y="182231"/>
          <a:ext cx="1994282" cy="623213"/>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2123"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POLICIES</a:t>
          </a:r>
          <a:endParaRPr lang="en-US" sz="1100" kern="1200" dirty="0"/>
        </a:p>
        <a:p>
          <a:pPr marL="57150" lvl="1" indent="-57150" algn="l" defTabSz="400050">
            <a:lnSpc>
              <a:spcPct val="90000"/>
            </a:lnSpc>
            <a:spcBef>
              <a:spcPct val="0"/>
            </a:spcBef>
            <a:spcAft>
              <a:spcPct val="15000"/>
            </a:spcAft>
            <a:buChar char="•"/>
          </a:pPr>
          <a:r>
            <a:rPr lang="en-US" sz="900" kern="1200" dirty="0"/>
            <a:t>Usage compliance</a:t>
          </a:r>
        </a:p>
        <a:p>
          <a:pPr marL="57150" lvl="1" indent="-57150" algn="l" defTabSz="400050">
            <a:lnSpc>
              <a:spcPct val="90000"/>
            </a:lnSpc>
            <a:spcBef>
              <a:spcPct val="0"/>
            </a:spcBef>
            <a:spcAft>
              <a:spcPct val="15000"/>
            </a:spcAft>
            <a:buChar char="•"/>
          </a:pPr>
          <a:r>
            <a:rPr lang="en-US" sz="900" kern="1200" dirty="0"/>
            <a:t>Enforce standards</a:t>
          </a:r>
        </a:p>
      </dsp:txBody>
      <dsp:txXfrm>
        <a:off x="2640257" y="182231"/>
        <a:ext cx="1994282" cy="623213"/>
      </dsp:txXfrm>
    </dsp:sp>
    <dsp:sp modelId="{72AF72E3-62BC-4E33-A63A-710D4053AC72}">
      <dsp:nvSpPr>
        <dsp:cNvPr id="0" name=""/>
        <dsp:cNvSpPr/>
      </dsp:nvSpPr>
      <dsp:spPr>
        <a:xfrm>
          <a:off x="2557162" y="92212"/>
          <a:ext cx="436249" cy="65437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3000" b="-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D0653848-2DFA-4227-8681-1C98702C2621}">
      <dsp:nvSpPr>
        <dsp:cNvPr id="0" name=""/>
        <dsp:cNvSpPr/>
      </dsp:nvSpPr>
      <dsp:spPr>
        <a:xfrm>
          <a:off x="4791525"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6"/>
              </a:solidFill>
            </a:rPr>
            <a:t>ROLE</a:t>
          </a:r>
          <a:r>
            <a:rPr lang="en-US" sz="1100" b="1" kern="1200"/>
            <a:t> </a:t>
          </a:r>
          <a:r>
            <a:rPr lang="en-US" sz="1100" b="1" kern="1200" dirty="0">
              <a:solidFill>
                <a:schemeClr val="accent6"/>
              </a:solidFill>
            </a:rPr>
            <a:t>BASED</a:t>
          </a:r>
          <a:r>
            <a:rPr lang="en-US" sz="1100" b="1" kern="1200" dirty="0"/>
            <a:t> </a:t>
          </a:r>
          <a:r>
            <a:rPr lang="en-US" sz="1100" b="1" kern="1200" dirty="0">
              <a:solidFill>
                <a:schemeClr val="accent6"/>
              </a:solidFill>
            </a:rPr>
            <a:t>ACCESS</a:t>
          </a:r>
          <a:endParaRPr lang="en-US" sz="1100" kern="1200" dirty="0"/>
        </a:p>
        <a:p>
          <a:pPr marL="57150" lvl="1" indent="-57150" algn="l" defTabSz="400050">
            <a:lnSpc>
              <a:spcPct val="90000"/>
            </a:lnSpc>
            <a:spcBef>
              <a:spcPct val="0"/>
            </a:spcBef>
            <a:spcAft>
              <a:spcPct val="15000"/>
            </a:spcAft>
            <a:buChar char="•"/>
          </a:pPr>
          <a:r>
            <a:rPr lang="en-US" sz="900" kern="1200" dirty="0"/>
            <a:t>Management groups</a:t>
          </a:r>
        </a:p>
        <a:p>
          <a:pPr marL="57150" lvl="1" indent="-57150" algn="l" defTabSz="400050">
            <a:lnSpc>
              <a:spcPct val="90000"/>
            </a:lnSpc>
            <a:spcBef>
              <a:spcPct val="0"/>
            </a:spcBef>
            <a:spcAft>
              <a:spcPct val="15000"/>
            </a:spcAft>
            <a:buChar char="•"/>
          </a:pPr>
          <a:r>
            <a:rPr lang="en-US" sz="900" kern="1200" dirty="0"/>
            <a:t>Security roles</a:t>
          </a:r>
        </a:p>
      </dsp:txBody>
      <dsp:txXfrm>
        <a:off x="4791525" y="183241"/>
        <a:ext cx="1986726" cy="620852"/>
      </dsp:txXfrm>
    </dsp:sp>
    <dsp:sp modelId="{C72BF44E-DE3F-46BB-A5BC-4D035D01521C}">
      <dsp:nvSpPr>
        <dsp:cNvPr id="0" name=""/>
        <dsp:cNvSpPr/>
      </dsp:nvSpPr>
      <dsp:spPr>
        <a:xfrm>
          <a:off x="4708745" y="93563"/>
          <a:ext cx="434596" cy="65189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768402D9-13BA-4290-AD76-295184E8FFB2}">
      <dsp:nvSpPr>
        <dsp:cNvPr id="0" name=""/>
        <dsp:cNvSpPr/>
      </dsp:nvSpPr>
      <dsp:spPr>
        <a:xfrm>
          <a:off x="6935237"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COST MANAGEMENT</a:t>
          </a:r>
          <a:endParaRPr lang="en-US" sz="1100" kern="1200" dirty="0"/>
        </a:p>
        <a:p>
          <a:pPr marL="57150" lvl="1" indent="-57150" algn="l" defTabSz="400050">
            <a:lnSpc>
              <a:spcPct val="90000"/>
            </a:lnSpc>
            <a:spcBef>
              <a:spcPct val="0"/>
            </a:spcBef>
            <a:spcAft>
              <a:spcPct val="15000"/>
            </a:spcAft>
            <a:buChar char="•"/>
          </a:pPr>
          <a:r>
            <a:rPr lang="en-US" sz="900" kern="1200" dirty="0"/>
            <a:t>Estimates, tags reports</a:t>
          </a:r>
        </a:p>
        <a:p>
          <a:pPr marL="57150" lvl="1" indent="-57150" algn="l" defTabSz="400050">
            <a:lnSpc>
              <a:spcPct val="90000"/>
            </a:lnSpc>
            <a:spcBef>
              <a:spcPct val="0"/>
            </a:spcBef>
            <a:spcAft>
              <a:spcPct val="15000"/>
            </a:spcAft>
            <a:buChar char="•"/>
          </a:pPr>
          <a:r>
            <a:rPr lang="en-US" sz="900" kern="1200" dirty="0"/>
            <a:t>Budgets, chargebacks</a:t>
          </a:r>
        </a:p>
      </dsp:txBody>
      <dsp:txXfrm>
        <a:off x="6935237" y="183241"/>
        <a:ext cx="1986726" cy="620852"/>
      </dsp:txXfrm>
    </dsp:sp>
    <dsp:sp modelId="{5A6EB298-7892-450F-9D20-9F935A24AD1A}">
      <dsp:nvSpPr>
        <dsp:cNvPr id="0" name=""/>
        <dsp:cNvSpPr/>
      </dsp:nvSpPr>
      <dsp:spPr>
        <a:xfrm>
          <a:off x="6852457" y="93563"/>
          <a:ext cx="434596" cy="651894"/>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8000" b="-8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803ADF45-B2E5-49C4-8FC5-4EBBDCC26FE5}">
      <dsp:nvSpPr>
        <dsp:cNvPr id="0" name=""/>
        <dsp:cNvSpPr/>
      </dsp:nvSpPr>
      <dsp:spPr>
        <a:xfrm>
          <a:off x="9078949" y="183241"/>
          <a:ext cx="1986726" cy="620852"/>
        </a:xfrm>
        <a:prstGeom prst="rect">
          <a:avLst/>
        </a:prstGeom>
        <a:solidFill>
          <a:schemeClr val="accent6">
            <a:alpha val="40000"/>
            <a:tint val="40000"/>
            <a:hueOff val="0"/>
            <a:satOff val="0"/>
            <a:lumOff val="0"/>
            <a:alphaOff val="0"/>
          </a:schemeClr>
        </a:solidFill>
        <a:ln w="9525" cap="flat" cmpd="sng" algn="ctr">
          <a:solidFill>
            <a:schemeClr val="accent6">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0524"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6"/>
              </a:solidFill>
            </a:rPr>
            <a:t>SUBSCRIPTIONS</a:t>
          </a:r>
          <a:endParaRPr lang="en-US" sz="1100" kern="1200" dirty="0"/>
        </a:p>
        <a:p>
          <a:pPr marL="57150" lvl="1" indent="-57150" algn="l" defTabSz="400050">
            <a:lnSpc>
              <a:spcPct val="90000"/>
            </a:lnSpc>
            <a:spcBef>
              <a:spcPct val="0"/>
            </a:spcBef>
            <a:spcAft>
              <a:spcPct val="15000"/>
            </a:spcAft>
            <a:buChar char="•"/>
          </a:pPr>
          <a:r>
            <a:rPr lang="en-US" sz="900" kern="1200" dirty="0"/>
            <a:t>Security boundary</a:t>
          </a:r>
        </a:p>
        <a:p>
          <a:pPr marL="57150" lvl="1" indent="-57150" algn="l" defTabSz="400050">
            <a:lnSpc>
              <a:spcPct val="90000"/>
            </a:lnSpc>
            <a:spcBef>
              <a:spcPct val="0"/>
            </a:spcBef>
            <a:spcAft>
              <a:spcPct val="15000"/>
            </a:spcAft>
            <a:buChar char="•"/>
          </a:pPr>
          <a:r>
            <a:rPr lang="en-US" sz="900" kern="1200" dirty="0"/>
            <a:t>Billing boundary</a:t>
          </a:r>
        </a:p>
      </dsp:txBody>
      <dsp:txXfrm>
        <a:off x="9078949" y="183241"/>
        <a:ext cx="1986726" cy="620852"/>
      </dsp:txXfrm>
    </dsp:sp>
    <dsp:sp modelId="{CE3339C4-69F8-406B-AB07-90D139BA368A}">
      <dsp:nvSpPr>
        <dsp:cNvPr id="0" name=""/>
        <dsp:cNvSpPr/>
      </dsp:nvSpPr>
      <dsp:spPr>
        <a:xfrm>
          <a:off x="8996169" y="93563"/>
          <a:ext cx="434596" cy="651894"/>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F3721-C6A4-45F7-826A-34556E54A0E9}">
      <dsp:nvSpPr>
        <dsp:cNvPr id="0" name=""/>
        <dsp:cNvSpPr/>
      </dsp:nvSpPr>
      <dsp:spPr>
        <a:xfrm>
          <a:off x="694"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Full Upgrade</a:t>
          </a:r>
        </a:p>
      </dsp:txBody>
      <dsp:txXfrm>
        <a:off x="694" y="0"/>
        <a:ext cx="1805137" cy="1372552"/>
      </dsp:txXfrm>
    </dsp:sp>
    <dsp:sp modelId="{CD41C1FD-B8FF-483C-B0DE-1003AF5850CA}">
      <dsp:nvSpPr>
        <dsp:cNvPr id="0" name=""/>
        <dsp:cNvSpPr/>
      </dsp:nvSpPr>
      <dsp:spPr>
        <a:xfrm>
          <a:off x="181208"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VM reboot</a:t>
          </a:r>
        </a:p>
      </dsp:txBody>
      <dsp:txXfrm>
        <a:off x="207534" y="1399269"/>
        <a:ext cx="1391457" cy="846186"/>
      </dsp:txXfrm>
    </dsp:sp>
    <dsp:sp modelId="{2FD42510-8A9E-496C-BA7B-9280463E8CFD}">
      <dsp:nvSpPr>
        <dsp:cNvPr id="0" name=""/>
        <dsp:cNvSpPr/>
      </dsp:nvSpPr>
      <dsp:spPr>
        <a:xfrm>
          <a:off x="181208"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Applied UD by UD</a:t>
          </a:r>
        </a:p>
      </dsp:txBody>
      <dsp:txXfrm>
        <a:off x="207534" y="2436390"/>
        <a:ext cx="1391457" cy="846186"/>
      </dsp:txXfrm>
    </dsp:sp>
    <dsp:sp modelId="{7EE327B3-46F9-4E0C-AC1F-721D30BCFA05}">
      <dsp:nvSpPr>
        <dsp:cNvPr id="0" name=""/>
        <dsp:cNvSpPr/>
      </dsp:nvSpPr>
      <dsp:spPr>
        <a:xfrm>
          <a:off x="181208"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Once every 12-16 months</a:t>
          </a:r>
        </a:p>
      </dsp:txBody>
      <dsp:txXfrm>
        <a:off x="207534" y="3473511"/>
        <a:ext cx="1391457" cy="846186"/>
      </dsp:txXfrm>
    </dsp:sp>
    <dsp:sp modelId="{2B480D17-C69C-4240-95F4-CEF156BF8F62}">
      <dsp:nvSpPr>
        <dsp:cNvPr id="0" name=""/>
        <dsp:cNvSpPr/>
      </dsp:nvSpPr>
      <dsp:spPr>
        <a:xfrm>
          <a:off x="1941216"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ive Migration</a:t>
          </a:r>
        </a:p>
      </dsp:txBody>
      <dsp:txXfrm>
        <a:off x="1941216" y="0"/>
        <a:ext cx="1805137" cy="1372552"/>
      </dsp:txXfrm>
    </dsp:sp>
    <dsp:sp modelId="{91763898-CBA6-4E60-B927-5C619B11C296}">
      <dsp:nvSpPr>
        <dsp:cNvPr id="0" name=""/>
        <dsp:cNvSpPr/>
      </dsp:nvSpPr>
      <dsp:spPr>
        <a:xfrm>
          <a:off x="2121730" y="1372943"/>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Default update technique</a:t>
          </a:r>
        </a:p>
      </dsp:txBody>
      <dsp:txXfrm>
        <a:off x="2148056" y="1399269"/>
        <a:ext cx="1391457" cy="846186"/>
      </dsp:txXfrm>
    </dsp:sp>
    <dsp:sp modelId="{FF46F9E0-13D0-4E4F-8E27-0E77A28B3DAD}">
      <dsp:nvSpPr>
        <dsp:cNvPr id="0" name=""/>
        <dsp:cNvSpPr/>
      </dsp:nvSpPr>
      <dsp:spPr>
        <a:xfrm>
          <a:off x="2121730" y="2410064"/>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lt; 30 sec VM pause</a:t>
          </a:r>
        </a:p>
      </dsp:txBody>
      <dsp:txXfrm>
        <a:off x="2148056" y="2436390"/>
        <a:ext cx="1391457" cy="846186"/>
      </dsp:txXfrm>
    </dsp:sp>
    <dsp:sp modelId="{D230E04C-9498-4862-BD9A-A7E54A4F0B43}">
      <dsp:nvSpPr>
        <dsp:cNvPr id="0" name=""/>
        <dsp:cNvSpPr/>
      </dsp:nvSpPr>
      <dsp:spPr>
        <a:xfrm>
          <a:off x="2121730" y="3447185"/>
          <a:ext cx="1444109" cy="898838"/>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Preserves disk content</a:t>
          </a:r>
        </a:p>
      </dsp:txBody>
      <dsp:txXfrm>
        <a:off x="2148056" y="3473511"/>
        <a:ext cx="1391457" cy="846186"/>
      </dsp:txXfrm>
    </dsp:sp>
    <dsp:sp modelId="{08678190-E232-43A4-A62B-9A6D257A956F}">
      <dsp:nvSpPr>
        <dsp:cNvPr id="0" name=""/>
        <dsp:cNvSpPr/>
      </dsp:nvSpPr>
      <dsp:spPr>
        <a:xfrm>
          <a:off x="3881739" y="0"/>
          <a:ext cx="1805137" cy="4575174"/>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On-Demand Maintenance</a:t>
          </a:r>
        </a:p>
      </dsp:txBody>
      <dsp:txXfrm>
        <a:off x="3881739" y="0"/>
        <a:ext cx="1805137" cy="1372552"/>
      </dsp:txXfrm>
    </dsp:sp>
    <dsp:sp modelId="{297B12D9-F5FC-4EB8-B70A-BB18FFB4A7A0}">
      <dsp:nvSpPr>
        <dsp:cNvPr id="0" name=""/>
        <dsp:cNvSpPr/>
      </dsp:nvSpPr>
      <dsp:spPr>
        <a:xfrm>
          <a:off x="4062253" y="1373892"/>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30 day advanced notice</a:t>
          </a:r>
        </a:p>
      </dsp:txBody>
      <dsp:txXfrm>
        <a:off x="4102657" y="1414296"/>
        <a:ext cx="1363301" cy="1298669"/>
      </dsp:txXfrm>
    </dsp:sp>
    <dsp:sp modelId="{EF61CF9D-901D-4BD3-BB6B-8430C7A288B1}">
      <dsp:nvSpPr>
        <dsp:cNvPr id="0" name=""/>
        <dsp:cNvSpPr/>
      </dsp:nvSpPr>
      <dsp:spPr>
        <a:xfrm>
          <a:off x="4062253" y="2965597"/>
          <a:ext cx="1444109" cy="1379477"/>
        </a:xfrm>
        <a:prstGeom prst="roundRect">
          <a:avLst>
            <a:gd name="adj" fmla="val 10000"/>
          </a:avLst>
        </a:prstGeom>
        <a:solidFill>
          <a:schemeClr val="lt1">
            <a:hueOff val="0"/>
            <a:satOff val="0"/>
            <a:lumOff val="0"/>
            <a:alphaOff val="0"/>
          </a:schemeClr>
        </a:solidFill>
        <a:ln w="17145" cap="flat" cmpd="sng" algn="ctr">
          <a:solidFill>
            <a:schemeClr val="accent6">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3180" tIns="32385" rIns="43180" bIns="32385" numCol="1" spcCol="1270" anchor="ctr" anchorCtr="0">
          <a:noAutofit/>
        </a:bodyPr>
        <a:lstStyle/>
        <a:p>
          <a:pPr marL="0" lvl="0" indent="0" algn="ctr" defTabSz="755650">
            <a:lnSpc>
              <a:spcPct val="90000"/>
            </a:lnSpc>
            <a:spcBef>
              <a:spcPct val="0"/>
            </a:spcBef>
            <a:spcAft>
              <a:spcPct val="35000"/>
            </a:spcAft>
            <a:buNone/>
          </a:pPr>
          <a:r>
            <a:rPr lang="en-US" sz="1700" kern="1200" dirty="0"/>
            <a:t>Customer initiated window</a:t>
          </a:r>
        </a:p>
      </dsp:txBody>
      <dsp:txXfrm>
        <a:off x="4102657" y="3006001"/>
        <a:ext cx="1363301" cy="129866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8B888E-AD92-4160-B86A-5D24DD1CDF39}">
      <dsp:nvSpPr>
        <dsp:cNvPr id="0" name=""/>
        <dsp:cNvSpPr/>
      </dsp:nvSpPr>
      <dsp:spPr>
        <a:xfrm>
          <a:off x="2569421" y="0"/>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a:t>Predicted hardware failure</a:t>
          </a:r>
        </a:p>
        <a:p>
          <a:pPr marL="114300" lvl="1" indent="-114300" algn="l" defTabSz="666750">
            <a:lnSpc>
              <a:spcPct val="90000"/>
            </a:lnSpc>
            <a:spcBef>
              <a:spcPct val="0"/>
            </a:spcBef>
            <a:spcAft>
              <a:spcPct val="15000"/>
            </a:spcAft>
            <a:buChar char="•"/>
          </a:pPr>
          <a:r>
            <a:rPr lang="en-US" sz="1500" kern="1200"/>
            <a:t>Always uses </a:t>
          </a:r>
          <a:r>
            <a:rPr lang="en-US" sz="1500" b="1" kern="1200"/>
            <a:t>Live Migration</a:t>
          </a:r>
          <a:endParaRPr lang="en-US" sz="1500" b="1" kern="1200" dirty="0"/>
        </a:p>
        <a:p>
          <a:pPr marL="114300" lvl="1" indent="-114300" algn="l" defTabSz="666750">
            <a:lnSpc>
              <a:spcPct val="90000"/>
            </a:lnSpc>
            <a:spcBef>
              <a:spcPct val="0"/>
            </a:spcBef>
            <a:spcAft>
              <a:spcPct val="15000"/>
            </a:spcAft>
            <a:buChar char="•"/>
          </a:pPr>
          <a:r>
            <a:rPr lang="en-US" sz="1500" kern="1200" dirty="0"/>
            <a:t>No advanced notice</a:t>
          </a:r>
        </a:p>
      </dsp:txBody>
      <dsp:txXfrm>
        <a:off x="2569421" y="178711"/>
        <a:ext cx="3318001" cy="1072264"/>
      </dsp:txXfrm>
    </dsp:sp>
    <dsp:sp modelId="{92031184-3915-417B-A4F3-AA7663BABFDD}">
      <dsp:nvSpPr>
        <dsp:cNvPr id="0" name=""/>
        <dsp:cNvSpPr/>
      </dsp:nvSpPr>
      <dsp:spPr>
        <a:xfrm>
          <a:off x="0" y="0"/>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Unplanned Maintenance</a:t>
          </a:r>
        </a:p>
      </dsp:txBody>
      <dsp:txXfrm>
        <a:off x="69792" y="69792"/>
        <a:ext cx="2429838" cy="1290102"/>
      </dsp:txXfrm>
    </dsp:sp>
    <dsp:sp modelId="{82C30E31-2E66-47A6-91FF-1D479DD6B7A3}">
      <dsp:nvSpPr>
        <dsp:cNvPr id="0" name=""/>
        <dsp:cNvSpPr/>
      </dsp:nvSpPr>
      <dsp:spPr>
        <a:xfrm>
          <a:off x="2569421" y="1572655"/>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Automatic VM healing to new host</a:t>
          </a:r>
        </a:p>
        <a:p>
          <a:pPr marL="114300" lvl="1" indent="-114300" algn="l" defTabSz="666750">
            <a:lnSpc>
              <a:spcPct val="90000"/>
            </a:lnSpc>
            <a:spcBef>
              <a:spcPct val="0"/>
            </a:spcBef>
            <a:spcAft>
              <a:spcPct val="15000"/>
            </a:spcAft>
            <a:buChar char="•"/>
          </a:pPr>
          <a:r>
            <a:rPr lang="en-US" sz="1500" kern="1200"/>
            <a:t>Requires </a:t>
          </a:r>
          <a:r>
            <a:rPr lang="en-US" sz="1500" b="1" kern="1200"/>
            <a:t>Full Upgrade</a:t>
          </a:r>
          <a:endParaRPr lang="en-US" sz="1500" b="1" kern="1200" dirty="0"/>
        </a:p>
      </dsp:txBody>
      <dsp:txXfrm>
        <a:off x="2569421" y="1751366"/>
        <a:ext cx="3318001" cy="1072264"/>
      </dsp:txXfrm>
    </dsp:sp>
    <dsp:sp modelId="{923D836F-5AD3-4853-8499-B1989DFC8053}">
      <dsp:nvSpPr>
        <dsp:cNvPr id="0" name=""/>
        <dsp:cNvSpPr/>
      </dsp:nvSpPr>
      <dsp:spPr>
        <a:xfrm>
          <a:off x="0" y="1572655"/>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Failure Event</a:t>
          </a:r>
        </a:p>
      </dsp:txBody>
      <dsp:txXfrm>
        <a:off x="69792" y="1642447"/>
        <a:ext cx="2429838" cy="1290102"/>
      </dsp:txXfrm>
    </dsp:sp>
    <dsp:sp modelId="{F43757A8-9EE1-4414-9CD3-1CAD211E28D6}">
      <dsp:nvSpPr>
        <dsp:cNvPr id="0" name=""/>
        <dsp:cNvSpPr/>
      </dsp:nvSpPr>
      <dsp:spPr>
        <a:xfrm>
          <a:off x="2569421" y="3145311"/>
          <a:ext cx="3854133" cy="1429686"/>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0" bIns="952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Regularly executes patches using </a:t>
          </a:r>
          <a:r>
            <a:rPr lang="en-US" sz="1500" b="1" kern="1200" dirty="0"/>
            <a:t>Live Migration</a:t>
          </a:r>
        </a:p>
        <a:p>
          <a:pPr marL="114300" lvl="1" indent="-114300" algn="l" defTabSz="666750">
            <a:lnSpc>
              <a:spcPct val="90000"/>
            </a:lnSpc>
            <a:spcBef>
              <a:spcPct val="0"/>
            </a:spcBef>
            <a:spcAft>
              <a:spcPct val="15000"/>
            </a:spcAft>
            <a:buChar char="•"/>
          </a:pPr>
          <a:r>
            <a:rPr lang="en-US" sz="1500" kern="1200"/>
            <a:t>Major updates require </a:t>
          </a:r>
          <a:r>
            <a:rPr lang="en-US" sz="1500" b="1" kern="1200"/>
            <a:t>Full Upgrade</a:t>
          </a:r>
          <a:endParaRPr lang="en-US" sz="1500" b="1" kern="1200" dirty="0"/>
        </a:p>
        <a:p>
          <a:pPr marL="114300" lvl="1" indent="-114300" algn="l" defTabSz="666750">
            <a:lnSpc>
              <a:spcPct val="90000"/>
            </a:lnSpc>
            <a:spcBef>
              <a:spcPct val="0"/>
            </a:spcBef>
            <a:spcAft>
              <a:spcPct val="15000"/>
            </a:spcAft>
            <a:buChar char="•"/>
          </a:pPr>
          <a:r>
            <a:rPr lang="en-US" sz="1500" kern="1200"/>
            <a:t>Offers </a:t>
          </a:r>
          <a:r>
            <a:rPr lang="en-US" sz="1500" b="1" kern="1200"/>
            <a:t>On-Demand Maintenance</a:t>
          </a:r>
          <a:endParaRPr lang="en-US" sz="1500" b="1" kern="1200" dirty="0"/>
        </a:p>
      </dsp:txBody>
      <dsp:txXfrm>
        <a:off x="2569421" y="3324022"/>
        <a:ext cx="3318001" cy="1072264"/>
      </dsp:txXfrm>
    </dsp:sp>
    <dsp:sp modelId="{11EE3DD8-1598-47A9-8D51-B7F797719497}">
      <dsp:nvSpPr>
        <dsp:cNvPr id="0" name=""/>
        <dsp:cNvSpPr/>
      </dsp:nvSpPr>
      <dsp:spPr>
        <a:xfrm>
          <a:off x="0" y="3145311"/>
          <a:ext cx="2569422" cy="142968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Planned Maintenance</a:t>
          </a:r>
        </a:p>
      </dsp:txBody>
      <dsp:txXfrm>
        <a:off x="69792" y="3215103"/>
        <a:ext cx="2429838" cy="12901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AAA680-B383-4656-8C93-44C4737A339D}">
      <dsp:nvSpPr>
        <dsp:cNvPr id="0" name=""/>
        <dsp:cNvSpPr/>
      </dsp:nvSpPr>
      <dsp:spPr>
        <a:xfrm>
          <a:off x="637008" y="343457"/>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ADVISOR</a:t>
          </a:r>
        </a:p>
        <a:p>
          <a:pPr marL="57150" lvl="1" indent="-57150" algn="l" defTabSz="400050">
            <a:lnSpc>
              <a:spcPct val="90000"/>
            </a:lnSpc>
            <a:spcBef>
              <a:spcPct val="0"/>
            </a:spcBef>
            <a:spcAft>
              <a:spcPct val="15000"/>
            </a:spcAft>
            <a:buChar char="•"/>
          </a:pPr>
          <a:r>
            <a:rPr lang="en-US" sz="900" kern="1200" dirty="0"/>
            <a:t>Monitor good practices</a:t>
          </a:r>
        </a:p>
        <a:p>
          <a:pPr marL="57150" lvl="1" indent="-57150" algn="l" defTabSz="400050">
            <a:lnSpc>
              <a:spcPct val="90000"/>
            </a:lnSpc>
            <a:spcBef>
              <a:spcPct val="0"/>
            </a:spcBef>
            <a:spcAft>
              <a:spcPct val="15000"/>
            </a:spcAft>
            <a:buChar char="•"/>
          </a:pPr>
          <a:r>
            <a:rPr lang="en-US" sz="900" kern="1200" dirty="0"/>
            <a:t>Security, cost, performance</a:t>
          </a:r>
        </a:p>
      </dsp:txBody>
      <dsp:txXfrm>
        <a:off x="637008" y="343457"/>
        <a:ext cx="2040850" cy="637765"/>
      </dsp:txXfrm>
    </dsp:sp>
    <dsp:sp modelId="{F20D35F3-7A14-445E-A385-795B572C4F60}">
      <dsp:nvSpPr>
        <dsp:cNvPr id="0" name=""/>
        <dsp:cNvSpPr/>
      </dsp:nvSpPr>
      <dsp:spPr>
        <a:xfrm>
          <a:off x="551973" y="251336"/>
          <a:ext cx="446435" cy="66965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1B23234D-C620-49E9-A28C-77C56C47CACA}">
      <dsp:nvSpPr>
        <dsp:cNvPr id="0" name=""/>
        <dsp:cNvSpPr/>
      </dsp:nvSpPr>
      <dsp:spPr>
        <a:xfrm>
          <a:off x="637008" y="1146333"/>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MONITOR</a:t>
          </a:r>
          <a:endParaRPr lang="en-US" sz="1100" kern="1200" dirty="0"/>
        </a:p>
        <a:p>
          <a:pPr marL="57150" lvl="1" indent="-57150" algn="l" defTabSz="400050">
            <a:lnSpc>
              <a:spcPct val="90000"/>
            </a:lnSpc>
            <a:spcBef>
              <a:spcPct val="0"/>
            </a:spcBef>
            <a:spcAft>
              <a:spcPct val="15000"/>
            </a:spcAft>
            <a:buChar char="•"/>
          </a:pPr>
          <a:r>
            <a:rPr lang="en-US" sz="900" kern="1200" dirty="0"/>
            <a:t>Alert management</a:t>
          </a:r>
        </a:p>
        <a:p>
          <a:pPr marL="57150" lvl="1" indent="-57150" algn="l" defTabSz="400050">
            <a:lnSpc>
              <a:spcPct val="90000"/>
            </a:lnSpc>
            <a:spcBef>
              <a:spcPct val="0"/>
            </a:spcBef>
            <a:spcAft>
              <a:spcPct val="15000"/>
            </a:spcAft>
            <a:buChar char="•"/>
          </a:pPr>
          <a:r>
            <a:rPr lang="en-US" sz="900" kern="1200" dirty="0" err="1"/>
            <a:t>Autoscale</a:t>
          </a:r>
          <a:r>
            <a:rPr lang="en-US" sz="900" kern="1200" dirty="0"/>
            <a:t>, audit management</a:t>
          </a:r>
        </a:p>
      </dsp:txBody>
      <dsp:txXfrm>
        <a:off x="637008" y="1146333"/>
        <a:ext cx="2040850" cy="637765"/>
      </dsp:txXfrm>
    </dsp:sp>
    <dsp:sp modelId="{AAD82981-8106-449A-BB2D-766B16179B93}">
      <dsp:nvSpPr>
        <dsp:cNvPr id="0" name=""/>
        <dsp:cNvSpPr/>
      </dsp:nvSpPr>
      <dsp:spPr>
        <a:xfrm>
          <a:off x="551973" y="1054212"/>
          <a:ext cx="446435" cy="66965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B9D17107-D205-4EB0-83D6-EA1B647D1285}">
      <dsp:nvSpPr>
        <dsp:cNvPr id="0" name=""/>
        <dsp:cNvSpPr/>
      </dsp:nvSpPr>
      <dsp:spPr>
        <a:xfrm>
          <a:off x="637008" y="1949210"/>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a:solidFill>
                <a:schemeClr val="accent3"/>
              </a:solidFill>
            </a:rPr>
            <a:t>SECURITY </a:t>
          </a:r>
          <a:r>
            <a:rPr lang="en-US" sz="1100" b="1" kern="1200" dirty="0">
              <a:solidFill>
                <a:schemeClr val="accent3"/>
              </a:solidFill>
            </a:rPr>
            <a:t>CENTER</a:t>
          </a:r>
          <a:endParaRPr lang="en-US" sz="1100" kern="1200" dirty="0"/>
        </a:p>
        <a:p>
          <a:pPr marL="57150" lvl="1" indent="-57150" algn="l" defTabSz="400050">
            <a:lnSpc>
              <a:spcPct val="90000"/>
            </a:lnSpc>
            <a:spcBef>
              <a:spcPct val="0"/>
            </a:spcBef>
            <a:spcAft>
              <a:spcPct val="15000"/>
            </a:spcAft>
            <a:buChar char="•"/>
          </a:pPr>
          <a:r>
            <a:rPr lang="en-US" sz="900" kern="1200" dirty="0"/>
            <a:t>Threat intelligence reporting</a:t>
          </a:r>
        </a:p>
        <a:p>
          <a:pPr marL="57150" lvl="1" indent="-57150" algn="l" defTabSz="400050">
            <a:lnSpc>
              <a:spcPct val="90000"/>
            </a:lnSpc>
            <a:spcBef>
              <a:spcPct val="0"/>
            </a:spcBef>
            <a:spcAft>
              <a:spcPct val="15000"/>
            </a:spcAft>
            <a:buChar char="•"/>
          </a:pPr>
          <a:r>
            <a:rPr lang="en-US" sz="900" kern="1200" dirty="0"/>
            <a:t>Security policy compliance</a:t>
          </a:r>
        </a:p>
      </dsp:txBody>
      <dsp:txXfrm>
        <a:off x="637008" y="1949210"/>
        <a:ext cx="2040850" cy="637765"/>
      </dsp:txXfrm>
    </dsp:sp>
    <dsp:sp modelId="{BD8C0EC6-044B-4019-9121-C3EE844FBD15}">
      <dsp:nvSpPr>
        <dsp:cNvPr id="0" name=""/>
        <dsp:cNvSpPr/>
      </dsp:nvSpPr>
      <dsp:spPr>
        <a:xfrm>
          <a:off x="551973" y="1857088"/>
          <a:ext cx="446435" cy="669653"/>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6000" b="-1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8B1426B-3E92-4AFE-9BC3-EFD78C5290BD}">
      <dsp:nvSpPr>
        <dsp:cNvPr id="0" name=""/>
        <dsp:cNvSpPr/>
      </dsp:nvSpPr>
      <dsp:spPr>
        <a:xfrm>
          <a:off x="637008" y="2752086"/>
          <a:ext cx="2040850" cy="637765"/>
        </a:xfrm>
        <a:prstGeom prst="rect">
          <a:avLst/>
        </a:prstGeom>
        <a:solidFill>
          <a:schemeClr val="accent3">
            <a:alpha val="4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31980"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3"/>
              </a:solidFill>
            </a:rPr>
            <a:t>LOG ANALYTICS</a:t>
          </a:r>
          <a:endParaRPr lang="en-US" sz="1100" kern="1200" dirty="0"/>
        </a:p>
        <a:p>
          <a:pPr marL="57150" lvl="1" indent="-57150" algn="l" defTabSz="400050">
            <a:lnSpc>
              <a:spcPct val="90000"/>
            </a:lnSpc>
            <a:spcBef>
              <a:spcPct val="0"/>
            </a:spcBef>
            <a:spcAft>
              <a:spcPct val="15000"/>
            </a:spcAft>
            <a:buChar char="•"/>
          </a:pPr>
          <a:r>
            <a:rPr lang="en-US" sz="900" kern="1200" dirty="0"/>
            <a:t>Log aggregation and search</a:t>
          </a:r>
        </a:p>
        <a:p>
          <a:pPr marL="57150" lvl="1" indent="-57150" algn="l" defTabSz="400050">
            <a:lnSpc>
              <a:spcPct val="90000"/>
            </a:lnSpc>
            <a:spcBef>
              <a:spcPct val="0"/>
            </a:spcBef>
            <a:spcAft>
              <a:spcPct val="15000"/>
            </a:spcAft>
            <a:buChar char="•"/>
          </a:pPr>
          <a:r>
            <a:rPr lang="en-US" sz="900" kern="1200" dirty="0"/>
            <a:t>Customizable dashboards</a:t>
          </a:r>
        </a:p>
      </dsp:txBody>
      <dsp:txXfrm>
        <a:off x="637008" y="2752086"/>
        <a:ext cx="2040850" cy="637765"/>
      </dsp:txXfrm>
    </dsp:sp>
    <dsp:sp modelId="{B0017A79-B35A-491D-88CF-17F6E80BAFA1}">
      <dsp:nvSpPr>
        <dsp:cNvPr id="0" name=""/>
        <dsp:cNvSpPr/>
      </dsp:nvSpPr>
      <dsp:spPr>
        <a:xfrm>
          <a:off x="551973" y="2659964"/>
          <a:ext cx="446435" cy="669653"/>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9F018E-E6ED-4AEF-A216-43BDABDA4CE5}">
      <dsp:nvSpPr>
        <dsp:cNvPr id="0" name=""/>
        <dsp:cNvSpPr/>
      </dsp:nvSpPr>
      <dsp:spPr>
        <a:xfrm>
          <a:off x="581170" y="355537"/>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AZURE</a:t>
          </a:r>
          <a:r>
            <a:rPr lang="en-US" sz="1100" b="1" kern="1200" dirty="0"/>
            <a:t> </a:t>
          </a:r>
          <a:r>
            <a:rPr lang="en-US" sz="1100" b="1" kern="1200" dirty="0">
              <a:solidFill>
                <a:schemeClr val="accent4"/>
              </a:solidFill>
            </a:rPr>
            <a:t>AD</a:t>
          </a:r>
        </a:p>
        <a:p>
          <a:pPr marL="57150" lvl="1" indent="-57150" algn="l" defTabSz="400050">
            <a:lnSpc>
              <a:spcPct val="90000"/>
            </a:lnSpc>
            <a:spcBef>
              <a:spcPct val="0"/>
            </a:spcBef>
            <a:spcAft>
              <a:spcPct val="15000"/>
            </a:spcAft>
            <a:buChar char="•"/>
          </a:pPr>
          <a:r>
            <a:rPr lang="en-US" sz="900" kern="1200" dirty="0"/>
            <a:t>Multi-factor authentication</a:t>
          </a:r>
        </a:p>
        <a:p>
          <a:pPr marL="57150" lvl="1" indent="-57150" algn="l" defTabSz="400050">
            <a:lnSpc>
              <a:spcPct val="90000"/>
            </a:lnSpc>
            <a:spcBef>
              <a:spcPct val="0"/>
            </a:spcBef>
            <a:spcAft>
              <a:spcPct val="15000"/>
            </a:spcAft>
            <a:buChar char="•"/>
          </a:pPr>
          <a:r>
            <a:rPr lang="en-US" sz="900" kern="1200" dirty="0"/>
            <a:t>Identity Protection</a:t>
          </a:r>
        </a:p>
      </dsp:txBody>
      <dsp:txXfrm>
        <a:off x="581170" y="355537"/>
        <a:ext cx="2024160" cy="632550"/>
      </dsp:txXfrm>
    </dsp:sp>
    <dsp:sp modelId="{15555A21-9339-48F1-B1F3-614EC8C55730}">
      <dsp:nvSpPr>
        <dsp:cNvPr id="0" name=""/>
        <dsp:cNvSpPr/>
      </dsp:nvSpPr>
      <dsp:spPr>
        <a:xfrm>
          <a:off x="496830" y="264169"/>
          <a:ext cx="442785" cy="664177"/>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1DC82DCE-A333-40F9-A3B6-C31B5CE18DA5}">
      <dsp:nvSpPr>
        <dsp:cNvPr id="0" name=""/>
        <dsp:cNvSpPr/>
      </dsp:nvSpPr>
      <dsp:spPr>
        <a:xfrm>
          <a:off x="581170" y="115184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KEY</a:t>
          </a:r>
          <a:r>
            <a:rPr lang="en-US" sz="1100" b="1" kern="1200" dirty="0"/>
            <a:t> </a:t>
          </a:r>
          <a:r>
            <a:rPr lang="en-US" sz="1100" b="1" kern="1200" dirty="0">
              <a:solidFill>
                <a:schemeClr val="accent4"/>
              </a:solidFill>
            </a:rPr>
            <a:t>VAULT</a:t>
          </a:r>
        </a:p>
        <a:p>
          <a:pPr marL="57150" lvl="1" indent="-57150" algn="l" defTabSz="400050">
            <a:lnSpc>
              <a:spcPct val="90000"/>
            </a:lnSpc>
            <a:spcBef>
              <a:spcPct val="0"/>
            </a:spcBef>
            <a:spcAft>
              <a:spcPct val="15000"/>
            </a:spcAft>
            <a:buChar char="•"/>
          </a:pPr>
          <a:r>
            <a:rPr lang="en-US" sz="900" kern="1200" dirty="0"/>
            <a:t>Data encryption</a:t>
          </a:r>
        </a:p>
        <a:p>
          <a:pPr marL="57150" lvl="1" indent="-57150" algn="l" defTabSz="400050">
            <a:lnSpc>
              <a:spcPct val="90000"/>
            </a:lnSpc>
            <a:spcBef>
              <a:spcPct val="0"/>
            </a:spcBef>
            <a:spcAft>
              <a:spcPct val="15000"/>
            </a:spcAft>
            <a:buChar char="•"/>
          </a:pPr>
          <a:r>
            <a:rPr lang="en-US" sz="900" kern="1200" dirty="0"/>
            <a:t>Key/password management</a:t>
          </a:r>
        </a:p>
      </dsp:txBody>
      <dsp:txXfrm>
        <a:off x="581170" y="1151848"/>
        <a:ext cx="2024160" cy="632550"/>
      </dsp:txXfrm>
    </dsp:sp>
    <dsp:sp modelId="{B581502C-22A5-4861-89E2-7388E2D0C988}">
      <dsp:nvSpPr>
        <dsp:cNvPr id="0" name=""/>
        <dsp:cNvSpPr/>
      </dsp:nvSpPr>
      <dsp:spPr>
        <a:xfrm>
          <a:off x="496830" y="1060479"/>
          <a:ext cx="442785" cy="664177"/>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63CEF91B-3F6C-4D7E-AC34-1B2895DC9D13}">
      <dsp:nvSpPr>
        <dsp:cNvPr id="0" name=""/>
        <dsp:cNvSpPr/>
      </dsp:nvSpPr>
      <dsp:spPr>
        <a:xfrm>
          <a:off x="581170" y="194815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BACKUP</a:t>
          </a:r>
        </a:p>
        <a:p>
          <a:pPr marL="57150" lvl="1" indent="-57150" algn="l" defTabSz="400050">
            <a:lnSpc>
              <a:spcPct val="90000"/>
            </a:lnSpc>
            <a:spcBef>
              <a:spcPct val="0"/>
            </a:spcBef>
            <a:spcAft>
              <a:spcPct val="15000"/>
            </a:spcAft>
            <a:buChar char="•"/>
          </a:pPr>
          <a:r>
            <a:rPr lang="en-US" sz="900" kern="1200" dirty="0"/>
            <a:t>VM backups</a:t>
          </a:r>
        </a:p>
        <a:p>
          <a:pPr marL="57150" lvl="1" indent="-57150" algn="l" defTabSz="400050">
            <a:lnSpc>
              <a:spcPct val="90000"/>
            </a:lnSpc>
            <a:spcBef>
              <a:spcPct val="0"/>
            </a:spcBef>
            <a:spcAft>
              <a:spcPct val="15000"/>
            </a:spcAft>
            <a:buChar char="•"/>
          </a:pPr>
          <a:r>
            <a:rPr lang="en-US" sz="900" kern="1200" dirty="0"/>
            <a:t>File and folder backups</a:t>
          </a:r>
        </a:p>
      </dsp:txBody>
      <dsp:txXfrm>
        <a:off x="581170" y="1948158"/>
        <a:ext cx="2024160" cy="632550"/>
      </dsp:txXfrm>
    </dsp:sp>
    <dsp:sp modelId="{A4FE4FD7-822B-4BF9-B743-604FCC6CACB2}">
      <dsp:nvSpPr>
        <dsp:cNvPr id="0" name=""/>
        <dsp:cNvSpPr/>
      </dsp:nvSpPr>
      <dsp:spPr>
        <a:xfrm>
          <a:off x="496830" y="1856789"/>
          <a:ext cx="442785" cy="664177"/>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 modelId="{3DAAA680-B383-4656-8C93-44C4737A339D}">
      <dsp:nvSpPr>
        <dsp:cNvPr id="0" name=""/>
        <dsp:cNvSpPr/>
      </dsp:nvSpPr>
      <dsp:spPr>
        <a:xfrm>
          <a:off x="581170" y="2744468"/>
          <a:ext cx="2024160" cy="632550"/>
        </a:xfrm>
        <a:prstGeom prst="rect">
          <a:avLst/>
        </a:prstGeom>
        <a:solidFill>
          <a:schemeClr val="accent2">
            <a:alpha val="4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28447" tIns="41910" rIns="41910" bIns="41910" numCol="1" spcCol="1270" anchor="t" anchorCtr="0">
          <a:noAutofit/>
        </a:bodyPr>
        <a:lstStyle/>
        <a:p>
          <a:pPr marL="0" lvl="0" indent="0" algn="l" defTabSz="488950">
            <a:lnSpc>
              <a:spcPct val="90000"/>
            </a:lnSpc>
            <a:spcBef>
              <a:spcPct val="0"/>
            </a:spcBef>
            <a:spcAft>
              <a:spcPct val="35000"/>
            </a:spcAft>
            <a:buNone/>
          </a:pPr>
          <a:r>
            <a:rPr lang="en-US" sz="1100" b="1" kern="1200" dirty="0">
              <a:solidFill>
                <a:schemeClr val="accent4"/>
              </a:solidFill>
            </a:rPr>
            <a:t>SITE</a:t>
          </a:r>
          <a:r>
            <a:rPr lang="en-US" sz="1100" b="1" kern="1200" dirty="0"/>
            <a:t> </a:t>
          </a:r>
          <a:r>
            <a:rPr lang="en-US" sz="1100" b="1" kern="1200" dirty="0">
              <a:solidFill>
                <a:schemeClr val="accent4"/>
              </a:solidFill>
            </a:rPr>
            <a:t>RECOVERY</a:t>
          </a:r>
        </a:p>
        <a:p>
          <a:pPr marL="57150" lvl="1" indent="-57150" algn="l" defTabSz="400050">
            <a:lnSpc>
              <a:spcPct val="90000"/>
            </a:lnSpc>
            <a:spcBef>
              <a:spcPct val="0"/>
            </a:spcBef>
            <a:spcAft>
              <a:spcPct val="15000"/>
            </a:spcAft>
            <a:buChar char="•"/>
          </a:pPr>
          <a:r>
            <a:rPr lang="en-US" sz="900" kern="1200" dirty="0"/>
            <a:t>Regional protection</a:t>
          </a:r>
        </a:p>
        <a:p>
          <a:pPr marL="57150" lvl="1" indent="-57150" algn="l" defTabSz="400050">
            <a:lnSpc>
              <a:spcPct val="90000"/>
            </a:lnSpc>
            <a:spcBef>
              <a:spcPct val="0"/>
            </a:spcBef>
            <a:spcAft>
              <a:spcPct val="15000"/>
            </a:spcAft>
            <a:buChar char="•"/>
          </a:pPr>
          <a:r>
            <a:rPr lang="en-US" sz="900" kern="1200" dirty="0"/>
            <a:t>Failover and failback</a:t>
          </a:r>
        </a:p>
      </dsp:txBody>
      <dsp:txXfrm>
        <a:off x="581170" y="2744468"/>
        <a:ext cx="2024160" cy="632550"/>
      </dsp:txXfrm>
    </dsp:sp>
    <dsp:sp modelId="{F20D35F3-7A14-445E-A385-795B572C4F60}">
      <dsp:nvSpPr>
        <dsp:cNvPr id="0" name=""/>
        <dsp:cNvSpPr/>
      </dsp:nvSpPr>
      <dsp:spPr>
        <a:xfrm>
          <a:off x="496830" y="2653100"/>
          <a:ext cx="442785" cy="66417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1">
          <a:scrgbClr r="0" g="0" b="0"/>
        </a:fillRef>
        <a:effectRef idx="3">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1FE9-0BD7-4E0E-9187-5D957E97DB20}">
      <dsp:nvSpPr>
        <dsp:cNvPr id="0" name=""/>
        <dsp:cNvSpPr/>
      </dsp:nvSpPr>
      <dsp:spPr>
        <a:xfrm>
          <a:off x="151933" y="1298"/>
          <a:ext cx="1308364" cy="785018"/>
        </a:xfrm>
        <a:prstGeom prst="rect">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etrics</a:t>
          </a:r>
        </a:p>
      </dsp:txBody>
      <dsp:txXfrm>
        <a:off x="151933" y="1298"/>
        <a:ext cx="1308364" cy="785018"/>
      </dsp:txXfrm>
    </dsp:sp>
    <dsp:sp modelId="{DBCD4A4B-4A7B-4F56-939C-CC772B5E474C}">
      <dsp:nvSpPr>
        <dsp:cNvPr id="0" name=""/>
        <dsp:cNvSpPr/>
      </dsp:nvSpPr>
      <dsp:spPr>
        <a:xfrm>
          <a:off x="151933" y="917153"/>
          <a:ext cx="1308364" cy="785018"/>
        </a:xfrm>
        <a:prstGeom prst="rect">
          <a:avLst/>
        </a:prstGeom>
        <a:solidFill>
          <a:schemeClr val="accent4">
            <a:hueOff val="-1147011"/>
            <a:satOff val="9473"/>
            <a:lumOff val="-235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lerts</a:t>
          </a:r>
        </a:p>
      </dsp:txBody>
      <dsp:txXfrm>
        <a:off x="151933" y="917153"/>
        <a:ext cx="1308364" cy="785018"/>
      </dsp:txXfrm>
    </dsp:sp>
    <dsp:sp modelId="{24F7414B-96AC-4156-B5A9-E9256EE3A38B}">
      <dsp:nvSpPr>
        <dsp:cNvPr id="0" name=""/>
        <dsp:cNvSpPr/>
      </dsp:nvSpPr>
      <dsp:spPr>
        <a:xfrm>
          <a:off x="151933" y="1833008"/>
          <a:ext cx="1308364" cy="785018"/>
        </a:xfrm>
        <a:prstGeom prst="rect">
          <a:avLst/>
        </a:prstGeom>
        <a:solidFill>
          <a:schemeClr val="accent4">
            <a:hueOff val="-2294023"/>
            <a:satOff val="18947"/>
            <a:lumOff val="-470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Autoscale</a:t>
          </a:r>
          <a:endParaRPr lang="en-US" sz="1300" kern="1200" dirty="0"/>
        </a:p>
      </dsp:txBody>
      <dsp:txXfrm>
        <a:off x="151933" y="1833008"/>
        <a:ext cx="1308364" cy="785018"/>
      </dsp:txXfrm>
    </dsp:sp>
    <dsp:sp modelId="{CACC16B1-C980-478D-81B9-9497B45E3E3C}">
      <dsp:nvSpPr>
        <dsp:cNvPr id="0" name=""/>
        <dsp:cNvSpPr/>
      </dsp:nvSpPr>
      <dsp:spPr>
        <a:xfrm>
          <a:off x="151933" y="2748863"/>
          <a:ext cx="1308364" cy="785018"/>
        </a:xfrm>
        <a:prstGeom prst="rect">
          <a:avLst/>
        </a:prstGeom>
        <a:solidFill>
          <a:schemeClr val="accent4">
            <a:hueOff val="-3441034"/>
            <a:satOff val="28420"/>
            <a:lumOff val="-7059"/>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vity Log</a:t>
          </a:r>
        </a:p>
      </dsp:txBody>
      <dsp:txXfrm>
        <a:off x="151933" y="2748863"/>
        <a:ext cx="1308364" cy="785018"/>
      </dsp:txXfrm>
    </dsp:sp>
    <dsp:sp modelId="{2125485D-B99F-4AE6-820E-13A0D61AC020}">
      <dsp:nvSpPr>
        <dsp:cNvPr id="0" name=""/>
        <dsp:cNvSpPr/>
      </dsp:nvSpPr>
      <dsp:spPr>
        <a:xfrm>
          <a:off x="151933" y="3664718"/>
          <a:ext cx="1308364" cy="785018"/>
        </a:xfrm>
        <a:prstGeom prst="rect">
          <a:avLst/>
        </a:prstGeom>
        <a:solidFill>
          <a:schemeClr val="accent4">
            <a:hueOff val="-4588045"/>
            <a:satOff val="37894"/>
            <a:lumOff val="-9412"/>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ction Groups</a:t>
          </a:r>
        </a:p>
      </dsp:txBody>
      <dsp:txXfrm>
        <a:off x="151933" y="3664718"/>
        <a:ext cx="1308364" cy="785018"/>
      </dsp:txXfrm>
    </dsp:sp>
    <dsp:sp modelId="{0A5FC056-6CC5-44D7-A0D8-7CEF7B9C6F1F}">
      <dsp:nvSpPr>
        <dsp:cNvPr id="0" name=""/>
        <dsp:cNvSpPr/>
      </dsp:nvSpPr>
      <dsp:spPr>
        <a:xfrm>
          <a:off x="151933" y="4580572"/>
          <a:ext cx="1308364" cy="785018"/>
        </a:xfrm>
        <a:prstGeom prst="rect">
          <a:avLst/>
        </a:prstGeom>
        <a:solidFill>
          <a:schemeClr val="accent4">
            <a:hueOff val="-5735056"/>
            <a:satOff val="47367"/>
            <a:lumOff val="-1176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iagnostic Logs</a:t>
          </a:r>
        </a:p>
      </dsp:txBody>
      <dsp:txXfrm>
        <a:off x="151933" y="4580572"/>
        <a:ext cx="1308364" cy="7850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1C3FD9-7028-42C3-B942-1C9FFE8C242C}">
      <dsp:nvSpPr>
        <dsp:cNvPr id="0" name=""/>
        <dsp:cNvSpPr/>
      </dsp:nvSpPr>
      <dsp:spPr>
        <a:xfrm>
          <a:off x="0" y="13145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Microsoft Monitoring Agents (MMA)</a:t>
          </a:r>
        </a:p>
      </dsp:txBody>
      <dsp:txXfrm>
        <a:off x="23874" y="155330"/>
        <a:ext cx="6323283" cy="441312"/>
      </dsp:txXfrm>
    </dsp:sp>
    <dsp:sp modelId="{106451C1-6CDB-448C-91DA-69FE617E1BBB}">
      <dsp:nvSpPr>
        <dsp:cNvPr id="0" name=""/>
        <dsp:cNvSpPr/>
      </dsp:nvSpPr>
      <dsp:spPr>
        <a:xfrm>
          <a:off x="0" y="62051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indows VMs, Linux VMs, Azure resources; supports HTTP forward proxy</a:t>
          </a:r>
        </a:p>
        <a:p>
          <a:pPr marL="114300" lvl="1" indent="-114300" algn="l" defTabSz="666750">
            <a:lnSpc>
              <a:spcPct val="90000"/>
            </a:lnSpc>
            <a:spcBef>
              <a:spcPct val="0"/>
            </a:spcBef>
            <a:spcAft>
              <a:spcPct val="20000"/>
            </a:spcAft>
            <a:buChar char="•"/>
          </a:pPr>
          <a:r>
            <a:rPr lang="en-US" sz="1500" kern="1200" dirty="0">
              <a:latin typeface="+mj-lt"/>
            </a:rPr>
            <a:t>Integrate with SCOM or SCCM for additional functionality</a:t>
          </a:r>
        </a:p>
        <a:p>
          <a:pPr marL="114300" lvl="1" indent="-114300" algn="l" defTabSz="666750">
            <a:lnSpc>
              <a:spcPct val="90000"/>
            </a:lnSpc>
            <a:spcBef>
              <a:spcPct val="0"/>
            </a:spcBef>
            <a:spcAft>
              <a:spcPct val="20000"/>
            </a:spcAft>
            <a:buChar char="•"/>
          </a:pPr>
          <a:r>
            <a:rPr lang="en-US" sz="1500" kern="1200" dirty="0">
              <a:latin typeface="+mj-lt"/>
            </a:rPr>
            <a:t>Data is compressed before being sent over the wire</a:t>
          </a:r>
        </a:p>
      </dsp:txBody>
      <dsp:txXfrm>
        <a:off x="0" y="620516"/>
        <a:ext cx="6371031" cy="845594"/>
      </dsp:txXfrm>
    </dsp:sp>
    <dsp:sp modelId="{972E4778-01B8-4AA0-B020-66F4B14E82D0}">
      <dsp:nvSpPr>
        <dsp:cNvPr id="0" name=""/>
        <dsp:cNvSpPr/>
      </dsp:nvSpPr>
      <dsp:spPr>
        <a:xfrm>
          <a:off x="0" y="146611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end data to the Log Analytics Service</a:t>
          </a:r>
        </a:p>
      </dsp:txBody>
      <dsp:txXfrm>
        <a:off x="23874" y="1489985"/>
        <a:ext cx="6323283" cy="441312"/>
      </dsp:txXfrm>
    </dsp:sp>
    <dsp:sp modelId="{A9592725-3DC1-400B-9F36-D02B1AAF02DA}">
      <dsp:nvSpPr>
        <dsp:cNvPr id="0" name=""/>
        <dsp:cNvSpPr/>
      </dsp:nvSpPr>
      <dsp:spPr>
        <a:xfrm>
          <a:off x="0" y="195517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OMS service exposes public REST endpoint over TLS (SSL 3)</a:t>
          </a:r>
        </a:p>
        <a:p>
          <a:pPr marL="114300" lvl="1" indent="-114300" algn="l" defTabSz="666750">
            <a:lnSpc>
              <a:spcPct val="90000"/>
            </a:lnSpc>
            <a:spcBef>
              <a:spcPct val="0"/>
            </a:spcBef>
            <a:spcAft>
              <a:spcPct val="20000"/>
            </a:spcAft>
            <a:buChar char="•"/>
          </a:pPr>
          <a:r>
            <a:rPr lang="en-US" sz="1500" kern="1200" dirty="0">
              <a:latin typeface="+mj-lt"/>
            </a:rPr>
            <a:t>Agents use certificate-based authentication</a:t>
          </a:r>
        </a:p>
        <a:p>
          <a:pPr marL="114300" lvl="1" indent="-114300" algn="l" defTabSz="666750">
            <a:lnSpc>
              <a:spcPct val="90000"/>
            </a:lnSpc>
            <a:spcBef>
              <a:spcPct val="0"/>
            </a:spcBef>
            <a:spcAft>
              <a:spcPct val="20000"/>
            </a:spcAft>
            <a:buChar char="•"/>
          </a:pPr>
          <a:r>
            <a:rPr lang="en-US" sz="1500" kern="1200" dirty="0">
              <a:latin typeface="+mj-lt"/>
            </a:rPr>
            <a:t>Private keys are managed by Microsoft and rotated every 90 days </a:t>
          </a:r>
        </a:p>
      </dsp:txBody>
      <dsp:txXfrm>
        <a:off x="0" y="1955171"/>
        <a:ext cx="6371031" cy="845594"/>
      </dsp:txXfrm>
    </dsp:sp>
    <dsp:sp modelId="{9901A4FC-1FDF-4150-95F4-0A0699664764}">
      <dsp:nvSpPr>
        <dsp:cNvPr id="0" name=""/>
        <dsp:cNvSpPr/>
      </dsp:nvSpPr>
      <dsp:spPr>
        <a:xfrm>
          <a:off x="0" y="2800766"/>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figure Log Analytics Workspaces</a:t>
          </a:r>
        </a:p>
      </dsp:txBody>
      <dsp:txXfrm>
        <a:off x="23874" y="2824640"/>
        <a:ext cx="6323283" cy="441312"/>
      </dsp:txXfrm>
    </dsp:sp>
    <dsp:sp modelId="{95632024-DC6E-4F37-9877-DE4035DD1B4F}">
      <dsp:nvSpPr>
        <dsp:cNvPr id="0" name=""/>
        <dsp:cNvSpPr/>
      </dsp:nvSpPr>
      <dsp:spPr>
        <a:xfrm>
          <a:off x="0" y="3289826"/>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Workspace = container of aggregated log data</a:t>
          </a:r>
        </a:p>
        <a:p>
          <a:pPr marL="114300" lvl="1" indent="-114300" algn="l" defTabSz="666750">
            <a:lnSpc>
              <a:spcPct val="90000"/>
            </a:lnSpc>
            <a:spcBef>
              <a:spcPct val="0"/>
            </a:spcBef>
            <a:spcAft>
              <a:spcPct val="20000"/>
            </a:spcAft>
            <a:buChar char="•"/>
          </a:pPr>
          <a:r>
            <a:rPr lang="en-US" sz="1500" kern="1200" dirty="0">
              <a:latin typeface="+mj-lt"/>
            </a:rPr>
            <a:t>Factors:  region, billing, isolation, configuration</a:t>
          </a:r>
        </a:p>
        <a:p>
          <a:pPr marL="114300" lvl="1" indent="-114300" algn="l" defTabSz="666750">
            <a:lnSpc>
              <a:spcPct val="90000"/>
            </a:lnSpc>
            <a:spcBef>
              <a:spcPct val="0"/>
            </a:spcBef>
            <a:spcAft>
              <a:spcPct val="20000"/>
            </a:spcAft>
            <a:buChar char="•"/>
          </a:pPr>
          <a:r>
            <a:rPr lang="en-US" sz="1500" kern="1200" dirty="0">
              <a:latin typeface="+mj-lt"/>
            </a:rPr>
            <a:t>Agents can send data to multiple workspaces, near real time intervals</a:t>
          </a:r>
        </a:p>
      </dsp:txBody>
      <dsp:txXfrm>
        <a:off x="0" y="3289826"/>
        <a:ext cx="6371031" cy="845594"/>
      </dsp:txXfrm>
    </dsp:sp>
    <dsp:sp modelId="{E5A7B3DC-0067-48A2-9F8A-9C02BF65D99F}">
      <dsp:nvSpPr>
        <dsp:cNvPr id="0" name=""/>
        <dsp:cNvSpPr/>
      </dsp:nvSpPr>
      <dsp:spPr>
        <a:xfrm>
          <a:off x="0" y="4135421"/>
          <a:ext cx="6371031"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sume dashboards, reports, alerts</a:t>
          </a:r>
        </a:p>
      </dsp:txBody>
      <dsp:txXfrm>
        <a:off x="23874" y="4159295"/>
        <a:ext cx="6323283" cy="441312"/>
      </dsp:txXfrm>
    </dsp:sp>
    <dsp:sp modelId="{9709711B-B4DE-42BF-9846-1703931017FD}">
      <dsp:nvSpPr>
        <dsp:cNvPr id="0" name=""/>
        <dsp:cNvSpPr/>
      </dsp:nvSpPr>
      <dsp:spPr>
        <a:xfrm>
          <a:off x="0" y="4624481"/>
          <a:ext cx="6371031"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28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olution gallery provides turnkey configuration scenarios</a:t>
          </a:r>
        </a:p>
        <a:p>
          <a:pPr marL="114300" lvl="1" indent="-114300" algn="l" defTabSz="666750">
            <a:lnSpc>
              <a:spcPct val="90000"/>
            </a:lnSpc>
            <a:spcBef>
              <a:spcPct val="0"/>
            </a:spcBef>
            <a:spcAft>
              <a:spcPct val="20000"/>
            </a:spcAft>
            <a:buChar char="•"/>
          </a:pPr>
          <a:r>
            <a:rPr lang="en-US" sz="1500" kern="1200" dirty="0">
              <a:latin typeface="+mj-lt"/>
            </a:rPr>
            <a:t>Query syntax for advanced data search</a:t>
          </a:r>
        </a:p>
        <a:p>
          <a:pPr marL="114300" lvl="1" indent="-114300" algn="l" defTabSz="666750">
            <a:lnSpc>
              <a:spcPct val="90000"/>
            </a:lnSpc>
            <a:spcBef>
              <a:spcPct val="0"/>
            </a:spcBef>
            <a:spcAft>
              <a:spcPct val="20000"/>
            </a:spcAft>
            <a:buChar char="•"/>
          </a:pPr>
          <a:r>
            <a:rPr lang="en-US" sz="1500" kern="1200" dirty="0">
              <a:latin typeface="+mj-lt"/>
            </a:rPr>
            <a:t>Log integrator to export data to external systems</a:t>
          </a:r>
        </a:p>
      </dsp:txBody>
      <dsp:txXfrm>
        <a:off x="0" y="4624481"/>
        <a:ext cx="6371031" cy="845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4DB52-AC2C-4954-BFDE-CAC4FCB7E1A4}">
      <dsp:nvSpPr>
        <dsp:cNvPr id="0" name=""/>
        <dsp:cNvSpPr/>
      </dsp:nvSpPr>
      <dsp:spPr>
        <a:xfrm>
          <a:off x="0" y="1071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ustom Logs</a:t>
          </a:r>
        </a:p>
      </dsp:txBody>
      <dsp:txXfrm>
        <a:off x="23874" y="130985"/>
        <a:ext cx="4894539" cy="441312"/>
      </dsp:txXfrm>
    </dsp:sp>
    <dsp:sp modelId="{B22112F1-E669-4260-9FB8-3EB315174A36}">
      <dsp:nvSpPr>
        <dsp:cNvPr id="0" name=""/>
        <dsp:cNvSpPr/>
      </dsp:nvSpPr>
      <dsp:spPr>
        <a:xfrm>
          <a:off x="0" y="5961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Delimited text files, parsed and mapped to custom fields</a:t>
          </a:r>
        </a:p>
      </dsp:txBody>
      <dsp:txXfrm>
        <a:off x="0" y="596171"/>
        <a:ext cx="4942287" cy="314640"/>
      </dsp:txXfrm>
    </dsp:sp>
    <dsp:sp modelId="{773F151A-A0B7-44B7-89F8-A0593D61CEDC}">
      <dsp:nvSpPr>
        <dsp:cNvPr id="0" name=""/>
        <dsp:cNvSpPr/>
      </dsp:nvSpPr>
      <dsp:spPr>
        <a:xfrm>
          <a:off x="0" y="9108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Event Logs</a:t>
          </a:r>
        </a:p>
      </dsp:txBody>
      <dsp:txXfrm>
        <a:off x="23874" y="934685"/>
        <a:ext cx="4894539" cy="441312"/>
      </dsp:txXfrm>
    </dsp:sp>
    <dsp:sp modelId="{E201451B-8B6F-4B39-B722-1C99B668DA0F}">
      <dsp:nvSpPr>
        <dsp:cNvPr id="0" name=""/>
        <dsp:cNvSpPr/>
      </dsp:nvSpPr>
      <dsp:spPr>
        <a:xfrm>
          <a:off x="0" y="13998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log name and event severity</a:t>
          </a:r>
        </a:p>
      </dsp:txBody>
      <dsp:txXfrm>
        <a:off x="0" y="1399871"/>
        <a:ext cx="4942287" cy="314640"/>
      </dsp:txXfrm>
    </dsp:sp>
    <dsp:sp modelId="{AE979820-AF8F-4341-901C-0505BDAC9E9A}">
      <dsp:nvSpPr>
        <dsp:cNvPr id="0" name=""/>
        <dsp:cNvSpPr/>
      </dsp:nvSpPr>
      <dsp:spPr>
        <a:xfrm>
          <a:off x="0" y="17145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Linux Performance Counters</a:t>
          </a:r>
        </a:p>
      </dsp:txBody>
      <dsp:txXfrm>
        <a:off x="23874" y="1738385"/>
        <a:ext cx="4894539" cy="441312"/>
      </dsp:txXfrm>
    </dsp:sp>
    <dsp:sp modelId="{84B4219F-4142-4D7B-BE9D-642D863C2ADF}">
      <dsp:nvSpPr>
        <dsp:cNvPr id="0" name=""/>
        <dsp:cNvSpPr/>
      </dsp:nvSpPr>
      <dsp:spPr>
        <a:xfrm>
          <a:off x="0" y="22035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ize = 1 MB x (# counters) x (# agents) x (# instances</a:t>
          </a:r>
          <a:r>
            <a:rPr lang="en-US" sz="1500" kern="1200" dirty="0"/>
            <a:t>)</a:t>
          </a:r>
        </a:p>
      </dsp:txBody>
      <dsp:txXfrm>
        <a:off x="0" y="2203571"/>
        <a:ext cx="4942287" cy="314640"/>
      </dsp:txXfrm>
    </dsp:sp>
    <dsp:sp modelId="{7185570E-5149-4109-97C4-C19091DC595D}">
      <dsp:nvSpPr>
        <dsp:cNvPr id="0" name=""/>
        <dsp:cNvSpPr/>
      </dsp:nvSpPr>
      <dsp:spPr>
        <a:xfrm>
          <a:off x="0" y="25182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Windows IIS Logs</a:t>
          </a:r>
        </a:p>
      </dsp:txBody>
      <dsp:txXfrm>
        <a:off x="23874" y="2542085"/>
        <a:ext cx="4894539" cy="441312"/>
      </dsp:txXfrm>
    </dsp:sp>
    <dsp:sp modelId="{CDA7D5D0-6E1E-458C-A504-C1D3E966B6E1}">
      <dsp:nvSpPr>
        <dsp:cNvPr id="0" name=""/>
        <dsp:cNvSpPr/>
      </dsp:nvSpPr>
      <dsp:spPr>
        <a:xfrm>
          <a:off x="0" y="30072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Supports W3C format, 15 minute sampling</a:t>
          </a:r>
        </a:p>
      </dsp:txBody>
      <dsp:txXfrm>
        <a:off x="0" y="3007271"/>
        <a:ext cx="4942287" cy="314640"/>
      </dsp:txXfrm>
    </dsp:sp>
    <dsp:sp modelId="{B00C573D-9EBD-4F7D-889A-5CBA8BAA50C0}">
      <dsp:nvSpPr>
        <dsp:cNvPr id="0" name=""/>
        <dsp:cNvSpPr/>
      </dsp:nvSpPr>
      <dsp:spPr>
        <a:xfrm>
          <a:off x="0" y="33219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Syslog</a:t>
          </a:r>
        </a:p>
      </dsp:txBody>
      <dsp:txXfrm>
        <a:off x="23874" y="3345785"/>
        <a:ext cx="4894539" cy="441312"/>
      </dsp:txXfrm>
    </dsp:sp>
    <dsp:sp modelId="{EE58006B-DD7E-4420-ADAB-4D7149103638}">
      <dsp:nvSpPr>
        <dsp:cNvPr id="0" name=""/>
        <dsp:cNvSpPr/>
      </dsp:nvSpPr>
      <dsp:spPr>
        <a:xfrm>
          <a:off x="0" y="3810971"/>
          <a:ext cx="4942287"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Filter by faculty name and event severity</a:t>
          </a:r>
        </a:p>
      </dsp:txBody>
      <dsp:txXfrm>
        <a:off x="0" y="3810971"/>
        <a:ext cx="4942287" cy="314640"/>
      </dsp:txXfrm>
    </dsp:sp>
    <dsp:sp modelId="{65A3B41D-32CA-42A0-8320-3A4CD3185163}">
      <dsp:nvSpPr>
        <dsp:cNvPr id="0" name=""/>
        <dsp:cNvSpPr/>
      </dsp:nvSpPr>
      <dsp:spPr>
        <a:xfrm>
          <a:off x="0" y="4125611"/>
          <a:ext cx="4942287" cy="489060"/>
        </a:xfrm>
        <a:prstGeom prst="roundRect">
          <a:avLst/>
        </a:prstGeom>
        <a:solidFill>
          <a:schemeClr val="dk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inux OMS Agent </a:t>
          </a:r>
        </a:p>
      </dsp:txBody>
      <dsp:txXfrm>
        <a:off x="23874" y="4149485"/>
        <a:ext cx="4894539" cy="441312"/>
      </dsp:txXfrm>
    </dsp:sp>
    <dsp:sp modelId="{2E8AA2B6-07DB-48B8-91E0-C88AAE46C9F7}">
      <dsp:nvSpPr>
        <dsp:cNvPr id="0" name=""/>
        <dsp:cNvSpPr/>
      </dsp:nvSpPr>
      <dsp:spPr>
        <a:xfrm>
          <a:off x="0" y="4614670"/>
          <a:ext cx="4942287"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91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latin typeface="+mj-lt"/>
            </a:rPr>
            <a:t>Custom JSON data</a:t>
          </a:r>
        </a:p>
        <a:p>
          <a:pPr marL="114300" lvl="1" indent="-114300" algn="l" defTabSz="666750">
            <a:lnSpc>
              <a:spcPct val="90000"/>
            </a:lnSpc>
            <a:spcBef>
              <a:spcPct val="0"/>
            </a:spcBef>
            <a:spcAft>
              <a:spcPct val="20000"/>
            </a:spcAft>
            <a:buChar char="•"/>
          </a:pPr>
          <a:r>
            <a:rPr lang="en-US" sz="1500" kern="1200" dirty="0" err="1">
              <a:latin typeface="+mj-lt"/>
            </a:rPr>
            <a:t>Collectd</a:t>
          </a:r>
          <a:r>
            <a:rPr lang="en-US" sz="1500" kern="1200" dirty="0">
              <a:latin typeface="+mj-lt"/>
            </a:rPr>
            <a:t> performance data</a:t>
          </a:r>
        </a:p>
        <a:p>
          <a:pPr marL="114300" lvl="1" indent="-114300" algn="l" defTabSz="666750">
            <a:lnSpc>
              <a:spcPct val="90000"/>
            </a:lnSpc>
            <a:spcBef>
              <a:spcPct val="0"/>
            </a:spcBef>
            <a:spcAft>
              <a:spcPct val="20000"/>
            </a:spcAft>
            <a:buChar char="•"/>
          </a:pPr>
          <a:r>
            <a:rPr lang="en-US" sz="1500" kern="1200" dirty="0">
              <a:latin typeface="+mj-lt"/>
            </a:rPr>
            <a:t>Nagios and Zabbix alerts</a:t>
          </a:r>
        </a:p>
      </dsp:txBody>
      <dsp:txXfrm>
        <a:off x="0" y="4614670"/>
        <a:ext cx="4942287" cy="8455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3D20F-24C1-4C34-981A-03BEE5F61FD0}">
      <dsp:nvSpPr>
        <dsp:cNvPr id="0" name=""/>
        <dsp:cNvSpPr/>
      </dsp:nvSpPr>
      <dsp:spPr>
        <a:xfrm>
          <a:off x="63799" y="474"/>
          <a:ext cx="2489231" cy="1493539"/>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ree text searchable fields (grey)</a:t>
          </a:r>
        </a:p>
      </dsp:txBody>
      <dsp:txXfrm>
        <a:off x="63799" y="474"/>
        <a:ext cx="2489231" cy="1493539"/>
      </dsp:txXfrm>
    </dsp:sp>
    <dsp:sp modelId="{F2082697-586B-4C29-A752-EE841B5A9EF5}">
      <dsp:nvSpPr>
        <dsp:cNvPr id="0" name=""/>
        <dsp:cNvSpPr/>
      </dsp:nvSpPr>
      <dsp:spPr>
        <a:xfrm>
          <a:off x="2801954" y="474"/>
          <a:ext cx="2489231" cy="1493539"/>
        </a:xfrm>
        <a:prstGeom prst="rect">
          <a:avLst/>
        </a:prstGeom>
        <a:solidFill>
          <a:schemeClr val="accent2">
            <a:hueOff val="-2248003"/>
            <a:satOff val="-4570"/>
            <a:lumOff val="-156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earchable Fields (blue)</a:t>
          </a:r>
        </a:p>
      </dsp:txBody>
      <dsp:txXfrm>
        <a:off x="2801954" y="474"/>
        <a:ext cx="2489231" cy="1493539"/>
      </dsp:txXfrm>
    </dsp:sp>
    <dsp:sp modelId="{BA5A25FC-78EE-4CB3-928A-FC5FB9678DE7}">
      <dsp:nvSpPr>
        <dsp:cNvPr id="0" name=""/>
        <dsp:cNvSpPr/>
      </dsp:nvSpPr>
      <dsp:spPr>
        <a:xfrm>
          <a:off x="63799" y="1742936"/>
          <a:ext cx="2489231" cy="1493539"/>
        </a:xfrm>
        <a:prstGeom prst="rect">
          <a:avLst/>
        </a:prstGeom>
        <a:solidFill>
          <a:schemeClr val="accent2">
            <a:hueOff val="-4496006"/>
            <a:satOff val="-9141"/>
            <a:lumOff val="-313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ilters: Type, </a:t>
          </a:r>
          <a:r>
            <a:rPr lang="en-US" sz="1700" kern="1200" dirty="0" err="1"/>
            <a:t>EventName</a:t>
          </a:r>
          <a:r>
            <a:rPr lang="en-US" sz="1700" kern="1200" dirty="0"/>
            <a:t>, Computer, </a:t>
          </a:r>
          <a:r>
            <a:rPr lang="en-US" sz="1700" kern="1200" dirty="0" err="1"/>
            <a:t>CounterName</a:t>
          </a:r>
          <a:r>
            <a:rPr lang="en-US" sz="1700" kern="1200" dirty="0"/>
            <a:t>, </a:t>
          </a:r>
          <a:r>
            <a:rPr lang="en-US" sz="1700" kern="1200" dirty="0" err="1"/>
            <a:t>CounterValue</a:t>
          </a:r>
          <a:r>
            <a:rPr lang="en-US" sz="1700" kern="1200" dirty="0"/>
            <a:t>, </a:t>
          </a:r>
          <a:r>
            <a:rPr lang="en-US" sz="1700" kern="1200" dirty="0" err="1"/>
            <a:t>InstanceName</a:t>
          </a:r>
          <a:endParaRPr lang="en-US" sz="1700" kern="1200" dirty="0"/>
        </a:p>
      </dsp:txBody>
      <dsp:txXfrm>
        <a:off x="63799" y="1742936"/>
        <a:ext cx="2489231" cy="1493539"/>
      </dsp:txXfrm>
    </dsp:sp>
    <dsp:sp modelId="{03476A65-0871-474E-8869-4D8E05686048}">
      <dsp:nvSpPr>
        <dsp:cNvPr id="0" name=""/>
        <dsp:cNvSpPr/>
      </dsp:nvSpPr>
      <dsp:spPr>
        <a:xfrm>
          <a:off x="2801954" y="1742936"/>
          <a:ext cx="2489231" cy="1493539"/>
        </a:xfrm>
        <a:prstGeom prst="rect">
          <a:avLst/>
        </a:prstGeom>
        <a:solidFill>
          <a:schemeClr val="accent2">
            <a:hueOff val="-6744009"/>
            <a:satOff val="-13711"/>
            <a:lumOff val="-470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erators: AND, OR, NOT, Piping</a:t>
          </a:r>
        </a:p>
      </dsp:txBody>
      <dsp:txXfrm>
        <a:off x="2801954" y="1742936"/>
        <a:ext cx="2489231" cy="1493539"/>
      </dsp:txXfrm>
    </dsp:sp>
    <dsp:sp modelId="{F921BCA1-C987-4EB2-95CD-D84031D7D728}">
      <dsp:nvSpPr>
        <dsp:cNvPr id="0" name=""/>
        <dsp:cNvSpPr/>
      </dsp:nvSpPr>
      <dsp:spPr>
        <a:xfrm>
          <a:off x="63799" y="3485398"/>
          <a:ext cx="2489231" cy="1493539"/>
        </a:xfrm>
        <a:prstGeom prst="rect">
          <a:avLst/>
        </a:prstGeom>
        <a:solidFill>
          <a:schemeClr val="accent2">
            <a:hueOff val="-8992012"/>
            <a:satOff val="-18282"/>
            <a:lumOff val="-627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mands: SELECT, WHERE, MEASURE, DISTINCT, IN</a:t>
          </a:r>
        </a:p>
      </dsp:txBody>
      <dsp:txXfrm>
        <a:off x="63799" y="3485398"/>
        <a:ext cx="2489231" cy="1493539"/>
      </dsp:txXfrm>
    </dsp:sp>
    <dsp:sp modelId="{1FDB6709-EE84-4C3A-A9E5-26EE95D60337}">
      <dsp:nvSpPr>
        <dsp:cNvPr id="0" name=""/>
        <dsp:cNvSpPr/>
      </dsp:nvSpPr>
      <dsp:spPr>
        <a:xfrm>
          <a:off x="2801954" y="3485398"/>
          <a:ext cx="2489231" cy="1493539"/>
        </a:xfrm>
        <a:prstGeom prst="rect">
          <a:avLst/>
        </a:prstGeom>
        <a:solidFill>
          <a:schemeClr val="accent2">
            <a:hueOff val="-11240015"/>
            <a:satOff val="-22852"/>
            <a:lumOff val="-784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mputer Groups, Scope Configurations</a:t>
          </a:r>
        </a:p>
      </dsp:txBody>
      <dsp:txXfrm>
        <a:off x="2801954" y="3485398"/>
        <a:ext cx="2489231" cy="14935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5E0B4-3376-40A3-98C2-7265730819FB}">
      <dsp:nvSpPr>
        <dsp:cNvPr id="0" name=""/>
        <dsp:cNvSpPr/>
      </dsp:nvSpPr>
      <dsp:spPr>
        <a:xfrm>
          <a:off x="0" y="349192"/>
          <a:ext cx="1537803" cy="922681"/>
        </a:xfrm>
        <a:prstGeom prst="rect">
          <a:avLst/>
        </a:prstGeom>
        <a:solidFill>
          <a:schemeClr val="accent3">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alth Check</a:t>
          </a:r>
        </a:p>
      </dsp:txBody>
      <dsp:txXfrm>
        <a:off x="0" y="349192"/>
        <a:ext cx="1537803" cy="922681"/>
      </dsp:txXfrm>
    </dsp:sp>
    <dsp:sp modelId="{01BD7407-6600-49EC-AE01-3BB05AB2888D}">
      <dsp:nvSpPr>
        <dsp:cNvPr id="0" name=""/>
        <dsp:cNvSpPr/>
      </dsp:nvSpPr>
      <dsp:spPr>
        <a:xfrm>
          <a:off x="0" y="1431375"/>
          <a:ext cx="1537803" cy="922681"/>
        </a:xfrm>
        <a:prstGeom prst="rect">
          <a:avLst/>
        </a:prstGeom>
        <a:solidFill>
          <a:schemeClr val="accent3">
            <a:hueOff val="2963990"/>
            <a:satOff val="-8172"/>
            <a:lumOff val="3268"/>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onitor &amp; Optimize</a:t>
          </a:r>
        </a:p>
      </dsp:txBody>
      <dsp:txXfrm>
        <a:off x="0" y="1431375"/>
        <a:ext cx="1537803" cy="922681"/>
      </dsp:txXfrm>
    </dsp:sp>
    <dsp:sp modelId="{9148E4B0-2B22-4978-9CF0-F1BF187149D8}">
      <dsp:nvSpPr>
        <dsp:cNvPr id="0" name=""/>
        <dsp:cNvSpPr/>
      </dsp:nvSpPr>
      <dsp:spPr>
        <a:xfrm>
          <a:off x="0" y="2507837"/>
          <a:ext cx="1537803" cy="922681"/>
        </a:xfrm>
        <a:prstGeom prst="rect">
          <a:avLst/>
        </a:prstGeom>
        <a:solidFill>
          <a:schemeClr val="accent3">
            <a:hueOff val="5927981"/>
            <a:satOff val="-16343"/>
            <a:lumOff val="6537"/>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tect &amp; Debug</a:t>
          </a:r>
        </a:p>
      </dsp:txBody>
      <dsp:txXfrm>
        <a:off x="0" y="2507837"/>
        <a:ext cx="1537803" cy="922681"/>
      </dsp:txXfrm>
    </dsp:sp>
    <dsp:sp modelId="{ED078599-38AC-4CC7-A33E-CB36959F71AE}">
      <dsp:nvSpPr>
        <dsp:cNvPr id="0" name=""/>
        <dsp:cNvSpPr/>
      </dsp:nvSpPr>
      <dsp:spPr>
        <a:xfrm>
          <a:off x="0" y="3584299"/>
          <a:ext cx="1537803" cy="922681"/>
        </a:xfrm>
        <a:prstGeom prst="rect">
          <a:avLst/>
        </a:prstGeom>
        <a:solidFill>
          <a:schemeClr val="accent3">
            <a:hueOff val="8891971"/>
            <a:satOff val="-24515"/>
            <a:lumOff val="9805"/>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L/Data Analytics</a:t>
          </a:r>
        </a:p>
      </dsp:txBody>
      <dsp:txXfrm>
        <a:off x="0" y="3584299"/>
        <a:ext cx="1537803" cy="922681"/>
      </dsp:txXfrm>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5/15/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5/15/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automation/automation-hybrid-runbook-worker"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85903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51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316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470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5006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727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44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24252391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ocs.microsoft.com/en-us/azure/application-insights/app-insights-overvie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pplication Insights is an extensible </a:t>
            </a:r>
            <a:r>
              <a:rPr lang="en-US" sz="1200" b="1" i="0" kern="1200" dirty="0">
                <a:solidFill>
                  <a:schemeClr val="tx1"/>
                </a:solidFill>
                <a:effectLst/>
                <a:latin typeface="+mn-lt"/>
                <a:ea typeface="+mn-ea"/>
                <a:cs typeface="+mn-cs"/>
              </a:rPr>
              <a:t>Application Performance Management (APM) </a:t>
            </a:r>
            <a:r>
              <a:rPr lang="en-US" sz="1200" b="0" i="0" kern="1200" dirty="0">
                <a:solidFill>
                  <a:schemeClr val="tx1"/>
                </a:solidFill>
                <a:effectLst/>
                <a:latin typeface="+mn-lt"/>
                <a:ea typeface="+mn-ea"/>
                <a:cs typeface="+mn-cs"/>
              </a:rPr>
              <a:t>service for web developers on multiple platform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 Use it to monitor your live web application. It will automatically detect performance anomalies.</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It includes powerful analytics tools to help you diagnose issues and to understand what users actually do with your app.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s designed to help you continuously improve performance and usability. It works for apps on a wide variety of platforms including .NET, </a:t>
            </a:r>
            <a:r>
              <a:rPr lang="en-US" sz="1200" b="0" i="0" kern="1200" dirty="0" err="1">
                <a:solidFill>
                  <a:schemeClr val="tx1"/>
                </a:solidFill>
                <a:effectLst/>
                <a:latin typeface="+mn-lt"/>
                <a:ea typeface="+mn-ea"/>
                <a:cs typeface="+mn-cs"/>
              </a:rPr>
              <a:t>Node.js</a:t>
            </a:r>
            <a:r>
              <a:rPr lang="en-US" sz="1200" b="0" i="0" kern="1200" dirty="0">
                <a:solidFill>
                  <a:schemeClr val="tx1"/>
                </a:solidFill>
                <a:effectLst/>
                <a:latin typeface="+mn-lt"/>
                <a:ea typeface="+mn-ea"/>
                <a:cs typeface="+mn-cs"/>
              </a:rPr>
              <a:t> and J2EE, </a:t>
            </a:r>
            <a:r>
              <a:rPr lang="en-US" sz="1200" b="1" i="0" kern="1200" dirty="0">
                <a:solidFill>
                  <a:schemeClr val="tx1"/>
                </a:solidFill>
                <a:effectLst/>
                <a:latin typeface="+mn-lt"/>
                <a:ea typeface="+mn-ea"/>
                <a:cs typeface="+mn-cs"/>
              </a:rPr>
              <a:t>hosted on-premises or in the cloud</a:t>
            </a:r>
            <a:r>
              <a:rPr lang="en-US" sz="1200" b="0" i="0" kern="1200" dirty="0">
                <a:solidFill>
                  <a:schemeClr val="tx1"/>
                </a:solidFill>
                <a:effectLst/>
                <a:latin typeface="+mn-lt"/>
                <a:ea typeface="+mn-ea"/>
                <a:cs typeface="+mn-cs"/>
              </a:rPr>
              <a:t>. It integrates with your </a:t>
            </a:r>
            <a:r>
              <a:rPr lang="en-US" sz="1200" b="1" i="0" kern="1200" dirty="0" err="1">
                <a:solidFill>
                  <a:schemeClr val="tx1"/>
                </a:solidFill>
                <a:effectLst/>
                <a:latin typeface="+mn-lt"/>
                <a:ea typeface="+mn-ea"/>
                <a:cs typeface="+mn-cs"/>
              </a:rPr>
              <a:t>devOps</a:t>
            </a:r>
            <a:r>
              <a:rPr lang="en-US" sz="1200" b="1" i="0" kern="1200" dirty="0">
                <a:solidFill>
                  <a:schemeClr val="tx1"/>
                </a:solidFill>
                <a:effectLst/>
                <a:latin typeface="+mn-lt"/>
                <a:ea typeface="+mn-ea"/>
                <a:cs typeface="+mn-cs"/>
              </a:rPr>
              <a:t> process</a:t>
            </a:r>
            <a:r>
              <a:rPr lang="en-US" sz="1200" b="0" i="0" kern="1200" dirty="0">
                <a:solidFill>
                  <a:schemeClr val="tx1"/>
                </a:solidFill>
                <a:effectLst/>
                <a:latin typeface="+mn-lt"/>
                <a:ea typeface="+mn-ea"/>
                <a:cs typeface="+mn-cs"/>
              </a:rPr>
              <a:t>, and has connection points to a variety of development tool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b="1" dirty="0"/>
              <a:t>Request rates, response times, and failure rates</a:t>
            </a:r>
            <a:r>
              <a:rPr lang="en-US" dirty="0"/>
              <a:t> </a:t>
            </a:r>
          </a:p>
          <a:p>
            <a:r>
              <a:rPr lang="en-US" b="1" dirty="0"/>
              <a:t>Performance counters</a:t>
            </a:r>
            <a:r>
              <a:rPr lang="en-US" dirty="0"/>
              <a:t> from your Windows or Linux server machines, such as CPU, memory, and network usag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Page views and load performance</a:t>
            </a:r>
            <a:r>
              <a:rPr lang="en-US" sz="1200" b="0" i="0" kern="1200" dirty="0">
                <a:solidFill>
                  <a:schemeClr val="tx1"/>
                </a:solidFill>
                <a:effectLst/>
                <a:latin typeface="+mn-lt"/>
                <a:ea typeface="+mn-ea"/>
                <a:cs typeface="+mn-cs"/>
              </a:rPr>
              <a:t> - reported by your users' brows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Dependency rates, response times, and failure rates</a:t>
            </a:r>
            <a:r>
              <a:rPr lang="en-US" sz="1200" b="0" i="0" kern="1200" dirty="0">
                <a:solidFill>
                  <a:schemeClr val="tx1"/>
                </a:solidFill>
                <a:effectLst/>
                <a:latin typeface="+mn-lt"/>
                <a:ea typeface="+mn-ea"/>
                <a:cs typeface="+mn-cs"/>
              </a:rPr>
              <a:t> - Find out whether external services are slowing you dow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18</a:t>
            </a:fld>
            <a:endParaRPr lang="en-US"/>
          </a:p>
        </p:txBody>
      </p:sp>
    </p:spTree>
    <p:extLst>
      <p:ext uri="{BB962C8B-B14F-4D97-AF65-F5344CB8AC3E}">
        <p14:creationId xmlns:p14="http://schemas.microsoft.com/office/powerpoint/2010/main" val="23247976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5/15/2018 12:18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736727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a:t>
            </a:fld>
            <a:endParaRPr lang="en-US"/>
          </a:p>
        </p:txBody>
      </p:sp>
    </p:spTree>
    <p:extLst>
      <p:ext uri="{BB962C8B-B14F-4D97-AF65-F5344CB8AC3E}">
        <p14:creationId xmlns:p14="http://schemas.microsoft.com/office/powerpoint/2010/main" val="18751929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376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Availability tests</a:t>
            </a:r>
          </a:p>
          <a:p>
            <a:r>
              <a:rPr lang="en-US" sz="1200" b="1" i="0" kern="1200" dirty="0">
                <a:solidFill>
                  <a:schemeClr val="tx1"/>
                </a:solidFill>
                <a:effectLst/>
                <a:latin typeface="+mn-lt"/>
                <a:ea typeface="+mn-ea"/>
                <a:cs typeface="+mn-cs"/>
              </a:rPr>
              <a:t>Client-side component </a:t>
            </a:r>
            <a:r>
              <a:rPr lang="en-US" sz="1200" b="0" i="0" kern="1200" dirty="0">
                <a:solidFill>
                  <a:schemeClr val="tx1"/>
                </a:solidFill>
                <a:effectLst/>
                <a:latin typeface="+mn-lt"/>
                <a:ea typeface="+mn-ea"/>
                <a:cs typeface="+mn-cs"/>
              </a:rPr>
              <a:t>(monitored with the JavaScript SDK)</a:t>
            </a:r>
          </a:p>
          <a:p>
            <a:r>
              <a:rPr lang="en-US" sz="1200" b="1" i="0" kern="1200" dirty="0">
                <a:solidFill>
                  <a:schemeClr val="tx1"/>
                </a:solidFill>
                <a:effectLst/>
                <a:latin typeface="+mn-lt"/>
                <a:ea typeface="+mn-ea"/>
                <a:cs typeface="+mn-cs"/>
              </a:rPr>
              <a:t>Server-side component</a:t>
            </a:r>
          </a:p>
          <a:p>
            <a:r>
              <a:rPr lang="en-US" sz="1200" b="1" i="0" kern="1200" dirty="0">
                <a:solidFill>
                  <a:schemeClr val="tx1"/>
                </a:solidFill>
                <a:effectLst/>
                <a:latin typeface="+mn-lt"/>
                <a:ea typeface="+mn-ea"/>
                <a:cs typeface="+mn-cs"/>
              </a:rPr>
              <a:t>Dependencies </a:t>
            </a:r>
            <a:r>
              <a:rPr lang="en-US" sz="1200" b="0" i="0" kern="1200" dirty="0">
                <a:solidFill>
                  <a:schemeClr val="tx1"/>
                </a:solidFill>
                <a:effectLst/>
                <a:latin typeface="+mn-lt"/>
                <a:ea typeface="+mn-ea"/>
                <a:cs typeface="+mn-cs"/>
              </a:rPr>
              <a:t>of the client and server compon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can expand and collapse dependency link group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21</a:t>
            </a:fld>
            <a:endParaRPr lang="en-US"/>
          </a:p>
        </p:txBody>
      </p:sp>
    </p:spTree>
    <p:extLst>
      <p:ext uri="{BB962C8B-B14F-4D97-AF65-F5344CB8AC3E}">
        <p14:creationId xmlns:p14="http://schemas.microsoft.com/office/powerpoint/2010/main" val="3304673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ap shows:</a:t>
            </a:r>
          </a:p>
          <a:p>
            <a:r>
              <a:rPr lang="en-US" sz="1200" b="1" i="0" kern="1200" dirty="0">
                <a:solidFill>
                  <a:schemeClr val="tx1"/>
                </a:solidFill>
                <a:effectLst/>
                <a:latin typeface="+mn-lt"/>
                <a:ea typeface="+mn-ea"/>
                <a:cs typeface="+mn-cs"/>
              </a:rPr>
              <a:t>If you use SQL Azure, there's an icon that shows when there are recommendations on how you can improve performanc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ttps://</a:t>
            </a:r>
            <a:r>
              <a:rPr lang="en-US" sz="1200" b="0" i="0" kern="1200" dirty="0" err="1">
                <a:solidFill>
                  <a:schemeClr val="tx1"/>
                </a:solidFill>
                <a:effectLst/>
                <a:latin typeface="+mn-lt"/>
                <a:ea typeface="+mn-ea"/>
                <a:cs typeface="+mn-cs"/>
              </a:rPr>
              <a:t>docs.microsoft.com</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us/azure/application-insights/app-insights-app-map</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7D3B7E-72DE-8848-9B1F-1B342C0533AC}" type="slidenum">
              <a:rPr lang="en-US" smtClean="0"/>
              <a:t>22</a:t>
            </a:fld>
            <a:endParaRPr lang="en-US"/>
          </a:p>
        </p:txBody>
      </p:sp>
    </p:spTree>
    <p:extLst>
      <p:ext uri="{BB962C8B-B14F-4D97-AF65-F5344CB8AC3E}">
        <p14:creationId xmlns:p14="http://schemas.microsoft.com/office/powerpoint/2010/main" val="81423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571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3070586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41551275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884657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1848838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1664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578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60813" defTabSz="91404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defTabSz="915300">
              <a:defRPr/>
            </a:pPr>
            <a:fld id="{E74353ED-ACB2-44BF-A903-985B0AF962B7}" type="datetime1">
              <a:rPr lang="en-US" smtClean="0">
                <a:solidFill>
                  <a:prstClr val="black"/>
                </a:solidFill>
                <a:latin typeface="Segoe UI" pitchFamily="34" charset="0"/>
              </a:rPr>
              <a:pPr defTabSz="915300">
                <a:defRPr/>
              </a:pPr>
              <a:t>5/15/2018</a:t>
            </a:fld>
            <a:endParaRPr lang="en-US">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15300">
              <a:defRPr/>
            </a:pPr>
            <a:fld id="{B4008EB6-D09E-4580-8CD6-DDB14511944F}" type="slidenum">
              <a:rPr lang="en-US" smtClean="0">
                <a:solidFill>
                  <a:prstClr val="black"/>
                </a:solidFill>
                <a:latin typeface="Segoe UI" pitchFamily="34" charset="0"/>
              </a:rPr>
              <a:pPr defTabSz="915300">
                <a:defRPr/>
              </a:pPr>
              <a:t>3</a:t>
            </a:fld>
            <a:endParaRPr lang="en-US">
              <a:solidFill>
                <a:prstClr val="black"/>
              </a:solidFill>
              <a:latin typeface="Segoe UI" pitchFamily="34" charset="0"/>
            </a:endParaRPr>
          </a:p>
        </p:txBody>
      </p:sp>
      <p:sp>
        <p:nvSpPr>
          <p:cNvPr id="7" name="TextBox 6"/>
          <p:cNvSpPr txBox="1"/>
          <p:nvPr>
            <p:custDataLst>
              <p:tags r:id="rId1"/>
            </p:custDataLst>
          </p:nvPr>
        </p:nvSpPr>
        <p:spPr>
          <a:xfrm>
            <a:off x="0" y="0"/>
            <a:ext cx="3727174" cy="367605"/>
          </a:xfrm>
          <a:prstGeom prst="rect">
            <a:avLst/>
          </a:prstGeom>
          <a:noFill/>
        </p:spPr>
        <p:txBody>
          <a:bodyPr vert="horz" lIns="89730" tIns="44865" rIns="89730" bIns="44865" rtlCol="0">
            <a:spAutoFit/>
          </a:bodyPr>
          <a:lstStyle/>
          <a:p>
            <a:pPr defTabSz="915300">
              <a:defRPr/>
            </a:pPr>
            <a:endParaRPr lang="en-US">
              <a:solidFill>
                <a:prstClr val="black"/>
              </a:solidFill>
            </a:endParaRPr>
          </a:p>
        </p:txBody>
      </p:sp>
    </p:spTree>
    <p:extLst>
      <p:ext uri="{BB962C8B-B14F-4D97-AF65-F5344CB8AC3E}">
        <p14:creationId xmlns:p14="http://schemas.microsoft.com/office/powerpoint/2010/main" val="14325610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6034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480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3041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8959694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3157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4880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625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3048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Automation is SaaS applic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automate processes with runbooks and manage configuration changes to Windows and Linux systems </a:t>
            </a:r>
            <a:r>
              <a:rPr lang="en-US" sz="1200" b="1" i="0" kern="1200" dirty="0">
                <a:solidFill>
                  <a:schemeClr val="tx1"/>
                </a:solidFill>
                <a:effectLst/>
                <a:latin typeface="+mn-lt"/>
                <a:ea typeface="+mn-ea"/>
                <a:cs typeface="+mn-cs"/>
              </a:rPr>
              <a:t>using</a:t>
            </a:r>
            <a:r>
              <a:rPr lang="en-US" sz="1200" b="0" i="0" kern="1200" dirty="0">
                <a:solidFill>
                  <a:schemeClr val="tx1"/>
                </a:solidFill>
                <a:effectLst/>
                <a:latin typeface="+mn-lt"/>
                <a:ea typeface="+mn-ea"/>
                <a:cs typeface="+mn-cs"/>
              </a:rPr>
              <a:t> Desired State Configuration (DSC) in Az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Support other cloud services, or on-premi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unbooks that you run in Azure are executed on Automation sandbox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o automate the deployment and management of resources in your local datacenter or other cloud services, after creating an Automation account, you can designate one or more machines to run the </a:t>
            </a:r>
            <a:r>
              <a:rPr lang="en-US" sz="1200" b="0" i="0" u="none" strike="noStrike" kern="1200" dirty="0">
                <a:solidFill>
                  <a:schemeClr val="tx1"/>
                </a:solidFill>
                <a:effectLst/>
                <a:latin typeface="+mn-lt"/>
                <a:ea typeface="+mn-ea"/>
                <a:cs typeface="+mn-cs"/>
                <a:hlinkClick r:id="rId3"/>
              </a:rPr>
              <a:t>Hybrid Runbook Worker (HRW)</a:t>
            </a:r>
            <a:r>
              <a:rPr lang="en-US" sz="1200" b="0" i="0" kern="1200" dirty="0">
                <a:solidFill>
                  <a:schemeClr val="tx1"/>
                </a:solidFill>
                <a:effectLst/>
                <a:latin typeface="+mn-lt"/>
                <a:ea typeface="+mn-ea"/>
                <a:cs typeface="+mn-cs"/>
              </a:rPr>
              <a:t> ro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Each HRW requires the Microsoft Management Agent with a connection to </a:t>
            </a:r>
            <a:r>
              <a:rPr lang="en-US" sz="1200" b="1" i="0" kern="1200" dirty="0">
                <a:solidFill>
                  <a:schemeClr val="tx1"/>
                </a:solidFill>
                <a:effectLst/>
                <a:latin typeface="+mn-lt"/>
                <a:ea typeface="+mn-ea"/>
                <a:cs typeface="+mn-cs"/>
              </a:rPr>
              <a:t>a Log Analytics </a:t>
            </a:r>
            <a:r>
              <a:rPr lang="en-US" sz="1200" b="0" i="0" kern="1200" dirty="0">
                <a:solidFill>
                  <a:schemeClr val="tx1"/>
                </a:solidFill>
                <a:effectLst/>
                <a:latin typeface="+mn-lt"/>
                <a:ea typeface="+mn-ea"/>
                <a:cs typeface="+mn-cs"/>
              </a:rPr>
              <a:t>workspace and an </a:t>
            </a:r>
            <a:r>
              <a:rPr lang="en-US" sz="1200" b="1" i="0" kern="1200" dirty="0">
                <a:solidFill>
                  <a:schemeClr val="tx1"/>
                </a:solidFill>
                <a:effectLst/>
                <a:latin typeface="+mn-lt"/>
                <a:ea typeface="+mn-ea"/>
                <a:cs typeface="+mn-cs"/>
              </a:rPr>
              <a:t>Automation accou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Log Analytics is used to bootstrap the installation</a:t>
            </a:r>
            <a:r>
              <a:rPr lang="en-US" sz="1200" b="0" i="0" kern="1200" dirty="0">
                <a:solidFill>
                  <a:schemeClr val="tx1"/>
                </a:solidFill>
                <a:effectLst/>
                <a:latin typeface="+mn-lt"/>
                <a:ea typeface="+mn-ea"/>
                <a:cs typeface="+mn-cs"/>
              </a:rPr>
              <a:t>, maintain the Microsoft Management Agent, and monitor the functionality of the HRW.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delivery of runbooks and the instruction to run them are performed by Azure Auto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You can deploy multiple HRW to provide</a:t>
            </a:r>
            <a:r>
              <a:rPr lang="en-US" sz="1200" b="1" i="0" kern="1200" dirty="0">
                <a:solidFill>
                  <a:schemeClr val="tx1"/>
                </a:solidFill>
                <a:effectLst/>
                <a:latin typeface="+mn-lt"/>
                <a:ea typeface="+mn-ea"/>
                <a:cs typeface="+mn-cs"/>
              </a:rPr>
              <a:t> high availability for your runbooks</a:t>
            </a:r>
            <a:r>
              <a:rPr lang="en-US" sz="1200" b="0" i="0" kern="1200" dirty="0">
                <a:solidFill>
                  <a:schemeClr val="tx1"/>
                </a:solidFill>
                <a:effectLst/>
                <a:latin typeface="+mn-lt"/>
                <a:ea typeface="+mn-ea"/>
                <a:cs typeface="+mn-cs"/>
              </a:rPr>
              <a:t>, load balance runbook job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nd in some cases </a:t>
            </a:r>
            <a:r>
              <a:rPr lang="en-US" sz="1200" b="1" i="0" kern="1200" dirty="0">
                <a:solidFill>
                  <a:schemeClr val="tx1"/>
                </a:solidFill>
                <a:effectLst/>
                <a:latin typeface="+mn-lt"/>
                <a:ea typeface="+mn-ea"/>
                <a:cs typeface="+mn-cs"/>
              </a:rPr>
              <a:t>dedicate them for particular workloads or environments</a:t>
            </a:r>
            <a:r>
              <a:rPr lang="en-US" sz="1200" b="0" i="0" kern="120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574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12:1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06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1568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0739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1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9706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1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23096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5/1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1852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5</a:t>
            </a:fld>
            <a:endParaRPr lang="en-US"/>
          </a:p>
        </p:txBody>
      </p:sp>
    </p:spTree>
    <p:extLst>
      <p:ext uri="{BB962C8B-B14F-4D97-AF65-F5344CB8AC3E}">
        <p14:creationId xmlns:p14="http://schemas.microsoft.com/office/powerpoint/2010/main" val="31192580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event-grid/</a:t>
            </a:r>
          </a:p>
        </p:txBody>
      </p:sp>
      <p:sp>
        <p:nvSpPr>
          <p:cNvPr id="4" name="Slide Number Placeholder 3"/>
          <p:cNvSpPr>
            <a:spLocks noGrp="1"/>
          </p:cNvSpPr>
          <p:nvPr>
            <p:ph type="sldNum" sz="quarter" idx="10"/>
          </p:nvPr>
        </p:nvSpPr>
        <p:spPr/>
        <p:txBody>
          <a:bodyPr/>
          <a:lstStyle/>
          <a:p>
            <a:fld id="{C7CB4754-E6B3-49E8-AEEE-D97351DB0394}" type="slidenum">
              <a:rPr lang="en-US" smtClean="0"/>
              <a:t>46</a:t>
            </a:fld>
            <a:endParaRPr lang="en-US"/>
          </a:p>
        </p:txBody>
      </p:sp>
    </p:spTree>
    <p:extLst>
      <p:ext uri="{BB962C8B-B14F-4D97-AF65-F5344CB8AC3E}">
        <p14:creationId xmlns:p14="http://schemas.microsoft.com/office/powerpoint/2010/main" val="37233998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ar Real Tim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Sub-second end-to-end latency in the </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99</a:t>
            </a:r>
            <a:r>
              <a:rPr lang="en-US" b="1" baseline="30000"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th</a:t>
            </a: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 percentile</a:t>
            </a:r>
          </a:p>
          <a:p>
            <a:endParaRPr lang="en-US" dirty="0"/>
          </a:p>
          <a:p>
            <a:r>
              <a:rPr lang="en-US" dirty="0"/>
              <a:t>Massive Scale Ou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10,000,000</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events per second per region</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ighly</a:t>
            </a:r>
            <a:r>
              <a:rPr lang="en-US" baseline="0" dirty="0"/>
              <a:t> Reliability</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gradFill>
                  <a:gsLst>
                    <a:gs pos="12360">
                      <a:schemeClr val="bg1"/>
                    </a:gs>
                    <a:gs pos="51000">
                      <a:schemeClr val="bg1"/>
                    </a:gs>
                  </a:gsLst>
                  <a:lin ang="5400000" scaled="0"/>
                </a:gradFill>
                <a:latin typeface="Segoe UI" panose="020B0502040204020203" pitchFamily="34" charset="0"/>
                <a:cs typeface="Segoe UI" panose="020B0502040204020203" pitchFamily="34" charset="0"/>
              </a:rPr>
              <a:t>24-hour</a:t>
            </a:r>
            <a:r>
              <a:rPr lang="en-US" dirty="0">
                <a:gradFill>
                  <a:gsLst>
                    <a:gs pos="12360">
                      <a:schemeClr val="bg1"/>
                    </a:gs>
                    <a:gs pos="51000">
                      <a:schemeClr val="bg1"/>
                    </a:gs>
                  </a:gsLst>
                  <a:lin ang="5400000" scaled="0"/>
                </a:gradFill>
                <a:latin typeface="Segoe UI Semilight" panose="020B0402040204020203" pitchFamily="34" charset="0"/>
                <a:cs typeface="Segoe UI Semilight" panose="020B0402040204020203" pitchFamily="34" charset="0"/>
              </a:rPr>
              <a:t> retry with exponential back off for events not delivered</a:t>
            </a:r>
            <a:endParaRPr lang="en-US" dirty="0"/>
          </a:p>
        </p:txBody>
      </p:sp>
      <p:sp>
        <p:nvSpPr>
          <p:cNvPr id="4" name="Slide Number Placeholder 3"/>
          <p:cNvSpPr>
            <a:spLocks noGrp="1"/>
          </p:cNvSpPr>
          <p:nvPr>
            <p:ph type="sldNum" sz="quarter" idx="10"/>
          </p:nvPr>
        </p:nvSpPr>
        <p:spPr/>
        <p:txBody>
          <a:bodyPr/>
          <a:lstStyle/>
          <a:p>
            <a:fld id="{C7CB4754-E6B3-49E8-AEEE-D97351DB0394}" type="slidenum">
              <a:rPr lang="en-US" smtClean="0"/>
              <a:t>47</a:t>
            </a:fld>
            <a:endParaRPr lang="en-US"/>
          </a:p>
        </p:txBody>
      </p:sp>
    </p:spTree>
    <p:extLst>
      <p:ext uri="{BB962C8B-B14F-4D97-AF65-F5344CB8AC3E}">
        <p14:creationId xmlns:p14="http://schemas.microsoft.com/office/powerpoint/2010/main" val="24598995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CB4754-E6B3-49E8-AEEE-D97351DB0394}" type="slidenum">
              <a:rPr lang="en-US" smtClean="0"/>
              <a:t>48</a:t>
            </a:fld>
            <a:endParaRPr lang="en-US"/>
          </a:p>
        </p:txBody>
      </p:sp>
    </p:spTree>
    <p:extLst>
      <p:ext uri="{BB962C8B-B14F-4D97-AF65-F5344CB8AC3E}">
        <p14:creationId xmlns:p14="http://schemas.microsoft.com/office/powerpoint/2010/main" val="35513558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488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7000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2224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1020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4742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12:1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8908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9023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6</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1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9</a:t>
            </a:fld>
            <a:endParaRPr lang="en-US"/>
          </a:p>
        </p:txBody>
      </p:sp>
    </p:spTree>
    <p:extLst>
      <p:ext uri="{BB962C8B-B14F-4D97-AF65-F5344CB8AC3E}">
        <p14:creationId xmlns:p14="http://schemas.microsoft.com/office/powerpoint/2010/main" val="15225625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0302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12:1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941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kern="1200" dirty="0">
                <a:solidFill>
                  <a:schemeClr val="tx1"/>
                </a:solidFill>
                <a:effectLst/>
                <a:latin typeface="+mn-lt"/>
                <a:ea typeface="+mn-ea"/>
                <a:cs typeface="+mn-cs"/>
              </a:rPr>
              <a:t>Monitoring means different things to different people. While you might be focused just on application monitoring, there are cases where you might want to also look at infrastructure &amp; platform for correlations, and that is where “Azure Monitoring &amp; Analytics” provides an integrated consolidated solution.</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6DBE9B5-BE74-49B4-9719-3510B970FB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6709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12:1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446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2018 12:1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9682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3653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04819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7960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32375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74197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SOURCE GROUPS</a:t>
            </a:r>
          </a:p>
          <a:p>
            <a:pPr lvl="0"/>
            <a:r>
              <a:rPr lang="en-US" dirty="0"/>
              <a:t>Management Services</a:t>
            </a:r>
          </a:p>
          <a:p>
            <a:pPr lvl="1"/>
            <a:r>
              <a:rPr lang="en-US" dirty="0"/>
              <a:t>Automation Account</a:t>
            </a:r>
          </a:p>
          <a:p>
            <a:pPr lvl="1"/>
            <a:r>
              <a:rPr lang="en-US" dirty="0"/>
              <a:t>OMS Workspace</a:t>
            </a:r>
          </a:p>
          <a:p>
            <a:pPr lvl="1"/>
            <a:r>
              <a:rPr lang="en-US" dirty="0"/>
              <a:t>Custom Image</a:t>
            </a:r>
          </a:p>
          <a:p>
            <a:pPr lvl="1"/>
            <a:r>
              <a:rPr lang="en-US" dirty="0"/>
              <a:t>Azure DNS</a:t>
            </a:r>
          </a:p>
          <a:p>
            <a:pPr lvl="1"/>
            <a:r>
              <a:rPr lang="en-US" dirty="0"/>
              <a:t>Key Vault</a:t>
            </a:r>
          </a:p>
          <a:p>
            <a:pPr lvl="1"/>
            <a:r>
              <a:rPr lang="en-US" dirty="0"/>
              <a:t>Azure Backup</a:t>
            </a:r>
          </a:p>
          <a:p>
            <a:pPr lvl="1"/>
            <a:r>
              <a:rPr lang="en-US" dirty="0"/>
              <a:t>Azure Storage</a:t>
            </a:r>
          </a:p>
          <a:p>
            <a:pPr lvl="0"/>
            <a:r>
              <a:rPr lang="en-US" dirty="0"/>
              <a:t>Shared Services</a:t>
            </a:r>
          </a:p>
          <a:p>
            <a:pPr lvl="1"/>
            <a:r>
              <a:rPr lang="en-US" dirty="0"/>
              <a:t>Virtual Network</a:t>
            </a:r>
          </a:p>
          <a:p>
            <a:pPr lvl="1"/>
            <a:r>
              <a:rPr lang="en-US" dirty="0"/>
              <a:t>VPN Gateway</a:t>
            </a:r>
          </a:p>
          <a:p>
            <a:pPr lvl="1"/>
            <a:r>
              <a:rPr lang="en-US" dirty="0"/>
              <a:t>Virtual Machine</a:t>
            </a:r>
          </a:p>
          <a:p>
            <a:pPr lvl="1"/>
            <a:r>
              <a:rPr lang="en-US" dirty="0"/>
              <a:t>Azure Load Balancer</a:t>
            </a:r>
          </a:p>
          <a:p>
            <a:pPr lvl="0"/>
            <a:r>
              <a:rPr lang="en-US" dirty="0"/>
              <a:t>Sports League App</a:t>
            </a:r>
          </a:p>
          <a:p>
            <a:pPr lvl="1"/>
            <a:r>
              <a:rPr lang="en-US" dirty="0"/>
              <a:t>Virtual Network</a:t>
            </a:r>
          </a:p>
          <a:p>
            <a:pPr lvl="1"/>
            <a:r>
              <a:rPr lang="en-US" dirty="0"/>
              <a:t>VNET Peering</a:t>
            </a:r>
          </a:p>
          <a:p>
            <a:pPr lvl="1"/>
            <a:r>
              <a:rPr lang="en-US" dirty="0"/>
              <a:t>Application Gateway</a:t>
            </a:r>
          </a:p>
          <a:p>
            <a:pPr lvl="1"/>
            <a:r>
              <a:rPr lang="en-US" dirty="0"/>
              <a:t>Azure Load Balancer</a:t>
            </a:r>
          </a:p>
          <a:p>
            <a:pPr lvl="1"/>
            <a:r>
              <a:rPr lang="en-US" dirty="0"/>
              <a:t>Azure Storage</a:t>
            </a:r>
          </a:p>
          <a:p>
            <a:pPr lvl="1"/>
            <a:r>
              <a:rPr lang="en-US" dirty="0"/>
              <a:t>Virtual Machine</a:t>
            </a:r>
          </a:p>
          <a:p>
            <a:pPr lvl="1"/>
            <a:r>
              <a:rPr lang="en-US" dirty="0"/>
              <a:t>VM Scale Set</a:t>
            </a:r>
          </a:p>
          <a:p>
            <a:endParaRPr lang="en-US" dirty="0"/>
          </a:p>
          <a:p>
            <a:r>
              <a:rPr lang="en-US" dirty="0"/>
              <a:t>MANAGEMENT ROLES</a:t>
            </a:r>
          </a:p>
          <a:p>
            <a:pPr lvl="0"/>
            <a:r>
              <a:rPr lang="en-US" dirty="0"/>
              <a:t>Administrators</a:t>
            </a:r>
          </a:p>
          <a:p>
            <a:pPr lvl="1"/>
            <a:r>
              <a:rPr lang="en-US" dirty="0"/>
              <a:t>Account Access</a:t>
            </a:r>
          </a:p>
          <a:p>
            <a:pPr lvl="1"/>
            <a:r>
              <a:rPr lang="en-US" dirty="0"/>
              <a:t>Security Monitoring</a:t>
            </a:r>
          </a:p>
          <a:p>
            <a:pPr lvl="1"/>
            <a:r>
              <a:rPr lang="en-US" dirty="0"/>
              <a:t>Billing Management</a:t>
            </a:r>
          </a:p>
          <a:p>
            <a:pPr lvl="1"/>
            <a:r>
              <a:rPr lang="en-US" dirty="0"/>
              <a:t>Key Management</a:t>
            </a:r>
          </a:p>
          <a:p>
            <a:pPr lvl="0"/>
            <a:r>
              <a:rPr lang="en-US" dirty="0"/>
              <a:t>Network Contributors</a:t>
            </a:r>
          </a:p>
          <a:p>
            <a:pPr lvl="1"/>
            <a:r>
              <a:rPr lang="en-US" dirty="0"/>
              <a:t>Virtual Networks</a:t>
            </a:r>
          </a:p>
          <a:p>
            <a:pPr lvl="1"/>
            <a:r>
              <a:rPr lang="en-US" dirty="0"/>
              <a:t>Network Security</a:t>
            </a:r>
          </a:p>
          <a:p>
            <a:pPr lvl="1"/>
            <a:r>
              <a:rPr lang="en-US" dirty="0"/>
              <a:t>Hybrid Connectivity</a:t>
            </a:r>
          </a:p>
          <a:p>
            <a:pPr lvl="1"/>
            <a:r>
              <a:rPr lang="en-US" dirty="0"/>
              <a:t>Network Virtual Appliances</a:t>
            </a:r>
          </a:p>
          <a:p>
            <a:pPr lvl="0"/>
            <a:r>
              <a:rPr lang="en-US" dirty="0"/>
              <a:t>Infrastructure Contributors</a:t>
            </a:r>
          </a:p>
          <a:p>
            <a:pPr lvl="1"/>
            <a:r>
              <a:rPr lang="en-US" dirty="0"/>
              <a:t>Virtual Machines</a:t>
            </a:r>
          </a:p>
          <a:p>
            <a:pPr lvl="1"/>
            <a:r>
              <a:rPr lang="en-US" dirty="0"/>
              <a:t>Storage</a:t>
            </a:r>
          </a:p>
          <a:p>
            <a:pPr lvl="1"/>
            <a:r>
              <a:rPr lang="en-US" dirty="0"/>
              <a:t>Load Balancers</a:t>
            </a:r>
          </a:p>
          <a:p>
            <a:pPr lvl="1"/>
            <a:r>
              <a:rPr lang="en-US" dirty="0"/>
              <a:t>Custom Images</a:t>
            </a:r>
          </a:p>
          <a:p>
            <a:pPr lvl="1"/>
            <a:r>
              <a:rPr lang="en-US" dirty="0"/>
              <a:t>Performance Monitoring</a:t>
            </a:r>
          </a:p>
          <a:p>
            <a:pPr lvl="0"/>
            <a:r>
              <a:rPr lang="en-US" dirty="0"/>
              <a:t>BCDR Contributors</a:t>
            </a:r>
          </a:p>
          <a:p>
            <a:pPr lvl="1"/>
            <a:r>
              <a:rPr lang="en-US" dirty="0"/>
              <a:t>Data Backups</a:t>
            </a:r>
          </a:p>
          <a:p>
            <a:pPr lvl="1"/>
            <a:r>
              <a:rPr lang="en-US" dirty="0"/>
              <a:t>VM Backups</a:t>
            </a:r>
          </a:p>
          <a:p>
            <a:pPr lvl="1"/>
            <a:r>
              <a:rPr lang="en-US" dirty="0"/>
              <a:t>Workload Protection</a:t>
            </a:r>
          </a:p>
          <a:p>
            <a:pPr lvl="1"/>
            <a:r>
              <a:rPr lang="en-US" dirty="0"/>
              <a:t>Recovery Plan</a:t>
            </a:r>
          </a:p>
          <a:p>
            <a:pPr lvl="1"/>
            <a:r>
              <a:rPr lang="en-US" dirty="0"/>
              <a:t>Availability Monitoring</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65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r>
              <a:rPr lang="en-US" b="0" i="0" dirty="0">
                <a:solidFill>
                  <a:srgbClr val="FFFFFF"/>
                </a:solidFill>
                <a:effectLst/>
                <a:latin typeface="Segoe UI" panose="020B0502040204020203" pitchFamily="34" charset="0"/>
              </a:rPr>
              <a:t>Get the granular, up-to-date monitoring data you need—all in one place</a:t>
            </a:r>
          </a:p>
          <a:p>
            <a:pPr algn="l">
              <a:buFont typeface="Arial" panose="020B0604020202020204" pitchFamily="34" charset="0"/>
              <a:buChar char="•"/>
            </a:pPr>
            <a:r>
              <a:rPr lang="en-US" b="0" i="0" dirty="0">
                <a:solidFill>
                  <a:srgbClr val="FFFFFF"/>
                </a:solidFill>
                <a:effectLst/>
                <a:latin typeface="Segoe UI" panose="020B0502040204020203" pitchFamily="34" charset="0"/>
              </a:rPr>
              <a:t>Monitor your Azure resources with detailed logs</a:t>
            </a:r>
          </a:p>
          <a:p>
            <a:pPr algn="l">
              <a:buFont typeface="Arial" panose="020B0604020202020204" pitchFamily="34" charset="0"/>
              <a:buChar char="•"/>
            </a:pPr>
            <a:r>
              <a:rPr lang="en-US" b="0" i="0" dirty="0">
                <a:solidFill>
                  <a:srgbClr val="FFFFFF"/>
                </a:solidFill>
                <a:effectLst/>
                <a:latin typeface="Segoe UI" panose="020B0502040204020203" pitchFamily="34" charset="0"/>
              </a:rPr>
              <a:t>Set up alerts and take proactive, automated actions</a:t>
            </a:r>
          </a:p>
          <a:p>
            <a:pPr algn="l">
              <a:buFont typeface="Arial" panose="020B0604020202020204" pitchFamily="34" charset="0"/>
              <a:buChar char="•"/>
            </a:pPr>
            <a:r>
              <a:rPr lang="en-US" b="0" i="0" dirty="0">
                <a:solidFill>
                  <a:srgbClr val="FFFFFF"/>
                </a:solidFill>
                <a:effectLst/>
                <a:latin typeface="Segoe UI" panose="020B0502040204020203" pitchFamily="34" charset="0"/>
              </a:rPr>
              <a:t>Use flexible configuration and data consumption options</a:t>
            </a:r>
          </a:p>
          <a:p>
            <a:pPr algn="l">
              <a:buFont typeface="Arial" panose="020B0604020202020204" pitchFamily="34" charset="0"/>
              <a:buChar char="•"/>
            </a:pPr>
            <a:r>
              <a:rPr lang="en-US" b="0" i="0" dirty="0">
                <a:solidFill>
                  <a:srgbClr val="FFFFFF"/>
                </a:solidFill>
                <a:effectLst/>
                <a:latin typeface="Segoe UI" panose="020B0502040204020203" pitchFamily="34" charset="0"/>
              </a:rPr>
              <a:t>Integrate with analytics and notification tools familiar to you</a:t>
            </a:r>
          </a:p>
          <a:p>
            <a:pPr algn="l"/>
            <a:endParaRPr lang="en-US" sz="1200" b="0" i="0" kern="1200" dirty="0">
              <a:solidFill>
                <a:schemeClr val="tx1"/>
              </a:solidFill>
              <a:effectLst/>
              <a:latin typeface="+mn-lt"/>
              <a:ea typeface="+mn-ea"/>
              <a:cs typeface="+mn-cs"/>
            </a:endParaRPr>
          </a:p>
          <a:p>
            <a:pPr algn="l"/>
            <a:endParaRPr lang="en-US" sz="1200" b="0" i="0" kern="1200" dirty="0">
              <a:solidFill>
                <a:schemeClr val="tx1"/>
              </a:solidFill>
              <a:effectLst/>
              <a:latin typeface="+mn-lt"/>
              <a:ea typeface="+mn-ea"/>
              <a:cs typeface="+mn-cs"/>
            </a:endParaRPr>
          </a:p>
          <a:p>
            <a:pPr algn="l"/>
            <a:r>
              <a:rPr lang="en-US" sz="1200" b="0" i="0" kern="1200" dirty="0">
                <a:solidFill>
                  <a:schemeClr val="tx1"/>
                </a:solidFill>
                <a:effectLst/>
                <a:latin typeface="+mn-lt"/>
                <a:ea typeface="+mn-ea"/>
                <a:cs typeface="+mn-cs"/>
              </a:rPr>
              <a:t>the Azure service that operates as a consolidated pipeline for all monitoring data from Azure services. It gives you access to performance metrics and events that describe the operation of the Azure infrastructure and any Azure services you are using. Azure Monitor is a monitoring data pipeline for your Azure environment, and offers that data directly into Log Analytics as well as 3rd party tools where you can gain insight into that data and combine it with data from on premises or other cloud resourc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372264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641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algn="l"/>
            <a:r>
              <a:rPr lang="en-US" b="0" i="0" dirty="0">
                <a:solidFill>
                  <a:srgbClr val="FFFFFF"/>
                </a:solidFill>
                <a:effectLst/>
                <a:latin typeface="Segoe UI" panose="020B0502040204020203" pitchFamily="34" charset="0"/>
              </a:rPr>
              <a:t>Transform your log data into insights and action</a:t>
            </a:r>
          </a:p>
          <a:p>
            <a:pPr algn="l">
              <a:buFont typeface="Arial" panose="020B0604020202020204" pitchFamily="34" charset="0"/>
              <a:buChar char="•"/>
            </a:pPr>
            <a:r>
              <a:rPr lang="en-US" b="0" i="0" dirty="0">
                <a:solidFill>
                  <a:srgbClr val="FFFFFF"/>
                </a:solidFill>
                <a:effectLst/>
                <a:latin typeface="Segoe UI" panose="020B0502040204020203" pitchFamily="34" charset="0"/>
              </a:rPr>
              <a:t>Quickly connect and collect log data from multiple sources</a:t>
            </a:r>
          </a:p>
          <a:p>
            <a:pPr algn="l">
              <a:buFont typeface="Arial" panose="020B0604020202020204" pitchFamily="34" charset="0"/>
              <a:buChar char="•"/>
            </a:pPr>
            <a:r>
              <a:rPr lang="en-US" b="0" i="0" dirty="0">
                <a:solidFill>
                  <a:srgbClr val="FFFFFF"/>
                </a:solidFill>
                <a:effectLst/>
                <a:latin typeface="Segoe UI" panose="020B0502040204020203" pitchFamily="34" charset="0"/>
              </a:rPr>
              <a:t>Correlate and analyze using powerful machine learning constructs</a:t>
            </a:r>
          </a:p>
          <a:p>
            <a:pPr algn="l">
              <a:buFont typeface="Arial" panose="020B0604020202020204" pitchFamily="34" charset="0"/>
              <a:buChar char="•"/>
            </a:pPr>
            <a:r>
              <a:rPr lang="en-US" b="0" i="0" dirty="0">
                <a:solidFill>
                  <a:srgbClr val="FFFFFF"/>
                </a:solidFill>
                <a:effectLst/>
                <a:latin typeface="Segoe UI" panose="020B0502040204020203" pitchFamily="34" charset="0"/>
              </a:rPr>
              <a:t>Search and query interactively using an expressive language</a:t>
            </a:r>
          </a:p>
          <a:p>
            <a:pPr algn="l">
              <a:buFont typeface="Arial" panose="020B0604020202020204" pitchFamily="34" charset="0"/>
              <a:buChar char="•"/>
            </a:pPr>
            <a:r>
              <a:rPr lang="en-US" b="0" i="0" dirty="0">
                <a:solidFill>
                  <a:srgbClr val="FFFFFF"/>
                </a:solidFill>
                <a:effectLst/>
                <a:latin typeface="Segoe UI" panose="020B0502040204020203" pitchFamily="34" charset="0"/>
              </a:rPr>
              <a:t>Develop deep insights using purpose-built management solutions</a:t>
            </a:r>
          </a:p>
          <a:p>
            <a:pPr algn="l">
              <a:buFont typeface="Arial" panose="020B0604020202020204" pitchFamily="34" charset="0"/>
              <a:buNone/>
            </a:pPr>
            <a:endParaRPr lang="en-US" sz="1200" b="0" i="0" kern="1200" dirty="0">
              <a:solidFill>
                <a:schemeClr val="tx1"/>
              </a:solidFill>
              <a:effectLst/>
              <a:latin typeface="+mn-lt"/>
              <a:ea typeface="+mn-ea"/>
              <a:cs typeface="+mn-cs"/>
            </a:endParaRPr>
          </a:p>
          <a:p>
            <a:pPr algn="l">
              <a:buFont typeface="Arial" panose="020B0604020202020204" pitchFamily="34" charset="0"/>
              <a:buNone/>
            </a:pPr>
            <a:r>
              <a:rPr lang="en-US" sz="1200" b="0" i="0" kern="1200" dirty="0">
                <a:solidFill>
                  <a:schemeClr val="tx1"/>
                </a:solidFill>
                <a:effectLst/>
                <a:latin typeface="+mn-lt"/>
                <a:ea typeface="+mn-ea"/>
                <a:cs typeface="+mn-cs"/>
              </a:rPr>
              <a:t>formerly known as OMS Log Analytics, is an Azure service that ingests log and metric data from Azure services (via Azure Monitor), Azure VMs, and on-premises or other cloud infrastructure and offers flexible log search and out-of-the box analytics on top of this data. It provides rich tools to analyze data across sources, allows complex queries across all logs, and can proactively alert on specified conditions. You can even collect custom data into its central repository so you can query and visualize it. You can also take advantage of Log </a:t>
            </a:r>
            <a:r>
              <a:rPr lang="en-US" sz="1200" b="0" i="0" kern="1200" dirty="0" err="1">
                <a:solidFill>
                  <a:schemeClr val="tx1"/>
                </a:solidFill>
                <a:effectLst/>
                <a:latin typeface="+mn-lt"/>
                <a:ea typeface="+mn-ea"/>
                <a:cs typeface="+mn-cs"/>
              </a:rPr>
              <a:t>Analytic's</a:t>
            </a:r>
            <a:r>
              <a:rPr lang="en-US" sz="1200" b="0" i="0" kern="1200" dirty="0">
                <a:solidFill>
                  <a:schemeClr val="tx1"/>
                </a:solidFill>
                <a:effectLst/>
                <a:latin typeface="+mn-lt"/>
                <a:ea typeface="+mn-ea"/>
                <a:cs typeface="+mn-cs"/>
              </a:rPr>
              <a:t> built-in solutions to immediately gain insights into the security and functionality of your infrastructure.</a:t>
            </a:r>
            <a:endParaRPr lang="en-US" b="0" i="0" dirty="0">
              <a:solidFill>
                <a:srgbClr val="FFFFFF"/>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280773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3470657288"/>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50098" y="296899"/>
            <a:ext cx="11613787" cy="91757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321932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15/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104972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Edit Master text styles</a:t>
            </a:r>
          </a:p>
        </p:txBody>
      </p:sp>
      <p:sp>
        <p:nvSpPr>
          <p:cNvPr id="5" name="Rectangle 4"/>
          <p:cNvSpPr/>
          <p:nvPr userDrawn="1"/>
        </p:nvSpPr>
        <p:spPr>
          <a:xfrm>
            <a:off x="273456" y="354799"/>
            <a:ext cx="3783729"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04069"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509596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039477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5171" r:id="rId1"/>
    <p:sldLayoutId id="2147484170" r:id="rId2"/>
    <p:sldLayoutId id="2147484167" r:id="rId3"/>
    <p:sldLayoutId id="2147484087" r:id="rId4"/>
    <p:sldLayoutId id="2147484098" r:id="rId5"/>
    <p:sldLayoutId id="2147484107" r:id="rId6"/>
    <p:sldLayoutId id="2147484086" r:id="rId7"/>
    <p:sldLayoutId id="2147484099" r:id="rId8"/>
    <p:sldLayoutId id="2147484100" r:id="rId9"/>
    <p:sldLayoutId id="2147484106" r:id="rId10"/>
    <p:sldLayoutId id="2147484089" r:id="rId11"/>
    <p:sldLayoutId id="2147484092" r:id="rId12"/>
    <p:sldLayoutId id="2147484105" r:id="rId13"/>
    <p:sldLayoutId id="2147484182" r:id="rId14"/>
    <p:sldLayoutId id="2147484130" r:id="rId15"/>
    <p:sldLayoutId id="2147484101" r:id="rId16"/>
    <p:sldLayoutId id="2147484102" r:id="rId17"/>
    <p:sldLayoutId id="2147484189" r:id="rId18"/>
    <p:sldLayoutId id="2147484093" r:id="rId19"/>
    <p:sldLayoutId id="2147484127" r:id="rId20"/>
    <p:sldLayoutId id="2147484128" r:id="rId21"/>
    <p:sldLayoutId id="2147484129" r:id="rId22"/>
    <p:sldLayoutId id="2147484094" r:id="rId23"/>
    <p:sldLayoutId id="2147484195" r:id="rId24"/>
    <p:sldLayoutId id="2147484096" r:id="rId25"/>
    <p:sldLayoutId id="2147484310" r:id="rId26"/>
    <p:sldLayoutId id="2147485137" r:id="rId27"/>
    <p:sldLayoutId id="2147485168" r:id="rId28"/>
    <p:sldLayoutId id="2147485173" r:id="rId29"/>
    <p:sldLayoutId id="2147485089" r:id="rId3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35.png"/><Relationship Id="rId7" Type="http://schemas.openxmlformats.org/officeDocument/2006/relationships/diagramColors" Target="../diagrams/colors6.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QuickStyle" Target="../diagrams/quickStyle6.xml"/><Relationship Id="rId11" Type="http://schemas.openxmlformats.org/officeDocument/2006/relationships/hyperlink" Target="https://docs.microsoft.com/en-us/azure/log-analytics/log-analytics-manage-access" TargetMode="External"/><Relationship Id="rId5" Type="http://schemas.openxmlformats.org/officeDocument/2006/relationships/diagramLayout" Target="../diagrams/layout6.xml"/><Relationship Id="rId10" Type="http://schemas.openxmlformats.org/officeDocument/2006/relationships/image" Target="../media/image36.emf"/><Relationship Id="rId4" Type="http://schemas.openxmlformats.org/officeDocument/2006/relationships/diagramData" Target="../diagrams/data6.xml"/><Relationship Id="rId9" Type="http://schemas.openxmlformats.org/officeDocument/2006/relationships/hyperlink" Target="https://docs.microsoft.com/en-us/azure/log-analytics/log-analytics-windows-agents"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hyperlink" Target="https://docs.microsoft.com/en-us/azure/log-analytics/log-analytics-data-sources-iis-logs" TargetMode="Externa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hyperlink" Target="https://docs.microsoft.com/en-us/azure/log-analytics/log-analytics-data-sources-performance-counters"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diagramColors" Target="../diagrams/colors7.xml"/><Relationship Id="rId11" Type="http://schemas.openxmlformats.org/officeDocument/2006/relationships/hyperlink" Target="https://docs.microsoft.com/en-us/azure/log-analytics/log-analytics-data-sources-windows-events" TargetMode="External"/><Relationship Id="rId5" Type="http://schemas.openxmlformats.org/officeDocument/2006/relationships/diagramQuickStyle" Target="../diagrams/quickStyle7.xml"/><Relationship Id="rId15" Type="http://schemas.openxmlformats.org/officeDocument/2006/relationships/hyperlink" Target="https://docs.microsoft.com/en-us/azure/log-analytics/log-analytics-data-sources-json" TargetMode="External"/><Relationship Id="rId10" Type="http://schemas.openxmlformats.org/officeDocument/2006/relationships/image" Target="../media/image36.emf"/><Relationship Id="rId4" Type="http://schemas.openxmlformats.org/officeDocument/2006/relationships/diagramLayout" Target="../diagrams/layout7.xml"/><Relationship Id="rId9" Type="http://schemas.openxmlformats.org/officeDocument/2006/relationships/hyperlink" Target="https://docs.microsoft.com/en-us/azure/log-analytics/log-analytics-data-sources-custom-logs" TargetMode="External"/><Relationship Id="rId14" Type="http://schemas.openxmlformats.org/officeDocument/2006/relationships/hyperlink" Target="https://docs.microsoft.com/en-us/azure/log-analytics/log-analytics-data-sources-syslog" TargetMode="Externa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38.png"/><Relationship Id="rId7" Type="http://schemas.openxmlformats.org/officeDocument/2006/relationships/diagramQuickStyle" Target="../diagrams/quickStyle8.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Layout" Target="../diagrams/layout8.xml"/><Relationship Id="rId11" Type="http://schemas.openxmlformats.org/officeDocument/2006/relationships/image" Target="../media/image36.emf"/><Relationship Id="rId5" Type="http://schemas.openxmlformats.org/officeDocument/2006/relationships/diagramData" Target="../diagrams/data8.xml"/><Relationship Id="rId10" Type="http://schemas.openxmlformats.org/officeDocument/2006/relationships/hyperlink" Target="https://docs.loganalytics.io/index" TargetMode="External"/><Relationship Id="rId4" Type="http://schemas.microsoft.com/office/2007/relationships/hdphoto" Target="../media/hdphoto2.wdp"/><Relationship Id="rId9" Type="http://schemas.microsoft.com/office/2007/relationships/diagramDrawing" Target="../diagrams/drawing8.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6.emf"/><Relationship Id="rId4" Type="http://schemas.openxmlformats.org/officeDocument/2006/relationships/hyperlink" Target="https://docs.microsoft.com/en-us/azure/log-analytics/log-analytics-add-solutions#offers-and-pricing-tiers"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docs.microsoft.com/en-us/azure/operations-management-suite/oms-solution-update-management" TargetMode="External"/><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6.emf"/></Relationships>
</file>

<file path=ppt/slides/_rels/slide16.xml.rels><?xml version="1.0" encoding="UTF-8" standalone="yes"?>
<Relationships xmlns="http://schemas.openxmlformats.org/package/2006/relationships"><Relationship Id="rId3" Type="http://schemas.openxmlformats.org/officeDocument/2006/relationships/hyperlink" Target="https://docs.microsoft.com/en-us/azure/operations-management-suite/operations-management-suite-walkthrough-servicemap"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microsoft.com/office/2007/relationships/hdphoto" Target="../media/hdphoto3.wdp"/><Relationship Id="rId5" Type="http://schemas.openxmlformats.org/officeDocument/2006/relationships/image" Target="../media/image43.png"/><Relationship Id="rId4" Type="http://schemas.openxmlformats.org/officeDocument/2006/relationships/image" Target="../media/image36.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51.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21.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hyperlink" Target="https://aka.ms/azureresourcehealth"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hyperlink" Target="https://aka.ms/azureadvisor"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hyperlink" Target="https://aka.ms/azactivitylog"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azure/network-watcher/network-watcher-monitoring-overview" TargetMode="External"/><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58.png"/><Relationship Id="rId7" Type="http://schemas.openxmlformats.org/officeDocument/2006/relationships/diagramColors" Target="../diagrams/colors11.xml"/><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59.png"/><Relationship Id="rId7" Type="http://schemas.openxmlformats.org/officeDocument/2006/relationships/diagramQuickStyle" Target="../diagrams/quickStyle12.xml"/><Relationship Id="rId2" Type="http://schemas.openxmlformats.org/officeDocument/2006/relationships/notesSlide" Target="../notesSlides/notesSlide30.xml"/><Relationship Id="rId1" Type="http://schemas.openxmlformats.org/officeDocument/2006/relationships/slideLayout" Target="../slideLayouts/slideLayout12.xml"/><Relationship Id="rId6" Type="http://schemas.openxmlformats.org/officeDocument/2006/relationships/diagramLayout" Target="../diagrams/layout12.xml"/><Relationship Id="rId5" Type="http://schemas.openxmlformats.org/officeDocument/2006/relationships/diagramData" Target="../diagrams/data12.xml"/><Relationship Id="rId4" Type="http://schemas.microsoft.com/office/2007/relationships/hdphoto" Target="../media/hdphoto4.wdp"/><Relationship Id="rId9" Type="http://schemas.microsoft.com/office/2007/relationships/diagramDrawing" Target="../diagrams/drawing12.xml"/></Relationships>
</file>

<file path=ppt/slides/_rels/slide3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hyperlink" Target="https://docs.microsoft.com/azure/automation/" TargetMode="External"/><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3" Type="http://schemas.openxmlformats.org/officeDocument/2006/relationships/image" Target="../media/image10.png"/><Relationship Id="rId21" Type="http://schemas.openxmlformats.org/officeDocument/2006/relationships/diagramQuickStyle" Target="../diagrams/quickStyle4.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 Type="http://schemas.openxmlformats.org/officeDocument/2006/relationships/notesSlide" Target="../notesSlides/notesSlide4.xml"/><Relationship Id="rId16" Type="http://schemas.openxmlformats.org/officeDocument/2006/relationships/diagramQuickStyle" Target="../diagrams/quickStyle3.xml"/><Relationship Id="rId20" Type="http://schemas.openxmlformats.org/officeDocument/2006/relationships/diagramLayout" Target="../diagrams/layout4.xml"/><Relationship Id="rId1" Type="http://schemas.openxmlformats.org/officeDocument/2006/relationships/slideLayout" Target="../slideLayouts/slideLayout12.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diagramLayout" Target="../diagrams/layout3.xml"/><Relationship Id="rId23" Type="http://schemas.microsoft.com/office/2007/relationships/diagramDrawing" Target="../diagrams/drawing4.xml"/><Relationship Id="rId10" Type="http://schemas.openxmlformats.org/officeDocument/2006/relationships/diagramLayout" Target="../diagrams/layout2.xml"/><Relationship Id="rId19" Type="http://schemas.openxmlformats.org/officeDocument/2006/relationships/diagramData" Target="../diagrams/data4.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 Id="rId22" Type="http://schemas.openxmlformats.org/officeDocument/2006/relationships/diagramColors" Target="../diagrams/colors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63.png"/><Relationship Id="rId7" Type="http://schemas.openxmlformats.org/officeDocument/2006/relationships/diagramColors" Target="../diagrams/colors15.xml"/><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2.xml.rels><?xml version="1.0" encoding="UTF-8" standalone="yes"?>
<Relationships xmlns="http://schemas.openxmlformats.org/package/2006/relationships"><Relationship Id="rId3" Type="http://schemas.openxmlformats.org/officeDocument/2006/relationships/hyperlink" Target="https://www.chef.io/solutions" TargetMode="External"/><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3" Type="http://schemas.openxmlformats.org/officeDocument/2006/relationships/hyperlink" Target="https://puppet.com/solutions/configuration-management"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65.png"/></Relationships>
</file>

<file path=ppt/slides/_rels/slide44.xml.rels><?xml version="1.0" encoding="UTF-8" standalone="yes"?>
<Relationships xmlns="http://schemas.openxmlformats.org/package/2006/relationships"><Relationship Id="rId3" Type="http://schemas.openxmlformats.org/officeDocument/2006/relationships/hyperlink" Target="https://docs.microsoft.com/powershell/dsc/overview" TargetMode="External"/><Relationship Id="rId2" Type="http://schemas.openxmlformats.org/officeDocument/2006/relationships/notesSlide" Target="../notesSlides/notesSlide44.xml"/><Relationship Id="rId1" Type="http://schemas.openxmlformats.org/officeDocument/2006/relationships/slideLayout" Target="../slideLayouts/slideLayout19.xml"/><Relationship Id="rId4" Type="http://schemas.openxmlformats.org/officeDocument/2006/relationships/hyperlink" Target="https://docs.microsoft.com/en-us/azure/automation/automation-dsc-overview"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azure/event-grid" TargetMode="External"/><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emf"/><Relationship Id="rId9" Type="http://schemas.openxmlformats.org/officeDocument/2006/relationships/image" Target="../media/image73.png"/></Relationships>
</file>

<file path=ppt/slides/_rels/slide4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8.xml"/><Relationship Id="rId1" Type="http://schemas.openxmlformats.org/officeDocument/2006/relationships/slideLayout" Target="../slideLayouts/slideLayout12.xml"/><Relationship Id="rId5" Type="http://schemas.openxmlformats.org/officeDocument/2006/relationships/image" Target="../media/image79.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9.xml"/><Relationship Id="rId1" Type="http://schemas.openxmlformats.org/officeDocument/2006/relationships/slideLayout" Target="../slideLayouts/slideLayout1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hyperlink" Target="https://docs.microsoft.com/azure/scheduler" TargetMode="External"/><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52.xml"/><Relationship Id="rId1" Type="http://schemas.openxmlformats.org/officeDocument/2006/relationships/slideLayout" Target="../slideLayouts/slideLayout12.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 Id="rId9" Type="http://schemas.openxmlformats.org/officeDocument/2006/relationships/image" Target="../media/image87.png"/></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image" Target="../media/image88.emf"/><Relationship Id="rId7" Type="http://schemas.openxmlformats.org/officeDocument/2006/relationships/diagramQuickStyle" Target="../diagrams/quickStyle17.xml"/><Relationship Id="rId2" Type="http://schemas.openxmlformats.org/officeDocument/2006/relationships/notesSlide" Target="../notesSlides/notesSlide53.xml"/><Relationship Id="rId1" Type="http://schemas.openxmlformats.org/officeDocument/2006/relationships/slideLayout" Target="../slideLayouts/slideLayout12.x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image" Target="../media/image83.emf"/><Relationship Id="rId9" Type="http://schemas.microsoft.com/office/2007/relationships/diagramDrawing" Target="../diagrams/drawing17.xml"/></Relationships>
</file>

<file path=ppt/slides/_rels/slide5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90.png"/><Relationship Id="rId7" Type="http://schemas.openxmlformats.org/officeDocument/2006/relationships/diagramColors" Target="../diagrams/colors18.xml"/><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59.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image" Target="../media/image91.png"/><Relationship Id="rId7" Type="http://schemas.openxmlformats.org/officeDocument/2006/relationships/diagramColors" Target="../diagrams/colors19.xml"/><Relationship Id="rId2" Type="http://schemas.openxmlformats.org/officeDocument/2006/relationships/notesSlide" Target="../notesSlides/notesSlide57.xml"/><Relationship Id="rId1" Type="http://schemas.openxmlformats.org/officeDocument/2006/relationships/slideLayout" Target="../slideLayouts/slideLayout12.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8.xml"/><Relationship Id="rId1" Type="http://schemas.openxmlformats.org/officeDocument/2006/relationships/slideLayout" Target="../slideLayouts/slideLayout12.xml"/><Relationship Id="rId4" Type="http://schemas.microsoft.com/office/2007/relationships/hdphoto" Target="../media/hdphoto5.wdp"/></Relationships>
</file>

<file path=ppt/slides/_rels/slide61.xml.rels><?xml version="1.0" encoding="UTF-8" standalone="yes"?>
<Relationships xmlns="http://schemas.openxmlformats.org/package/2006/relationships"><Relationship Id="rId8" Type="http://schemas.openxmlformats.org/officeDocument/2006/relationships/diagramData" Target="../diagrams/data21.xml"/><Relationship Id="rId3" Type="http://schemas.openxmlformats.org/officeDocument/2006/relationships/diagramData" Target="../diagrams/data20.xml"/><Relationship Id="rId7" Type="http://schemas.microsoft.com/office/2007/relationships/diagramDrawing" Target="../diagrams/drawing20.xml"/><Relationship Id="rId12" Type="http://schemas.microsoft.com/office/2007/relationships/diagramDrawing" Target="../diagrams/drawing21.xml"/><Relationship Id="rId2" Type="http://schemas.openxmlformats.org/officeDocument/2006/relationships/notesSlide" Target="../notesSlides/notesSlide59.xml"/><Relationship Id="rId1" Type="http://schemas.openxmlformats.org/officeDocument/2006/relationships/slideLayout" Target="../slideLayouts/slideLayout12.xml"/><Relationship Id="rId6" Type="http://schemas.openxmlformats.org/officeDocument/2006/relationships/diagramColors" Target="../diagrams/colors20.xml"/><Relationship Id="rId11" Type="http://schemas.openxmlformats.org/officeDocument/2006/relationships/diagramColors" Target="../diagrams/colors21.xml"/><Relationship Id="rId5" Type="http://schemas.openxmlformats.org/officeDocument/2006/relationships/diagramQuickStyle" Target="../diagrams/quickStyle20.xml"/><Relationship Id="rId10" Type="http://schemas.openxmlformats.org/officeDocument/2006/relationships/diagramQuickStyle" Target="../diagrams/quickStyle21.xml"/><Relationship Id="rId4" Type="http://schemas.openxmlformats.org/officeDocument/2006/relationships/diagramLayout" Target="../diagrams/layout20.xml"/><Relationship Id="rId9" Type="http://schemas.openxmlformats.org/officeDocument/2006/relationships/diagramLayout" Target="../diagrams/layout2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8" Type="http://schemas.openxmlformats.org/officeDocument/2006/relationships/image" Target="../media/image99.emf"/><Relationship Id="rId13" Type="http://schemas.openxmlformats.org/officeDocument/2006/relationships/image" Target="../media/image104.png"/><Relationship Id="rId3" Type="http://schemas.openxmlformats.org/officeDocument/2006/relationships/image" Target="../media/image94.emf"/><Relationship Id="rId7" Type="http://schemas.openxmlformats.org/officeDocument/2006/relationships/image" Target="../media/image98.emf"/><Relationship Id="rId12" Type="http://schemas.openxmlformats.org/officeDocument/2006/relationships/image" Target="../media/image103.emf"/><Relationship Id="rId2" Type="http://schemas.openxmlformats.org/officeDocument/2006/relationships/notesSlide" Target="../notesSlides/notesSlide62.xml"/><Relationship Id="rId1" Type="http://schemas.openxmlformats.org/officeDocument/2006/relationships/slideLayout" Target="../slideLayouts/slideLayout12.xml"/><Relationship Id="rId6" Type="http://schemas.openxmlformats.org/officeDocument/2006/relationships/image" Target="../media/image97.emf"/><Relationship Id="rId11" Type="http://schemas.openxmlformats.org/officeDocument/2006/relationships/image" Target="../media/image102.emf"/><Relationship Id="rId5" Type="http://schemas.openxmlformats.org/officeDocument/2006/relationships/image" Target="../media/image96.emf"/><Relationship Id="rId10" Type="http://schemas.openxmlformats.org/officeDocument/2006/relationships/image" Target="../media/image101.emf"/><Relationship Id="rId4" Type="http://schemas.openxmlformats.org/officeDocument/2006/relationships/image" Target="../media/image95.emf"/><Relationship Id="rId9" Type="http://schemas.openxmlformats.org/officeDocument/2006/relationships/image" Target="../media/image100.emf"/></Relationships>
</file>

<file path=ppt/slides/_rels/slide65.xml.rels><?xml version="1.0" encoding="UTF-8" standalone="yes"?>
<Relationships xmlns="http://schemas.openxmlformats.org/package/2006/relationships"><Relationship Id="rId8" Type="http://schemas.openxmlformats.org/officeDocument/2006/relationships/image" Target="../media/image99.emf"/><Relationship Id="rId3" Type="http://schemas.openxmlformats.org/officeDocument/2006/relationships/image" Target="../media/image94.emf"/><Relationship Id="rId7" Type="http://schemas.openxmlformats.org/officeDocument/2006/relationships/image" Target="../media/image98.emf"/><Relationship Id="rId12" Type="http://schemas.openxmlformats.org/officeDocument/2006/relationships/image" Target="../media/image107.emf"/><Relationship Id="rId2" Type="http://schemas.openxmlformats.org/officeDocument/2006/relationships/notesSlide" Target="../notesSlides/notesSlide63.xml"/><Relationship Id="rId1" Type="http://schemas.openxmlformats.org/officeDocument/2006/relationships/slideLayout" Target="../slideLayouts/slideLayout12.xml"/><Relationship Id="rId6" Type="http://schemas.openxmlformats.org/officeDocument/2006/relationships/image" Target="../media/image97.emf"/><Relationship Id="rId11" Type="http://schemas.openxmlformats.org/officeDocument/2006/relationships/image" Target="../media/image106.emf"/><Relationship Id="rId5" Type="http://schemas.openxmlformats.org/officeDocument/2006/relationships/image" Target="../media/image96.emf"/><Relationship Id="rId10" Type="http://schemas.openxmlformats.org/officeDocument/2006/relationships/image" Target="../media/image105.emf"/><Relationship Id="rId4" Type="http://schemas.openxmlformats.org/officeDocument/2006/relationships/image" Target="../media/image95.emf"/><Relationship Id="rId9" Type="http://schemas.openxmlformats.org/officeDocument/2006/relationships/image" Target="../media/image100.emf"/></Relationships>
</file>

<file path=ppt/slides/_rels/slide6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image" Target="../media/image95.emf"/><Relationship Id="rId7" Type="http://schemas.openxmlformats.org/officeDocument/2006/relationships/image" Target="../media/image99.emf"/><Relationship Id="rId2" Type="http://schemas.openxmlformats.org/officeDocument/2006/relationships/notesSlide" Target="../notesSlides/notesSlide65.xml"/><Relationship Id="rId1" Type="http://schemas.openxmlformats.org/officeDocument/2006/relationships/slideLayout" Target="../slideLayouts/slideLayout12.xml"/><Relationship Id="rId6" Type="http://schemas.openxmlformats.org/officeDocument/2006/relationships/image" Target="../media/image98.emf"/><Relationship Id="rId11" Type="http://schemas.openxmlformats.org/officeDocument/2006/relationships/image" Target="../media/image94.emf"/><Relationship Id="rId5" Type="http://schemas.openxmlformats.org/officeDocument/2006/relationships/image" Target="../media/image97.emf"/><Relationship Id="rId10" Type="http://schemas.openxmlformats.org/officeDocument/2006/relationships/image" Target="../media/image102.emf"/><Relationship Id="rId4" Type="http://schemas.openxmlformats.org/officeDocument/2006/relationships/image" Target="../media/image96.emf"/><Relationship Id="rId9" Type="http://schemas.openxmlformats.org/officeDocument/2006/relationships/image" Target="../media/image101.emf"/></Relationships>
</file>

<file path=ppt/slides/_rels/slide68.xml.rels><?xml version="1.0" encoding="UTF-8" standalone="yes"?>
<Relationships xmlns="http://schemas.openxmlformats.org/package/2006/relationships"><Relationship Id="rId8" Type="http://schemas.openxmlformats.org/officeDocument/2006/relationships/image" Target="../media/image110.emf"/><Relationship Id="rId13" Type="http://schemas.openxmlformats.org/officeDocument/2006/relationships/image" Target="../media/image115.emf"/><Relationship Id="rId3" Type="http://schemas.openxmlformats.org/officeDocument/2006/relationships/image" Target="../media/image109.emf"/><Relationship Id="rId7" Type="http://schemas.openxmlformats.org/officeDocument/2006/relationships/image" Target="../media/image96.emf"/><Relationship Id="rId12" Type="http://schemas.openxmlformats.org/officeDocument/2006/relationships/image" Target="../media/image114.emf"/><Relationship Id="rId2" Type="http://schemas.openxmlformats.org/officeDocument/2006/relationships/notesSlide" Target="../notesSlides/notesSlide66.xml"/><Relationship Id="rId1" Type="http://schemas.openxmlformats.org/officeDocument/2006/relationships/slideLayout" Target="../slideLayouts/slideLayout12.xml"/><Relationship Id="rId6" Type="http://schemas.openxmlformats.org/officeDocument/2006/relationships/image" Target="../media/image101.emf"/><Relationship Id="rId11" Type="http://schemas.openxmlformats.org/officeDocument/2006/relationships/image" Target="../media/image113.emf"/><Relationship Id="rId5" Type="http://schemas.openxmlformats.org/officeDocument/2006/relationships/image" Target="../media/image97.emf"/><Relationship Id="rId15" Type="http://schemas.openxmlformats.org/officeDocument/2006/relationships/image" Target="../media/image117.emf"/><Relationship Id="rId10" Type="http://schemas.openxmlformats.org/officeDocument/2006/relationships/image" Target="../media/image112.emf"/><Relationship Id="rId4" Type="http://schemas.openxmlformats.org/officeDocument/2006/relationships/image" Target="../media/image102.emf"/><Relationship Id="rId9" Type="http://schemas.openxmlformats.org/officeDocument/2006/relationships/image" Target="../media/image111.emf"/><Relationship Id="rId14" Type="http://schemas.openxmlformats.org/officeDocument/2006/relationships/image" Target="../media/image116.emf"/></Relationships>
</file>

<file path=ppt/slides/_rels/slide69.xml.rels><?xml version="1.0" encoding="UTF-8" standalone="yes"?>
<Relationships xmlns="http://schemas.openxmlformats.org/package/2006/relationships"><Relationship Id="rId8" Type="http://schemas.openxmlformats.org/officeDocument/2006/relationships/image" Target="../media/image122.emf"/><Relationship Id="rId3" Type="http://schemas.openxmlformats.org/officeDocument/2006/relationships/image" Target="../media/image118.emf"/><Relationship Id="rId7" Type="http://schemas.openxmlformats.org/officeDocument/2006/relationships/image" Target="../media/image121.emf"/><Relationship Id="rId12" Type="http://schemas.openxmlformats.org/officeDocument/2006/relationships/image" Target="../media/image126.emf"/><Relationship Id="rId2" Type="http://schemas.openxmlformats.org/officeDocument/2006/relationships/notesSlide" Target="../notesSlides/notesSlide67.xml"/><Relationship Id="rId1" Type="http://schemas.openxmlformats.org/officeDocument/2006/relationships/slideLayout" Target="../slideLayouts/slideLayout12.xml"/><Relationship Id="rId6" Type="http://schemas.openxmlformats.org/officeDocument/2006/relationships/image" Target="../media/image120.emf"/><Relationship Id="rId11" Type="http://schemas.openxmlformats.org/officeDocument/2006/relationships/image" Target="../media/image125.emf"/><Relationship Id="rId5" Type="http://schemas.openxmlformats.org/officeDocument/2006/relationships/image" Target="../media/image115.emf"/><Relationship Id="rId10" Type="http://schemas.openxmlformats.org/officeDocument/2006/relationships/image" Target="../media/image124.emf"/><Relationship Id="rId4" Type="http://schemas.openxmlformats.org/officeDocument/2006/relationships/image" Target="../media/image119.emf"/><Relationship Id="rId9" Type="http://schemas.openxmlformats.org/officeDocument/2006/relationships/image" Target="../media/image123.emf"/></Relationships>
</file>

<file path=ppt/slides/_rels/slide7.xml.rels><?xml version="1.0" encoding="UTF-8" standalone="yes"?>
<Relationships xmlns="http://schemas.openxmlformats.org/package/2006/relationships"><Relationship Id="rId3" Type="http://schemas.openxmlformats.org/officeDocument/2006/relationships/hyperlink" Target="https://aka.ms/azmonitor"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p:txBody>
          <a:bodyPr/>
          <a:lstStyle/>
          <a:p>
            <a:r>
              <a:rPr lang="en-US" sz="4800" dirty="0"/>
              <a:t>Design for Operations</a:t>
            </a:r>
          </a:p>
        </p:txBody>
      </p:sp>
      <p:sp>
        <p:nvSpPr>
          <p:cNvPr id="4" name="Subtitle 3">
            <a:extLst>
              <a:ext uri="{FF2B5EF4-FFF2-40B4-BE49-F238E27FC236}">
                <a16:creationId xmlns:a16="http://schemas.microsoft.com/office/drawing/2014/main" id="{47603156-A91A-45A2-8D74-E23EC1955270}"/>
              </a:ext>
            </a:extLst>
          </p:cNvPr>
          <p:cNvSpPr>
            <a:spLocks noGrp="1"/>
          </p:cNvSpPr>
          <p:nvPr>
            <p:ph type="subTitle" idx="1"/>
          </p:nvPr>
        </p:nvSpPr>
        <p:spPr>
          <a:xfrm>
            <a:off x="576073" y="3954463"/>
            <a:ext cx="8705850" cy="1979003"/>
          </a:xfrm>
        </p:spPr>
        <p:txBody>
          <a:bodyPr/>
          <a:lstStyle/>
          <a:p>
            <a:r>
              <a:rPr lang="en-US" dirty="0"/>
              <a:t>Patrick El-Azem</a:t>
            </a:r>
          </a:p>
          <a:p>
            <a:r>
              <a:rPr lang="en-US" dirty="0"/>
              <a:t>Cloud Solution Architect, Microsoft</a:t>
            </a:r>
          </a:p>
          <a:p>
            <a:r>
              <a:rPr lang="en-US" dirty="0"/>
              <a:t>Azure Data/AI Focus</a:t>
            </a:r>
          </a:p>
          <a:p>
            <a:r>
              <a:rPr lang="en-US" dirty="0"/>
              <a:t>LinkedIn: pelazem</a:t>
            </a:r>
          </a:p>
          <a:p>
            <a:r>
              <a:rPr lang="en-US" dirty="0" err="1"/>
              <a:t>github</a:t>
            </a:r>
            <a:r>
              <a:rPr lang="en-US" dirty="0"/>
              <a:t>: plzm</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 Monitor Azure, AWS, On-</a:t>
            </a: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Prem</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3" name="Picture 2">
            <a:extLst>
              <a:ext uri="{FF2B5EF4-FFF2-40B4-BE49-F238E27FC236}">
                <a16:creationId xmlns:a16="http://schemas.microsoft.com/office/drawing/2014/main" id="{B26430CE-CCD3-413D-AA9B-E0011F4D6127}"/>
              </a:ext>
            </a:extLst>
          </p:cNvPr>
          <p:cNvPicPr>
            <a:picLocks noChangeAspect="1"/>
          </p:cNvPicPr>
          <p:nvPr/>
        </p:nvPicPr>
        <p:blipFill>
          <a:blip r:embed="rId3"/>
          <a:stretch>
            <a:fillRect/>
          </a:stretch>
        </p:blipFill>
        <p:spPr>
          <a:xfrm>
            <a:off x="1586306" y="1947294"/>
            <a:ext cx="10179578" cy="4735517"/>
          </a:xfrm>
          <a:prstGeom prst="rect">
            <a:avLst/>
          </a:prstGeom>
        </p:spPr>
      </p:pic>
      <p:sp>
        <p:nvSpPr>
          <p:cNvPr id="26" name="Rectangle: Rounded Corners 25">
            <a:extLst>
              <a:ext uri="{FF2B5EF4-FFF2-40B4-BE49-F238E27FC236}">
                <a16:creationId xmlns:a16="http://schemas.microsoft.com/office/drawing/2014/main" id="{6544620E-4DEB-4649-AE88-D1857CAB066A}"/>
              </a:ext>
            </a:extLst>
          </p:cNvPr>
          <p:cNvSpPr/>
          <p:nvPr/>
        </p:nvSpPr>
        <p:spPr bwMode="auto">
          <a:xfrm>
            <a:off x="3599569"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ashboard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configured and custom dashboards based on log search queries</a:t>
            </a:r>
          </a:p>
        </p:txBody>
      </p:sp>
      <p:cxnSp>
        <p:nvCxnSpPr>
          <p:cNvPr id="27" name="Straight Connector 26">
            <a:extLst>
              <a:ext uri="{FF2B5EF4-FFF2-40B4-BE49-F238E27FC236}">
                <a16:creationId xmlns:a16="http://schemas.microsoft.com/office/drawing/2014/main" id="{F9113D0C-57DB-45C2-B9C6-BDFBD1B6D7B3}"/>
              </a:ext>
            </a:extLst>
          </p:cNvPr>
          <p:cNvCxnSpPr>
            <a:cxnSpLocks/>
            <a:stCxn id="26" idx="2"/>
          </p:cNvCxnSpPr>
          <p:nvPr/>
        </p:nvCxnSpPr>
        <p:spPr>
          <a:xfrm>
            <a:off x="4851549" y="2189527"/>
            <a:ext cx="643397" cy="49385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2E942A1E-7FB6-45AC-8D93-2AD68122B84E}"/>
              </a:ext>
            </a:extLst>
          </p:cNvPr>
          <p:cNvSpPr/>
          <p:nvPr/>
        </p:nvSpPr>
        <p:spPr bwMode="auto">
          <a:xfrm>
            <a:off x="9807906" y="3230310"/>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rill Throug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Detailed drill through reports for each dashboard tile</a:t>
            </a:r>
          </a:p>
        </p:txBody>
      </p:sp>
      <p:cxnSp>
        <p:nvCxnSpPr>
          <p:cNvPr id="29" name="Straight Connector 28">
            <a:extLst>
              <a:ext uri="{FF2B5EF4-FFF2-40B4-BE49-F238E27FC236}">
                <a16:creationId xmlns:a16="http://schemas.microsoft.com/office/drawing/2014/main" id="{BABA3C37-18F5-466D-9A49-A8D8F5445C71}"/>
              </a:ext>
            </a:extLst>
          </p:cNvPr>
          <p:cNvCxnSpPr>
            <a:cxnSpLocks/>
          </p:cNvCxnSpPr>
          <p:nvPr/>
        </p:nvCxnSpPr>
        <p:spPr>
          <a:xfrm flipH="1">
            <a:off x="8503065" y="4067798"/>
            <a:ext cx="2556821" cy="141860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E3C748C3-ADE8-458B-9D7E-8758700D0047}"/>
              </a:ext>
            </a:extLst>
          </p:cNvPr>
          <p:cNvSpPr/>
          <p:nvPr/>
        </p:nvSpPr>
        <p:spPr bwMode="auto">
          <a:xfrm>
            <a:off x="94005" y="1352039"/>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Log Search</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Utilize a powerful query language with joins and advanced date-time analysis </a:t>
            </a:r>
          </a:p>
        </p:txBody>
      </p:sp>
      <p:cxnSp>
        <p:nvCxnSpPr>
          <p:cNvPr id="34" name="Straight Connector 33">
            <a:extLst>
              <a:ext uri="{FF2B5EF4-FFF2-40B4-BE49-F238E27FC236}">
                <a16:creationId xmlns:a16="http://schemas.microsoft.com/office/drawing/2014/main" id="{B2A992D8-5C3E-44E4-86CC-B12D657FAAE0}"/>
              </a:ext>
            </a:extLst>
          </p:cNvPr>
          <p:cNvCxnSpPr>
            <a:cxnSpLocks/>
            <a:stCxn id="33" idx="2"/>
          </p:cNvCxnSpPr>
          <p:nvPr/>
        </p:nvCxnSpPr>
        <p:spPr>
          <a:xfrm>
            <a:off x="1345985" y="2189527"/>
            <a:ext cx="705006" cy="553673"/>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1009AFE8-B55B-4F1C-B1C5-0AF7F7E53615}"/>
              </a:ext>
            </a:extLst>
          </p:cNvPr>
          <p:cNvSpPr/>
          <p:nvPr/>
        </p:nvSpPr>
        <p:spPr bwMode="auto">
          <a:xfrm>
            <a:off x="94005" y="2919711"/>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 collection of logic, visualization, and data acquisition rules for deep insights</a:t>
            </a:r>
          </a:p>
        </p:txBody>
      </p:sp>
      <p:cxnSp>
        <p:nvCxnSpPr>
          <p:cNvPr id="45" name="Straight Connector 44">
            <a:extLst>
              <a:ext uri="{FF2B5EF4-FFF2-40B4-BE49-F238E27FC236}">
                <a16:creationId xmlns:a16="http://schemas.microsoft.com/office/drawing/2014/main" id="{8096516C-B0DB-4383-A69A-834F7EDF2186}"/>
              </a:ext>
            </a:extLst>
          </p:cNvPr>
          <p:cNvCxnSpPr>
            <a:cxnSpLocks/>
            <a:stCxn id="44" idx="2"/>
          </p:cNvCxnSpPr>
          <p:nvPr/>
        </p:nvCxnSpPr>
        <p:spPr>
          <a:xfrm>
            <a:off x="1345985" y="3757199"/>
            <a:ext cx="705006" cy="558427"/>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99C4408E-F0AF-4FB9-AA57-7CE0C164AEAD}"/>
              </a:ext>
            </a:extLst>
          </p:cNvPr>
          <p:cNvSpPr/>
          <p:nvPr/>
        </p:nvSpPr>
        <p:spPr bwMode="auto">
          <a:xfrm>
            <a:off x="124609" y="4487383"/>
            <a:ext cx="2503960" cy="837488"/>
          </a:xfrm>
          <a:prstGeom prst="roundRect">
            <a:avLst/>
          </a:prstGeom>
          <a:solidFill>
            <a:schemeClr val="bg1">
              <a:lumMod val="95000"/>
            </a:schemeClr>
          </a:solidFill>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dvanced</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erts, targeting, computer groups, custom logs, data retention</a:t>
            </a:r>
          </a:p>
        </p:txBody>
      </p:sp>
      <p:cxnSp>
        <p:nvCxnSpPr>
          <p:cNvPr id="49" name="Straight Connector 48">
            <a:extLst>
              <a:ext uri="{FF2B5EF4-FFF2-40B4-BE49-F238E27FC236}">
                <a16:creationId xmlns:a16="http://schemas.microsoft.com/office/drawing/2014/main" id="{47A0F8B0-7F33-4411-92F7-A30F415423C6}"/>
              </a:ext>
            </a:extLst>
          </p:cNvPr>
          <p:cNvCxnSpPr>
            <a:cxnSpLocks/>
            <a:stCxn id="48" idx="2"/>
          </p:cNvCxnSpPr>
          <p:nvPr/>
        </p:nvCxnSpPr>
        <p:spPr>
          <a:xfrm>
            <a:off x="1376589" y="5324871"/>
            <a:ext cx="768405" cy="317615"/>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515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22" presetClass="entr" presetSubtype="2"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right)">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22" presetClass="entr" presetSubtype="8" fill="hold" nodeType="with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left)">
                                      <p:cBhvr>
                                        <p:cTn id="26" dur="500"/>
                                        <p:tgtEl>
                                          <p:spTgt spid="3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par>
                                <p:cTn id="32" presetID="22" presetClass="entr" presetSubtype="8" fill="hold"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wipe(left)">
                                      <p:cBhvr>
                                        <p:cTn id="34" dur="500"/>
                                        <p:tgtEl>
                                          <p:spTgt spid="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22" presetClass="entr" presetSubtype="8" fill="hold" nodeType="with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left)">
                                      <p:cBhvr>
                                        <p:cTn id="4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33" grpId="0" animBg="1"/>
      <p:bldP spid="44" grpId="0" animBg="1"/>
      <p:bldP spid="4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5874189" y="1289717"/>
            <a:ext cx="656228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587418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Workflow</a:t>
            </a:r>
          </a:p>
        </p:txBody>
      </p:sp>
      <p:pic>
        <p:nvPicPr>
          <p:cNvPr id="8" name="Picture 7" descr="A close up of a map&#10;&#10;Description generated with very high confidence">
            <a:extLst>
              <a:ext uri="{FF2B5EF4-FFF2-40B4-BE49-F238E27FC236}">
                <a16:creationId xmlns:a16="http://schemas.microsoft.com/office/drawing/2014/main" id="{635EBACD-FAF4-4929-8382-E3916E0F3318}"/>
              </a:ext>
            </a:extLst>
          </p:cNvPr>
          <p:cNvPicPr>
            <a:picLocks noChangeAspect="1"/>
          </p:cNvPicPr>
          <p:nvPr/>
        </p:nvPicPr>
        <p:blipFill>
          <a:blip r:embed="rId3"/>
          <a:stretch>
            <a:fillRect/>
          </a:stretch>
        </p:blipFill>
        <p:spPr>
          <a:xfrm>
            <a:off x="94023" y="1421622"/>
            <a:ext cx="5668166" cy="5572903"/>
          </a:xfrm>
          <a:prstGeom prst="rect">
            <a:avLst/>
          </a:prstGeom>
        </p:spPr>
      </p:pic>
      <p:graphicFrame>
        <p:nvGraphicFramePr>
          <p:cNvPr id="2" name="Diagram 1">
            <a:extLst>
              <a:ext uri="{FF2B5EF4-FFF2-40B4-BE49-F238E27FC236}">
                <a16:creationId xmlns:a16="http://schemas.microsoft.com/office/drawing/2014/main" id="{20BAAB4C-F20E-4D99-B3DA-BB9029C1E211}"/>
              </a:ext>
            </a:extLst>
          </p:cNvPr>
          <p:cNvGraphicFramePr/>
          <p:nvPr>
            <p:extLst/>
          </p:nvPr>
        </p:nvGraphicFramePr>
        <p:xfrm>
          <a:off x="5986187" y="1392992"/>
          <a:ext cx="6371031" cy="56015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9">
            <a:hlinkClick r:id="rId9"/>
            <a:extLst>
              <a:ext uri="{FF2B5EF4-FFF2-40B4-BE49-F238E27FC236}">
                <a16:creationId xmlns:a16="http://schemas.microsoft.com/office/drawing/2014/main" id="{AB685745-4AC3-491A-8706-A11E3519467A}"/>
              </a:ext>
            </a:extLst>
          </p:cNvPr>
          <p:cNvPicPr>
            <a:picLocks noChangeAspect="1"/>
          </p:cNvPicPr>
          <p:nvPr/>
        </p:nvPicPr>
        <p:blipFill>
          <a:blip r:embed="rId10"/>
          <a:stretch>
            <a:fillRect/>
          </a:stretch>
        </p:blipFill>
        <p:spPr>
          <a:xfrm>
            <a:off x="11173107" y="1712322"/>
            <a:ext cx="351979" cy="158197"/>
          </a:xfrm>
          <a:prstGeom prst="rect">
            <a:avLst/>
          </a:prstGeom>
        </p:spPr>
      </p:pic>
      <p:pic>
        <p:nvPicPr>
          <p:cNvPr id="11" name="Picture 10">
            <a:hlinkClick r:id="rId11"/>
            <a:extLst>
              <a:ext uri="{FF2B5EF4-FFF2-40B4-BE49-F238E27FC236}">
                <a16:creationId xmlns:a16="http://schemas.microsoft.com/office/drawing/2014/main" id="{9E061D60-61F3-4D49-BFC5-96BADC776875}"/>
              </a:ext>
            </a:extLst>
          </p:cNvPr>
          <p:cNvPicPr>
            <a:picLocks noChangeAspect="1"/>
          </p:cNvPicPr>
          <p:nvPr/>
        </p:nvPicPr>
        <p:blipFill>
          <a:blip r:embed="rId10"/>
          <a:stretch>
            <a:fillRect/>
          </a:stretch>
        </p:blipFill>
        <p:spPr>
          <a:xfrm>
            <a:off x="10033260" y="4387157"/>
            <a:ext cx="351979" cy="158197"/>
          </a:xfrm>
          <a:prstGeom prst="rect">
            <a:avLst/>
          </a:prstGeom>
        </p:spPr>
      </p:pic>
    </p:spTree>
    <p:extLst>
      <p:ext uri="{BB962C8B-B14F-4D97-AF65-F5344CB8AC3E}">
        <p14:creationId xmlns:p14="http://schemas.microsoft.com/office/powerpoint/2010/main" val="423419359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A40E07-BA57-4E2F-B590-856C934488AB}"/>
              </a:ext>
            </a:extLst>
          </p:cNvPr>
          <p:cNvSpPr/>
          <p:nvPr/>
        </p:nvSpPr>
        <p:spPr bwMode="auto">
          <a:xfrm>
            <a:off x="7041735" y="1289717"/>
            <a:ext cx="539474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75BC27E8-0C08-4469-9B68-B57B4C81CF9B}"/>
              </a:ext>
            </a:extLst>
          </p:cNvPr>
          <p:cNvCxnSpPr/>
          <p:nvPr/>
        </p:nvCxnSpPr>
        <p:spPr>
          <a:xfrm>
            <a:off x="703641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Data Sources</a:t>
            </a:r>
          </a:p>
        </p:txBody>
      </p:sp>
      <p:graphicFrame>
        <p:nvGraphicFramePr>
          <p:cNvPr id="2" name="Diagram 1">
            <a:extLst>
              <a:ext uri="{FF2B5EF4-FFF2-40B4-BE49-F238E27FC236}">
                <a16:creationId xmlns:a16="http://schemas.microsoft.com/office/drawing/2014/main" id="{427F66DB-D189-428A-99C2-604A0B44FFCA}"/>
              </a:ext>
            </a:extLst>
          </p:cNvPr>
          <p:cNvGraphicFramePr/>
          <p:nvPr>
            <p:extLst/>
          </p:nvPr>
        </p:nvGraphicFramePr>
        <p:xfrm>
          <a:off x="7295291" y="1427148"/>
          <a:ext cx="4942287" cy="55673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ell phone&#10;&#10;Description generated with very high confidence">
            <a:extLst>
              <a:ext uri="{FF2B5EF4-FFF2-40B4-BE49-F238E27FC236}">
                <a16:creationId xmlns:a16="http://schemas.microsoft.com/office/drawing/2014/main" id="{087A5285-E610-42D5-A831-49E6A86E1E43}"/>
              </a:ext>
            </a:extLst>
          </p:cNvPr>
          <p:cNvPicPr>
            <a:picLocks noChangeAspect="1"/>
          </p:cNvPicPr>
          <p:nvPr/>
        </p:nvPicPr>
        <p:blipFill>
          <a:blip r:embed="rId8"/>
          <a:stretch>
            <a:fillRect/>
          </a:stretch>
        </p:blipFill>
        <p:spPr>
          <a:xfrm>
            <a:off x="77949" y="2327308"/>
            <a:ext cx="6881403" cy="3629625"/>
          </a:xfrm>
          <a:prstGeom prst="rect">
            <a:avLst/>
          </a:prstGeom>
        </p:spPr>
      </p:pic>
      <p:pic>
        <p:nvPicPr>
          <p:cNvPr id="8" name="Picture 7">
            <a:hlinkClick r:id="rId9"/>
            <a:extLst>
              <a:ext uri="{FF2B5EF4-FFF2-40B4-BE49-F238E27FC236}">
                <a16:creationId xmlns:a16="http://schemas.microsoft.com/office/drawing/2014/main" id="{C99FC508-4321-4050-AC73-7C6F1E5AEFD9}"/>
              </a:ext>
            </a:extLst>
          </p:cNvPr>
          <p:cNvPicPr>
            <a:picLocks noChangeAspect="1"/>
          </p:cNvPicPr>
          <p:nvPr/>
        </p:nvPicPr>
        <p:blipFill>
          <a:blip r:embed="rId10"/>
          <a:stretch>
            <a:fillRect/>
          </a:stretch>
        </p:blipFill>
        <p:spPr>
          <a:xfrm>
            <a:off x="8876421" y="1720868"/>
            <a:ext cx="351979" cy="158197"/>
          </a:xfrm>
          <a:prstGeom prst="rect">
            <a:avLst/>
          </a:prstGeom>
        </p:spPr>
      </p:pic>
      <p:pic>
        <p:nvPicPr>
          <p:cNvPr id="10" name="Picture 9">
            <a:hlinkClick r:id="rId11"/>
            <a:extLst>
              <a:ext uri="{FF2B5EF4-FFF2-40B4-BE49-F238E27FC236}">
                <a16:creationId xmlns:a16="http://schemas.microsoft.com/office/drawing/2014/main" id="{E310A4AC-731B-4162-B282-EDA13E9C1132}"/>
              </a:ext>
            </a:extLst>
          </p:cNvPr>
          <p:cNvPicPr>
            <a:picLocks noChangeAspect="1"/>
          </p:cNvPicPr>
          <p:nvPr/>
        </p:nvPicPr>
        <p:blipFill>
          <a:blip r:embed="rId10"/>
          <a:stretch>
            <a:fillRect/>
          </a:stretch>
        </p:blipFill>
        <p:spPr>
          <a:xfrm>
            <a:off x="9678226" y="2516929"/>
            <a:ext cx="351979" cy="158197"/>
          </a:xfrm>
          <a:prstGeom prst="rect">
            <a:avLst/>
          </a:prstGeom>
        </p:spPr>
      </p:pic>
      <p:pic>
        <p:nvPicPr>
          <p:cNvPr id="11" name="Picture 10">
            <a:hlinkClick r:id="rId12"/>
            <a:extLst>
              <a:ext uri="{FF2B5EF4-FFF2-40B4-BE49-F238E27FC236}">
                <a16:creationId xmlns:a16="http://schemas.microsoft.com/office/drawing/2014/main" id="{45F8F97C-230B-4702-9F94-312F4C0E4426}"/>
              </a:ext>
            </a:extLst>
          </p:cNvPr>
          <p:cNvPicPr>
            <a:picLocks noChangeAspect="1"/>
          </p:cNvPicPr>
          <p:nvPr/>
        </p:nvPicPr>
        <p:blipFill>
          <a:blip r:embed="rId10"/>
          <a:stretch>
            <a:fillRect/>
          </a:stretch>
        </p:blipFill>
        <p:spPr>
          <a:xfrm>
            <a:off x="11558376" y="3326054"/>
            <a:ext cx="351979" cy="158197"/>
          </a:xfrm>
          <a:prstGeom prst="rect">
            <a:avLst/>
          </a:prstGeom>
        </p:spPr>
      </p:pic>
      <p:pic>
        <p:nvPicPr>
          <p:cNvPr id="12" name="Picture 11">
            <a:hlinkClick r:id="rId13"/>
            <a:extLst>
              <a:ext uri="{FF2B5EF4-FFF2-40B4-BE49-F238E27FC236}">
                <a16:creationId xmlns:a16="http://schemas.microsoft.com/office/drawing/2014/main" id="{D8ACED38-FC70-4738-993C-6E49B5F17B63}"/>
              </a:ext>
            </a:extLst>
          </p:cNvPr>
          <p:cNvPicPr>
            <a:picLocks noChangeAspect="1"/>
          </p:cNvPicPr>
          <p:nvPr/>
        </p:nvPicPr>
        <p:blipFill>
          <a:blip r:embed="rId10"/>
          <a:stretch>
            <a:fillRect/>
          </a:stretch>
        </p:blipFill>
        <p:spPr>
          <a:xfrm>
            <a:off x="9343339" y="4142120"/>
            <a:ext cx="351979" cy="158197"/>
          </a:xfrm>
          <a:prstGeom prst="rect">
            <a:avLst/>
          </a:prstGeom>
        </p:spPr>
      </p:pic>
      <p:pic>
        <p:nvPicPr>
          <p:cNvPr id="13" name="Picture 12">
            <a:hlinkClick r:id="rId14"/>
            <a:extLst>
              <a:ext uri="{FF2B5EF4-FFF2-40B4-BE49-F238E27FC236}">
                <a16:creationId xmlns:a16="http://schemas.microsoft.com/office/drawing/2014/main" id="{99ACFBB8-09FD-47B3-B6EB-826C0966F1E5}"/>
              </a:ext>
            </a:extLst>
          </p:cNvPr>
          <p:cNvPicPr>
            <a:picLocks noChangeAspect="1"/>
          </p:cNvPicPr>
          <p:nvPr/>
        </p:nvPicPr>
        <p:blipFill>
          <a:blip r:embed="rId10"/>
          <a:stretch>
            <a:fillRect/>
          </a:stretch>
        </p:blipFill>
        <p:spPr>
          <a:xfrm>
            <a:off x="8165695" y="4932662"/>
            <a:ext cx="351979" cy="158197"/>
          </a:xfrm>
          <a:prstGeom prst="rect">
            <a:avLst/>
          </a:prstGeom>
        </p:spPr>
      </p:pic>
      <p:pic>
        <p:nvPicPr>
          <p:cNvPr id="14" name="Picture 13">
            <a:hlinkClick r:id="rId15"/>
            <a:extLst>
              <a:ext uri="{FF2B5EF4-FFF2-40B4-BE49-F238E27FC236}">
                <a16:creationId xmlns:a16="http://schemas.microsoft.com/office/drawing/2014/main" id="{1802B54D-46EC-43B7-BF09-0336504A3C22}"/>
              </a:ext>
            </a:extLst>
          </p:cNvPr>
          <p:cNvPicPr>
            <a:picLocks noChangeAspect="1"/>
          </p:cNvPicPr>
          <p:nvPr/>
        </p:nvPicPr>
        <p:blipFill>
          <a:blip r:embed="rId10"/>
          <a:stretch>
            <a:fillRect/>
          </a:stretch>
        </p:blipFill>
        <p:spPr>
          <a:xfrm>
            <a:off x="9343339" y="5722396"/>
            <a:ext cx="351979" cy="158197"/>
          </a:xfrm>
          <a:prstGeom prst="rect">
            <a:avLst/>
          </a:prstGeom>
        </p:spPr>
      </p:pic>
    </p:spTree>
    <p:extLst>
      <p:ext uri="{BB962C8B-B14F-4D97-AF65-F5344CB8AC3E}">
        <p14:creationId xmlns:p14="http://schemas.microsoft.com/office/powerpoint/2010/main" val="32119178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739344-BDDC-44B7-922A-ACBEDF5046A9}"/>
              </a:ext>
            </a:extLst>
          </p:cNvPr>
          <p:cNvSpPr/>
          <p:nvPr/>
        </p:nvSpPr>
        <p:spPr bwMode="auto">
          <a:xfrm>
            <a:off x="6870819" y="1289717"/>
            <a:ext cx="556565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E527DEB5-2B63-41A2-A7C4-6D2645B4AFD2}"/>
              </a:ext>
            </a:extLst>
          </p:cNvPr>
          <p:cNvCxnSpPr/>
          <p:nvPr/>
        </p:nvCxnSpPr>
        <p:spPr>
          <a:xfrm>
            <a:off x="686550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a:t>
            </a:r>
            <a:r>
              <a:rPr lang="en-US" spc="0" dirty="0">
                <a:ln/>
                <a:solidFill>
                  <a:srgbClr val="FFFFFF"/>
                </a:solidFill>
                <a:latin typeface="Segoe UI Light"/>
              </a:rPr>
              <a:t>Query Language</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6" name="Picture 5" descr="A screenshot of a cell phone&#10;&#10;Description generated with very high confidence">
            <a:extLst>
              <a:ext uri="{FF2B5EF4-FFF2-40B4-BE49-F238E27FC236}">
                <a16:creationId xmlns:a16="http://schemas.microsoft.com/office/drawing/2014/main" id="{2836EAF2-1FBB-4D2D-A388-FEE39D2B18E5}"/>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101710" y="1614951"/>
            <a:ext cx="6658898" cy="5223664"/>
          </a:xfrm>
          <a:prstGeom prst="rect">
            <a:avLst/>
          </a:prstGeom>
        </p:spPr>
      </p:pic>
      <p:graphicFrame>
        <p:nvGraphicFramePr>
          <p:cNvPr id="7" name="Diagram 6">
            <a:extLst>
              <a:ext uri="{FF2B5EF4-FFF2-40B4-BE49-F238E27FC236}">
                <a16:creationId xmlns:a16="http://schemas.microsoft.com/office/drawing/2014/main" id="{169621CD-00C3-412F-BA3F-3DF04ACE0AF5}"/>
              </a:ext>
            </a:extLst>
          </p:cNvPr>
          <p:cNvGraphicFramePr/>
          <p:nvPr>
            <p:extLst/>
          </p:nvPr>
        </p:nvGraphicFramePr>
        <p:xfrm>
          <a:off x="6976597" y="1629854"/>
          <a:ext cx="5354986" cy="49794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7">
            <a:hlinkClick r:id="rId10"/>
            <a:extLst>
              <a:ext uri="{FF2B5EF4-FFF2-40B4-BE49-F238E27FC236}">
                <a16:creationId xmlns:a16="http://schemas.microsoft.com/office/drawing/2014/main" id="{AC2B1EA9-C393-4AC0-931F-2AE4961A1EB7}"/>
              </a:ext>
            </a:extLst>
          </p:cNvPr>
          <p:cNvPicPr>
            <a:picLocks noChangeAspect="1"/>
          </p:cNvPicPr>
          <p:nvPr/>
        </p:nvPicPr>
        <p:blipFill>
          <a:blip r:embed="rId11"/>
          <a:stretch>
            <a:fillRect/>
          </a:stretch>
        </p:blipFill>
        <p:spPr>
          <a:xfrm>
            <a:off x="8091008" y="645107"/>
            <a:ext cx="351979" cy="158197"/>
          </a:xfrm>
          <a:prstGeom prst="rect">
            <a:avLst/>
          </a:prstGeom>
        </p:spPr>
      </p:pic>
    </p:spTree>
    <p:extLst>
      <p:ext uri="{BB962C8B-B14F-4D97-AF65-F5344CB8AC3E}">
        <p14:creationId xmlns:p14="http://schemas.microsoft.com/office/powerpoint/2010/main" val="26941591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a:t>
            </a:r>
          </a:p>
        </p:txBody>
      </p:sp>
      <p:pic>
        <p:nvPicPr>
          <p:cNvPr id="9" name="Picture 8">
            <a:extLst>
              <a:ext uri="{FF2B5EF4-FFF2-40B4-BE49-F238E27FC236}">
                <a16:creationId xmlns:a16="http://schemas.microsoft.com/office/drawing/2014/main" id="{DD79F802-11BE-4892-89BF-71FF6B97A3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5916"/>
          <a:stretch/>
        </p:blipFill>
        <p:spPr>
          <a:xfrm>
            <a:off x="0" y="1917581"/>
            <a:ext cx="12436475" cy="4509239"/>
          </a:xfrm>
          <a:prstGeom prst="rect">
            <a:avLst/>
          </a:prstGeom>
        </p:spPr>
      </p:pic>
      <p:pic>
        <p:nvPicPr>
          <p:cNvPr id="5" name="Picture 4">
            <a:hlinkClick r:id="rId4"/>
            <a:extLst>
              <a:ext uri="{FF2B5EF4-FFF2-40B4-BE49-F238E27FC236}">
                <a16:creationId xmlns:a16="http://schemas.microsoft.com/office/drawing/2014/main" id="{E564C658-054F-41C4-9B89-0330C50AC89A}"/>
              </a:ext>
            </a:extLst>
          </p:cNvPr>
          <p:cNvPicPr>
            <a:picLocks noChangeAspect="1"/>
          </p:cNvPicPr>
          <p:nvPr/>
        </p:nvPicPr>
        <p:blipFill>
          <a:blip r:embed="rId5"/>
          <a:stretch>
            <a:fillRect/>
          </a:stretch>
        </p:blipFill>
        <p:spPr>
          <a:xfrm>
            <a:off x="6218237" y="566009"/>
            <a:ext cx="351979" cy="158197"/>
          </a:xfrm>
          <a:prstGeom prst="rect">
            <a:avLst/>
          </a:prstGeom>
        </p:spPr>
      </p:pic>
      <p:sp>
        <p:nvSpPr>
          <p:cNvPr id="6" name="TextBox 5">
            <a:extLst>
              <a:ext uri="{FF2B5EF4-FFF2-40B4-BE49-F238E27FC236}">
                <a16:creationId xmlns:a16="http://schemas.microsoft.com/office/drawing/2014/main" id="{BCD2CB69-E5CE-4AA9-B527-BE30FC713671}"/>
              </a:ext>
            </a:extLst>
          </p:cNvPr>
          <p:cNvSpPr txBox="1"/>
          <p:nvPr/>
        </p:nvSpPr>
        <p:spPr>
          <a:xfrm>
            <a:off x="0" y="1289717"/>
            <a:ext cx="1243647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og Analytics Management Solution Gallery</a:t>
            </a:r>
          </a:p>
        </p:txBody>
      </p:sp>
    </p:spTree>
    <p:extLst>
      <p:ext uri="{BB962C8B-B14F-4D97-AF65-F5344CB8AC3E}">
        <p14:creationId xmlns:p14="http://schemas.microsoft.com/office/powerpoint/2010/main" val="322231554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Update Management</a:t>
            </a:r>
          </a:p>
        </p:txBody>
      </p:sp>
      <p:pic>
        <p:nvPicPr>
          <p:cNvPr id="5" name="Picture 4">
            <a:hlinkClick r:id="rId3"/>
            <a:extLst>
              <a:ext uri="{FF2B5EF4-FFF2-40B4-BE49-F238E27FC236}">
                <a16:creationId xmlns:a16="http://schemas.microsoft.com/office/drawing/2014/main" id="{E564C658-054F-41C4-9B89-0330C50AC89A}"/>
              </a:ext>
            </a:extLst>
          </p:cNvPr>
          <p:cNvPicPr>
            <a:picLocks noChangeAspect="1"/>
          </p:cNvPicPr>
          <p:nvPr/>
        </p:nvPicPr>
        <p:blipFill>
          <a:blip r:embed="rId4"/>
          <a:stretch>
            <a:fillRect/>
          </a:stretch>
        </p:blipFill>
        <p:spPr>
          <a:xfrm>
            <a:off x="12023791" y="591646"/>
            <a:ext cx="351979" cy="158197"/>
          </a:xfrm>
          <a:prstGeom prst="rect">
            <a:avLst/>
          </a:prstGeom>
        </p:spPr>
      </p:pic>
      <p:pic>
        <p:nvPicPr>
          <p:cNvPr id="3" name="Picture 2">
            <a:extLst>
              <a:ext uri="{FF2B5EF4-FFF2-40B4-BE49-F238E27FC236}">
                <a16:creationId xmlns:a16="http://schemas.microsoft.com/office/drawing/2014/main" id="{841A8AD5-45B6-486D-A098-2FA3BD97091F}"/>
              </a:ext>
            </a:extLst>
          </p:cNvPr>
          <p:cNvPicPr>
            <a:picLocks noChangeAspect="1"/>
          </p:cNvPicPr>
          <p:nvPr/>
        </p:nvPicPr>
        <p:blipFill rotWithShape="1">
          <a:blip r:embed="rId5"/>
          <a:srcRect t="1079" r="19617" b="2300"/>
          <a:stretch/>
        </p:blipFill>
        <p:spPr>
          <a:xfrm>
            <a:off x="117066" y="1839374"/>
            <a:ext cx="3361072" cy="2042445"/>
          </a:xfrm>
          <a:prstGeom prst="rect">
            <a:avLst/>
          </a:prstGeom>
          <a:ln>
            <a:solidFill>
              <a:schemeClr val="bg1">
                <a:lumMod val="50000"/>
              </a:schemeClr>
            </a:solidFill>
          </a:ln>
        </p:spPr>
      </p:pic>
      <p:pic>
        <p:nvPicPr>
          <p:cNvPr id="7" name="Picture 6">
            <a:extLst>
              <a:ext uri="{FF2B5EF4-FFF2-40B4-BE49-F238E27FC236}">
                <a16:creationId xmlns:a16="http://schemas.microsoft.com/office/drawing/2014/main" id="{C5AC0372-6789-494F-8A7A-5BDF62F4F2AE}"/>
              </a:ext>
            </a:extLst>
          </p:cNvPr>
          <p:cNvPicPr>
            <a:picLocks noChangeAspect="1"/>
          </p:cNvPicPr>
          <p:nvPr/>
        </p:nvPicPr>
        <p:blipFill>
          <a:blip r:embed="rId6"/>
          <a:stretch>
            <a:fillRect/>
          </a:stretch>
        </p:blipFill>
        <p:spPr>
          <a:xfrm>
            <a:off x="3605232" y="1839374"/>
            <a:ext cx="5140550" cy="4176697"/>
          </a:xfrm>
          <a:prstGeom prst="rect">
            <a:avLst/>
          </a:prstGeom>
          <a:ln>
            <a:solidFill>
              <a:schemeClr val="bg1">
                <a:lumMod val="50000"/>
              </a:schemeClr>
            </a:solidFill>
          </a:ln>
        </p:spPr>
      </p:pic>
      <p:pic>
        <p:nvPicPr>
          <p:cNvPr id="2" name="Picture 1">
            <a:extLst>
              <a:ext uri="{FF2B5EF4-FFF2-40B4-BE49-F238E27FC236}">
                <a16:creationId xmlns:a16="http://schemas.microsoft.com/office/drawing/2014/main" id="{43B3BCAF-B51E-4383-A33F-0B135CC1705C}"/>
              </a:ext>
            </a:extLst>
          </p:cNvPr>
          <p:cNvPicPr>
            <a:picLocks noChangeAspect="1"/>
          </p:cNvPicPr>
          <p:nvPr/>
        </p:nvPicPr>
        <p:blipFill>
          <a:blip r:embed="rId7"/>
          <a:stretch>
            <a:fillRect/>
          </a:stretch>
        </p:blipFill>
        <p:spPr>
          <a:xfrm>
            <a:off x="6349525" y="3810140"/>
            <a:ext cx="6086950" cy="3138583"/>
          </a:xfrm>
          <a:prstGeom prst="rect">
            <a:avLst/>
          </a:prstGeom>
          <a:ln>
            <a:solidFill>
              <a:schemeClr val="bg1">
                <a:lumMod val="50000"/>
              </a:schemeClr>
            </a:solidFill>
          </a:ln>
        </p:spPr>
      </p:pic>
      <p:sp>
        <p:nvSpPr>
          <p:cNvPr id="11" name="Arrow: Bent-Up 10">
            <a:extLst>
              <a:ext uri="{FF2B5EF4-FFF2-40B4-BE49-F238E27FC236}">
                <a16:creationId xmlns:a16="http://schemas.microsoft.com/office/drawing/2014/main" id="{474C42AC-4CE7-4F69-A715-63A12EFEF28F}"/>
              </a:ext>
            </a:extLst>
          </p:cNvPr>
          <p:cNvSpPr/>
          <p:nvPr/>
        </p:nvSpPr>
        <p:spPr bwMode="auto">
          <a:xfrm rot="5400000">
            <a:off x="5043464" y="5602453"/>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Bent-Up 11">
            <a:extLst>
              <a:ext uri="{FF2B5EF4-FFF2-40B4-BE49-F238E27FC236}">
                <a16:creationId xmlns:a16="http://schemas.microsoft.com/office/drawing/2014/main" id="{25332405-F624-4595-8B9D-909A3232B1B0}"/>
              </a:ext>
            </a:extLst>
          </p:cNvPr>
          <p:cNvSpPr/>
          <p:nvPr/>
        </p:nvSpPr>
        <p:spPr bwMode="auto">
          <a:xfrm rot="5400000">
            <a:off x="2287903" y="3466072"/>
            <a:ext cx="743481" cy="1742796"/>
          </a:xfrm>
          <a:prstGeom prst="ben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3AC1943B-0112-4065-94E2-3C08DBC1C1DC}"/>
              </a:ext>
            </a:extLst>
          </p:cNvPr>
          <p:cNvSpPr txBox="1"/>
          <p:nvPr/>
        </p:nvSpPr>
        <p:spPr>
          <a:xfrm>
            <a:off x="-97971" y="1294609"/>
            <a:ext cx="3822545"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Overall Assessment (dashboard tile)</a:t>
            </a:r>
          </a:p>
        </p:txBody>
      </p:sp>
      <p:sp>
        <p:nvSpPr>
          <p:cNvPr id="15" name="TextBox 14">
            <a:extLst>
              <a:ext uri="{FF2B5EF4-FFF2-40B4-BE49-F238E27FC236}">
                <a16:creationId xmlns:a16="http://schemas.microsoft.com/office/drawing/2014/main" id="{A59B3CCC-A0F0-4DDA-86C5-D1B03BE147C9}"/>
              </a:ext>
            </a:extLst>
          </p:cNvPr>
          <p:cNvSpPr txBox="1"/>
          <p:nvPr/>
        </p:nvSpPr>
        <p:spPr>
          <a:xfrm>
            <a:off x="3605232" y="1290295"/>
            <a:ext cx="5140550"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Per-Computer Assessment (drill-through)</a:t>
            </a:r>
          </a:p>
        </p:txBody>
      </p:sp>
      <p:sp>
        <p:nvSpPr>
          <p:cNvPr id="16" name="TextBox 15">
            <a:extLst>
              <a:ext uri="{FF2B5EF4-FFF2-40B4-BE49-F238E27FC236}">
                <a16:creationId xmlns:a16="http://schemas.microsoft.com/office/drawing/2014/main" id="{CD110545-A1E8-4438-B401-D5A2387BB3A7}"/>
              </a:ext>
            </a:extLst>
          </p:cNvPr>
          <p:cNvSpPr txBox="1"/>
          <p:nvPr/>
        </p:nvSpPr>
        <p:spPr>
          <a:xfrm>
            <a:off x="8583532" y="3254672"/>
            <a:ext cx="405792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panose="020B0502040204020203" pitchFamily="34" charset="0"/>
                <a:ea typeface="+mn-ea"/>
                <a:cs typeface="Segoe UI Light" panose="020B0502040204020203" pitchFamily="34" charset="0"/>
              </a:rPr>
              <a:t>Schedule Updates (specialty function)</a:t>
            </a:r>
          </a:p>
        </p:txBody>
      </p:sp>
    </p:spTree>
    <p:extLst>
      <p:ext uri="{BB962C8B-B14F-4D97-AF65-F5344CB8AC3E}">
        <p14:creationId xmlns:p14="http://schemas.microsoft.com/office/powerpoint/2010/main" val="38028193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 Analytics Solutions:  Service Map</a:t>
            </a:r>
          </a:p>
        </p:txBody>
      </p:sp>
      <p:pic>
        <p:nvPicPr>
          <p:cNvPr id="5" name="Picture 4">
            <a:hlinkClick r:id="rId3"/>
            <a:extLst>
              <a:ext uri="{FF2B5EF4-FFF2-40B4-BE49-F238E27FC236}">
                <a16:creationId xmlns:a16="http://schemas.microsoft.com/office/drawing/2014/main" id="{E564C658-054F-41C4-9B89-0330C50AC89A}"/>
              </a:ext>
            </a:extLst>
          </p:cNvPr>
          <p:cNvPicPr>
            <a:picLocks noChangeAspect="1"/>
          </p:cNvPicPr>
          <p:nvPr/>
        </p:nvPicPr>
        <p:blipFill>
          <a:blip r:embed="rId4"/>
          <a:stretch>
            <a:fillRect/>
          </a:stretch>
        </p:blipFill>
        <p:spPr>
          <a:xfrm>
            <a:off x="9707881" y="574554"/>
            <a:ext cx="351979" cy="158197"/>
          </a:xfrm>
          <a:prstGeom prst="rect">
            <a:avLst/>
          </a:prstGeom>
        </p:spPr>
      </p:pic>
      <p:pic>
        <p:nvPicPr>
          <p:cNvPr id="2" name="Picture 1">
            <a:extLst>
              <a:ext uri="{FF2B5EF4-FFF2-40B4-BE49-F238E27FC236}">
                <a16:creationId xmlns:a16="http://schemas.microsoft.com/office/drawing/2014/main" id="{E8C5EAFF-BC87-4B04-9743-293E1934ACA3}"/>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Effect>
                      <a14:brightnessContrast contrast="-40000"/>
                    </a14:imgEffect>
                  </a14:imgLayer>
                </a14:imgProps>
              </a:ext>
            </a:extLst>
          </a:blip>
          <a:srcRect l="24875" t="4709" r="183" b="4036"/>
          <a:stretch/>
        </p:blipFill>
        <p:spPr>
          <a:xfrm>
            <a:off x="1150581" y="1289717"/>
            <a:ext cx="10135312" cy="5696764"/>
          </a:xfrm>
          <a:prstGeom prst="rect">
            <a:avLst/>
          </a:prstGeom>
          <a:ln>
            <a:solidFill>
              <a:schemeClr val="bg1">
                <a:lumMod val="50000"/>
              </a:schemeClr>
            </a:solidFill>
          </a:ln>
        </p:spPr>
      </p:pic>
    </p:spTree>
    <p:extLst>
      <p:ext uri="{BB962C8B-B14F-4D97-AF65-F5344CB8AC3E}">
        <p14:creationId xmlns:p14="http://schemas.microsoft.com/office/powerpoint/2010/main" val="28329410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Log Analytics: More Info</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1" y="1289717"/>
            <a:ext cx="12340127" cy="573695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Log Search:</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Capabilities</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full piping language, search-time field extractions, advanced joins, date/time functions, advanced ML algorithm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ools</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advanced analytics portal, better integration with Power BI, consistency with other Azure services (app insigh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Workspaces Guidanc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 container where data is collected, aggregated, analyzed and presented in the porta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 geographic location for data residenc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Granularity for bill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isol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cope for configur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nsolidate Views Across Workspac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arch API via PowerShell or RES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ross Workspace Queries</a:t>
            </a:r>
          </a:p>
          <a:p>
            <a:pPr marL="809271" lvl="1" indent="-342900">
              <a:lnSpc>
                <a:spcPct val="90000"/>
              </a:lnSpc>
              <a:spcAft>
                <a:spcPts val="600"/>
              </a:spcAft>
              <a:buFont typeface="Arial" panose="020B0604020202020204" pitchFamily="34" charset="0"/>
              <a:buChar char="•"/>
            </a:pPr>
            <a:r>
              <a:rPr lang="en-US" sz="1600" dirty="0" err="1">
                <a:gradFill>
                  <a:gsLst>
                    <a:gs pos="2917">
                      <a:schemeClr val="tx1"/>
                    </a:gs>
                    <a:gs pos="30000">
                      <a:schemeClr val="tx1"/>
                    </a:gs>
                  </a:gsLst>
                  <a:lin ang="5400000" scaled="0"/>
                </a:gradFill>
                <a:latin typeface="+mj-lt"/>
              </a:rPr>
              <a:t>PowerBI</a:t>
            </a:r>
            <a:r>
              <a:rPr lang="en-US" sz="1600" dirty="0">
                <a:gradFill>
                  <a:gsLst>
                    <a:gs pos="2917">
                      <a:schemeClr val="tx1"/>
                    </a:gs>
                    <a:gs pos="30000">
                      <a:schemeClr val="tx1"/>
                    </a:gs>
                  </a:gsLst>
                  <a:lin ang="5400000" scaled="0"/>
                </a:gradFill>
                <a:latin typeface="+mj-lt"/>
              </a:rPr>
              <a:t> Power Query M langua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Log Analytics Portal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Log Search Portal</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part of the Azure management portal, contains legacy language converter</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vanced Analytics portal</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 a dedicated portal that provides unique advanced search functionality</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MS portal</a:t>
            </a:r>
            <a:r>
              <a:rPr lang="en-US" sz="1600" b="1" dirty="0">
                <a:gradFill>
                  <a:gsLst>
                    <a:gs pos="2917">
                      <a:schemeClr val="tx1"/>
                    </a:gs>
                    <a:gs pos="30000">
                      <a:schemeClr val="tx1"/>
                    </a:gs>
                  </a:gsLst>
                  <a:lin ang="5400000" scaled="0"/>
                </a:gradFill>
                <a:latin typeface="+mj-lt"/>
              </a:rPr>
              <a:t>:</a:t>
            </a:r>
            <a:r>
              <a:rPr lang="en-US" sz="1600" dirty="0">
                <a:gradFill>
                  <a:gsLst>
                    <a:gs pos="2917">
                      <a:schemeClr val="tx1"/>
                    </a:gs>
                    <a:gs pos="30000">
                      <a:schemeClr val="tx1"/>
                    </a:gs>
                  </a:gsLst>
                  <a:lin ang="5400000" scaled="0"/>
                </a:gradFill>
                <a:latin typeface="+mj-lt"/>
              </a:rPr>
              <a:t>  a legacy portal that is being deprecated</a:t>
            </a:r>
          </a:p>
        </p:txBody>
      </p:sp>
    </p:spTree>
    <p:extLst>
      <p:ext uri="{BB962C8B-B14F-4D97-AF65-F5344CB8AC3E}">
        <p14:creationId xmlns:p14="http://schemas.microsoft.com/office/powerpoint/2010/main" val="11573481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095270"/>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pplication Insights</a:t>
            </a:r>
          </a:p>
        </p:txBody>
      </p:sp>
      <p:sp>
        <p:nvSpPr>
          <p:cNvPr id="3" name="Content Placeholder 2"/>
          <p:cNvSpPr>
            <a:spLocks noGrp="1"/>
          </p:cNvSpPr>
          <p:nvPr>
            <p:ph idx="1"/>
          </p:nvPr>
        </p:nvSpPr>
        <p:spPr>
          <a:xfrm>
            <a:off x="1" y="1256425"/>
            <a:ext cx="11294346" cy="5512160"/>
          </a:xfrm>
        </p:spPr>
        <p:txBody>
          <a:bodyPr>
            <a:normAutofit fontScale="92500" lnSpcReduction="20000"/>
          </a:bodyPr>
          <a:lstStyle/>
          <a:p>
            <a:r>
              <a:rPr lang="en-US" sz="3200" dirty="0"/>
              <a:t>Application Performance Management Service for Web Developers</a:t>
            </a:r>
          </a:p>
          <a:p>
            <a:pPr marL="571500" indent="-571500">
              <a:buFont typeface="Arial" panose="020B0604020202020204" pitchFamily="34" charset="0"/>
              <a:buChar char="•"/>
            </a:pPr>
            <a:r>
              <a:rPr lang="en-US" sz="3000" dirty="0"/>
              <a:t>Detect, diagnose issues in Web apps and services</a:t>
            </a:r>
          </a:p>
          <a:p>
            <a:pPr marL="571500" indent="-571500">
              <a:buFont typeface="Arial" panose="020B0604020202020204" pitchFamily="34" charset="0"/>
              <a:buChar char="•"/>
            </a:pPr>
            <a:r>
              <a:rPr lang="en-US" sz="3000" dirty="0"/>
              <a:t>Out-of-box and custom events</a:t>
            </a:r>
          </a:p>
          <a:p>
            <a:pPr marL="571500" indent="-571500">
              <a:buFont typeface="Arial" panose="020B0604020202020204" pitchFamily="34" charset="0"/>
              <a:buChar char="•"/>
            </a:pPr>
            <a:r>
              <a:rPr lang="en-US" sz="3000" dirty="0"/>
              <a:t>Alerts through email or webhooks</a:t>
            </a:r>
          </a:p>
          <a:p>
            <a:pPr marL="571500" indent="-571500">
              <a:buFont typeface="Arial" panose="020B0604020202020204" pitchFamily="34" charset="0"/>
              <a:buChar char="•"/>
            </a:pPr>
            <a:r>
              <a:rPr lang="en-US" sz="3000" dirty="0"/>
              <a:t>Diagnose exceptions and performance issues</a:t>
            </a:r>
          </a:p>
          <a:p>
            <a:pPr marL="571500" indent="-571500">
              <a:buFont typeface="Arial" panose="020B0604020202020204" pitchFamily="34" charset="0"/>
              <a:buChar char="•"/>
            </a:pPr>
            <a:r>
              <a:rPr lang="en-US" sz="3000" dirty="0"/>
              <a:t>Perform root cause analysis, initiate Automation Runbook</a:t>
            </a:r>
          </a:p>
          <a:p>
            <a:pPr marL="571500" indent="-571500">
              <a:buFont typeface="Arial" panose="020B0604020202020204" pitchFamily="34" charset="0"/>
              <a:buChar char="•"/>
            </a:pPr>
            <a:r>
              <a:rPr lang="en-US" sz="3000" dirty="0"/>
              <a:t>Live application monitoring</a:t>
            </a:r>
          </a:p>
          <a:p>
            <a:pPr marL="571500" indent="-571500">
              <a:buFont typeface="Arial" panose="020B0604020202020204" pitchFamily="34" charset="0"/>
              <a:buChar char="•"/>
            </a:pPr>
            <a:r>
              <a:rPr lang="en-US" sz="3000" dirty="0"/>
              <a:t>HTTP metrics</a:t>
            </a:r>
          </a:p>
          <a:p>
            <a:pPr marL="571500" indent="-571500">
              <a:buFont typeface="Arial" panose="020B0604020202020204" pitchFamily="34" charset="0"/>
              <a:buChar char="•"/>
            </a:pPr>
            <a:r>
              <a:rPr lang="en-US" sz="3000" dirty="0"/>
              <a:t>Dependency (e.g. SQL) response times</a:t>
            </a:r>
          </a:p>
          <a:p>
            <a:pPr marL="571500" indent="-571500">
              <a:buFont typeface="Arial" panose="020B0604020202020204" pitchFamily="34" charset="0"/>
              <a:buChar char="•"/>
            </a:pPr>
            <a:r>
              <a:rPr lang="en-US" sz="3000" dirty="0"/>
              <a:t>Log tracing</a:t>
            </a:r>
          </a:p>
          <a:p>
            <a:pPr marL="571500" indent="-571500">
              <a:buFont typeface="Arial" panose="020B0604020202020204" pitchFamily="34" charset="0"/>
              <a:buChar char="•"/>
            </a:pPr>
            <a:r>
              <a:rPr lang="en-US" sz="3000" dirty="0"/>
              <a:t>View and Session counts</a:t>
            </a:r>
          </a:p>
          <a:p>
            <a:pPr marL="571500" indent="-571500">
              <a:buFont typeface="Arial" panose="020B0604020202020204" pitchFamily="34" charset="0"/>
              <a:buChar char="•"/>
            </a:pPr>
            <a:r>
              <a:rPr lang="en-US" sz="3000" dirty="0"/>
              <a:t>Server performance</a:t>
            </a:r>
          </a:p>
          <a:p>
            <a:pPr marL="571500" indent="-571500">
              <a:buFont typeface="Arial" panose="020B0604020202020204" pitchFamily="34" charset="0"/>
              <a:buChar char="•"/>
            </a:pPr>
            <a:r>
              <a:rPr lang="en-US" sz="3000" dirty="0"/>
              <a:t>Availability tests</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79271" y="4832844"/>
            <a:ext cx="3090427" cy="1810512"/>
          </a:xfrm>
          <a:prstGeom prst="rect">
            <a:avLst/>
          </a:prstGeom>
        </p:spPr>
      </p:pic>
    </p:spTree>
    <p:extLst>
      <p:ext uri="{BB962C8B-B14F-4D97-AF65-F5344CB8AC3E}">
        <p14:creationId xmlns:p14="http://schemas.microsoft.com/office/powerpoint/2010/main" val="778967922"/>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5449"/>
            <a:ext cx="12436475" cy="1016955"/>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pplication Insights Ecosystem</a:t>
            </a:r>
          </a:p>
        </p:txBody>
      </p:sp>
      <p:grpSp>
        <p:nvGrpSpPr>
          <p:cNvPr id="13" name="Group 12">
            <a:extLst>
              <a:ext uri="{FF2B5EF4-FFF2-40B4-BE49-F238E27FC236}">
                <a16:creationId xmlns:a16="http://schemas.microsoft.com/office/drawing/2014/main" id="{4BBA2BD5-F853-4D25-BA6F-43E80C8E8202}"/>
              </a:ext>
            </a:extLst>
          </p:cNvPr>
          <p:cNvGrpSpPr/>
          <p:nvPr/>
        </p:nvGrpSpPr>
        <p:grpSpPr>
          <a:xfrm>
            <a:off x="8294056" y="1834134"/>
            <a:ext cx="3923937" cy="2110538"/>
            <a:chOff x="8294351" y="1833898"/>
            <a:chExt cx="3924493" cy="2110838"/>
          </a:xfrm>
        </p:grpSpPr>
        <p:sp>
          <p:nvSpPr>
            <p:cNvPr id="7" name="Text Box 23"/>
            <p:cNvSpPr txBox="1">
              <a:spLocks noChangeArrowheads="1"/>
            </p:cNvSpPr>
            <p:nvPr/>
          </p:nvSpPr>
          <p:spPr bwMode="auto">
            <a:xfrm>
              <a:off x="8294351" y="1833898"/>
              <a:ext cx="3924493" cy="52302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Export &amp; Correlation</a:t>
              </a:r>
              <a:endParaRPr lang="en-US" altLang="en-US" sz="2856" dirty="0">
                <a:solidFill>
                  <a:srgbClr val="FFFFFF"/>
                </a:solidFill>
                <a:latin typeface="Arial" panose="020B0604020202020204" pitchFamily="34" charset="0"/>
              </a:endParaRPr>
            </a:p>
          </p:txBody>
        </p:sp>
        <p:sp>
          <p:nvSpPr>
            <p:cNvPr id="8" name="Rectangle 24"/>
            <p:cNvSpPr>
              <a:spLocks noChangeArrowheads="1"/>
            </p:cNvSpPr>
            <p:nvPr/>
          </p:nvSpPr>
          <p:spPr bwMode="auto">
            <a:xfrm>
              <a:off x="8294351" y="2356920"/>
              <a:ext cx="3924493" cy="158781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grpSp>
        <p:nvGrpSpPr>
          <p:cNvPr id="12" name="Group 11">
            <a:extLst>
              <a:ext uri="{FF2B5EF4-FFF2-40B4-BE49-F238E27FC236}">
                <a16:creationId xmlns:a16="http://schemas.microsoft.com/office/drawing/2014/main" id="{FE936866-5225-419C-A597-534B38884CEF}"/>
              </a:ext>
            </a:extLst>
          </p:cNvPr>
          <p:cNvGrpSpPr/>
          <p:nvPr/>
        </p:nvGrpSpPr>
        <p:grpSpPr>
          <a:xfrm>
            <a:off x="4262418" y="1834134"/>
            <a:ext cx="4057873" cy="2110539"/>
            <a:chOff x="4262140" y="1833897"/>
            <a:chExt cx="4058449" cy="2110839"/>
          </a:xfrm>
        </p:grpSpPr>
        <p:sp>
          <p:nvSpPr>
            <p:cNvPr id="5" name="Text Box 37"/>
            <p:cNvSpPr txBox="1">
              <a:spLocks noChangeArrowheads="1"/>
            </p:cNvSpPr>
            <p:nvPr/>
          </p:nvSpPr>
          <p:spPr bwMode="auto">
            <a:xfrm>
              <a:off x="426214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Exploration</a:t>
              </a:r>
              <a:endParaRPr lang="en-US" altLang="en-US" sz="2856" dirty="0">
                <a:solidFill>
                  <a:srgbClr val="FFFFFF"/>
                </a:solidFill>
                <a:latin typeface="Arial" panose="020B0604020202020204" pitchFamily="34" charset="0"/>
              </a:endParaRPr>
            </a:p>
          </p:txBody>
        </p:sp>
        <p:sp>
          <p:nvSpPr>
            <p:cNvPr id="6" name="Rectangle 38"/>
            <p:cNvSpPr>
              <a:spLocks noChangeArrowheads="1"/>
            </p:cNvSpPr>
            <p:nvPr/>
          </p:nvSpPr>
          <p:spPr bwMode="auto">
            <a:xfrm>
              <a:off x="4262140" y="2357225"/>
              <a:ext cx="3912475" cy="1587511"/>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nvGrpSpPr>
            <p:cNvPr id="83" name="Group 82"/>
            <p:cNvGrpSpPr/>
            <p:nvPr/>
          </p:nvGrpSpPr>
          <p:grpSpPr>
            <a:xfrm>
              <a:off x="4338682" y="2387041"/>
              <a:ext cx="3981907" cy="1524439"/>
              <a:chOff x="4338414" y="2943626"/>
              <a:chExt cx="3982472" cy="1524659"/>
            </a:xfrm>
          </p:grpSpPr>
          <p:grpSp>
            <p:nvGrpSpPr>
              <p:cNvPr id="51" name="Group 50"/>
              <p:cNvGrpSpPr/>
              <p:nvPr/>
            </p:nvGrpSpPr>
            <p:grpSpPr>
              <a:xfrm>
                <a:off x="4399174" y="2943626"/>
                <a:ext cx="3921712" cy="1515350"/>
                <a:chOff x="4367109" y="1706319"/>
                <a:chExt cx="3845165" cy="1485772"/>
              </a:xfrm>
            </p:grpSpPr>
            <p:grpSp>
              <p:nvGrpSpPr>
                <p:cNvPr id="52" name="Group 51"/>
                <p:cNvGrpSpPr/>
                <p:nvPr/>
              </p:nvGrpSpPr>
              <p:grpSpPr>
                <a:xfrm>
                  <a:off x="4367109" y="1706319"/>
                  <a:ext cx="3176108" cy="890053"/>
                  <a:chOff x="935444" y="1660018"/>
                  <a:chExt cx="3176108" cy="890053"/>
                </a:xfrm>
              </p:grpSpPr>
              <p:pic>
                <p:nvPicPr>
                  <p:cNvPr id="54"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5444" y="193686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55" name="Text Box 12"/>
                  <p:cNvSpPr txBox="1">
                    <a:spLocks noChangeArrowheads="1"/>
                  </p:cNvSpPr>
                  <p:nvPr/>
                </p:nvSpPr>
                <p:spPr bwMode="auto">
                  <a:xfrm>
                    <a:off x="1906595" y="1660018"/>
                    <a:ext cx="2014306"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ctr" anchorCtr="0" compatLnSpc="1">
                    <a:prstTxWarp prst="textNoShape">
                      <a:avLst/>
                    </a:prstTxWarp>
                  </a:bodyPr>
                  <a:lstStyle/>
                  <a:p>
                    <a:pPr algn="ctr" defTabSz="932384" eaLnBrk="0" fontAlgn="base" hangingPunct="0">
                      <a:spcBef>
                        <a:spcPct val="0"/>
                      </a:spcBef>
                      <a:spcAft>
                        <a:spcPct val="0"/>
                      </a:spcAft>
                      <a:defRPr/>
                    </a:pPr>
                    <a:r>
                      <a:rPr lang="en-US" altLang="en-US" sz="1428" dirty="0">
                        <a:solidFill>
                          <a:srgbClr val="29A2DA"/>
                        </a:solidFill>
                        <a:latin typeface="Segoe UI Semibold" panose="020B0702040204020203" pitchFamily="34" charset="0"/>
                      </a:rPr>
                      <a:t>Microsoft Azure </a:t>
                    </a:r>
                    <a:r>
                      <a:rPr lang="en-US" altLang="en-US" sz="1428" dirty="0">
                        <a:solidFill>
                          <a:srgbClr val="FFFFFF"/>
                        </a:solidFill>
                        <a:latin typeface="Segoe UI Semibold" panose="020B0702040204020203" pitchFamily="34" charset="0"/>
                      </a:rPr>
                      <a:t>Portal</a:t>
                    </a:r>
                    <a:endParaRPr lang="en-US" altLang="en-US" sz="918" b="1" dirty="0">
                      <a:solidFill>
                        <a:srgbClr val="FFFFFF"/>
                      </a:solidFill>
                      <a:latin typeface="Segoe UI Bold" panose="020B0802040204020203" pitchFamily="34" charset="0"/>
                      <a:cs typeface="Segoe UI Bold" panose="020B0802040204020203" pitchFamily="34" charset="0"/>
                    </a:endParaRPr>
                  </a:p>
                </p:txBody>
              </p:sp>
              <p:sp>
                <p:nvSpPr>
                  <p:cNvPr id="56" name="Text Box 13"/>
                  <p:cNvSpPr txBox="1">
                    <a:spLocks noChangeArrowheads="1"/>
                  </p:cNvSpPr>
                  <p:nvPr/>
                </p:nvSpPr>
                <p:spPr bwMode="auto">
                  <a:xfrm>
                    <a:off x="1855376" y="1899625"/>
                    <a:ext cx="2256176"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zure Monitor</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pplication Map</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Live Metrics Stream</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Profiler &amp; Debugger</a:t>
                    </a:r>
                  </a:p>
                </p:txBody>
              </p:sp>
            </p:grpSp>
            <p:sp>
              <p:nvSpPr>
                <p:cNvPr id="53" name="Rectangle 52"/>
                <p:cNvSpPr/>
                <p:nvPr/>
              </p:nvSpPr>
              <p:spPr>
                <a:xfrm>
                  <a:off x="6254581" y="2879929"/>
                  <a:ext cx="1957693" cy="312162"/>
                </a:xfrm>
                <a:prstGeom prst="rect">
                  <a:avLst/>
                </a:prstGeom>
              </p:spPr>
              <p:txBody>
                <a:bodyPr wrap="square">
                  <a:spAutoFit/>
                </a:bodyPr>
                <a:lstStyle/>
                <a:p>
                  <a:pPr algn="ctr" defTabSz="932384"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nalytics Portal</a:t>
                  </a:r>
                  <a:endParaRPr lang="en-US" altLang="en-US" sz="1428" dirty="0">
                    <a:solidFill>
                      <a:srgbClr val="FFFFFF"/>
                    </a:solidFill>
                    <a:latin typeface="Arial" panose="020B0604020202020204" pitchFamily="34" charset="0"/>
                  </a:endParaRPr>
                </a:p>
              </p:txBody>
            </p:sp>
          </p:grpSp>
          <p:sp>
            <p:nvSpPr>
              <p:cNvPr id="79" name="Rectangle 78"/>
              <p:cNvSpPr/>
              <p:nvPr/>
            </p:nvSpPr>
            <p:spPr>
              <a:xfrm>
                <a:off x="4699245" y="4127104"/>
                <a:ext cx="1624975" cy="318286"/>
              </a:xfrm>
              <a:prstGeom prst="rect">
                <a:avLst/>
              </a:prstGeom>
            </p:spPr>
            <p:txBody>
              <a:bodyPr wrap="none">
                <a:spAutoFit/>
              </a:bodyPr>
              <a:lstStyle/>
              <a:p>
                <a:pPr defTabSz="932384">
                  <a:defRPr/>
                </a:pPr>
                <a:r>
                  <a:rPr lang="en-US" sz="1428" dirty="0">
                    <a:solidFill>
                      <a:srgbClr val="B379C1"/>
                    </a:solidFill>
                    <a:latin typeface="Segoe UI Semibold" panose="020B0702040204020203" pitchFamily="34" charset="0"/>
                    <a:cs typeface="Segoe UI Semibold" panose="020B0702040204020203" pitchFamily="34" charset="0"/>
                  </a:rPr>
                  <a:t>Visual Studio </a:t>
                </a:r>
                <a:r>
                  <a:rPr lang="en-US" sz="1428" dirty="0">
                    <a:solidFill>
                      <a:srgbClr val="FFFFFF"/>
                    </a:solidFill>
                    <a:latin typeface="Segoe UI Semibold" panose="020B0702040204020203" pitchFamily="34" charset="0"/>
                    <a:cs typeface="Segoe UI Semibold" panose="020B0702040204020203" pitchFamily="34" charset="0"/>
                  </a:rPr>
                  <a:t>IDE</a:t>
                </a:r>
              </a:p>
            </p:txBody>
          </p:sp>
          <p:pic>
            <p:nvPicPr>
              <p:cNvPr id="80"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38414" y="4097791"/>
                <a:ext cx="370494" cy="37049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4" name="Group 83"/>
          <p:cNvGrpSpPr/>
          <p:nvPr/>
        </p:nvGrpSpPr>
        <p:grpSpPr>
          <a:xfrm>
            <a:off x="8427337" y="2379086"/>
            <a:ext cx="3921449" cy="1511773"/>
            <a:chOff x="8427961" y="2935499"/>
            <a:chExt cx="3922561" cy="1512204"/>
          </a:xfrm>
        </p:grpSpPr>
        <p:grpSp>
          <p:nvGrpSpPr>
            <p:cNvPr id="57" name="Group 56"/>
            <p:cNvGrpSpPr/>
            <p:nvPr/>
          </p:nvGrpSpPr>
          <p:grpSpPr>
            <a:xfrm>
              <a:off x="8427961" y="2935499"/>
              <a:ext cx="3922561" cy="1512204"/>
              <a:chOff x="8317259" y="1698351"/>
              <a:chExt cx="3845997" cy="1482688"/>
            </a:xfrm>
          </p:grpSpPr>
          <p:grpSp>
            <p:nvGrpSpPr>
              <p:cNvPr id="58" name="Group 57"/>
              <p:cNvGrpSpPr/>
              <p:nvPr/>
            </p:nvGrpSpPr>
            <p:grpSpPr>
              <a:xfrm>
                <a:off x="10788013" y="1698351"/>
                <a:ext cx="1375243" cy="377004"/>
                <a:chOff x="10945031" y="617699"/>
                <a:chExt cx="1375243" cy="377004"/>
              </a:xfrm>
            </p:grpSpPr>
            <p:pic>
              <p:nvPicPr>
                <p:cNvPr id="68" name="Picture 3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45031" y="617699"/>
                  <a:ext cx="384256" cy="37700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9" name="Text Box 34"/>
                <p:cNvSpPr txBox="1">
                  <a:spLocks noChangeArrowheads="1"/>
                </p:cNvSpPr>
                <p:nvPr/>
              </p:nvSpPr>
              <p:spPr bwMode="auto">
                <a:xfrm>
                  <a:off x="11104891" y="680655"/>
                  <a:ext cx="1215383"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Power BI</a:t>
                  </a:r>
                  <a:endParaRPr lang="en-US" altLang="en-US" sz="1428" dirty="0">
                    <a:solidFill>
                      <a:srgbClr val="FFFFFF"/>
                    </a:solidFill>
                    <a:latin typeface="Arial" panose="020B0604020202020204" pitchFamily="34" charset="0"/>
                  </a:endParaRPr>
                </a:p>
              </p:txBody>
            </p:sp>
          </p:grpSp>
          <p:sp>
            <p:nvSpPr>
              <p:cNvPr id="59" name="Text Box 35"/>
              <p:cNvSpPr txBox="1">
                <a:spLocks noChangeArrowheads="1"/>
              </p:cNvSpPr>
              <p:nvPr/>
            </p:nvSpPr>
            <p:spPr bwMode="auto">
              <a:xfrm>
                <a:off x="8978093" y="2143091"/>
                <a:ext cx="2531791" cy="22979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29A2DA"/>
                    </a:solidFill>
                    <a:latin typeface="Segoe UI Semibold" panose="020B0702040204020203" pitchFamily="34" charset="0"/>
                  </a:rPr>
                  <a:t>Microsoft Azure </a:t>
                </a:r>
                <a:r>
                  <a:rPr lang="en-US" altLang="en-US" sz="1428" dirty="0">
                    <a:solidFill>
                      <a:srgbClr val="FFFFFF"/>
                    </a:solidFill>
                    <a:latin typeface="Segoe UI Semibold" panose="020B0702040204020203" pitchFamily="34" charset="0"/>
                  </a:rPr>
                  <a:t>dashboards</a:t>
                </a:r>
                <a:endParaRPr lang="en-US" altLang="en-US" sz="1428" dirty="0">
                  <a:solidFill>
                    <a:srgbClr val="FFFFFF"/>
                  </a:solidFill>
                  <a:latin typeface="Arial" panose="020B0604020202020204" pitchFamily="34" charset="0"/>
                </a:endParaRPr>
              </a:p>
            </p:txBody>
          </p:sp>
          <p:grpSp>
            <p:nvGrpSpPr>
              <p:cNvPr id="60" name="Group 59"/>
              <p:cNvGrpSpPr/>
              <p:nvPr/>
            </p:nvGrpSpPr>
            <p:grpSpPr>
              <a:xfrm>
                <a:off x="8419754" y="1723225"/>
                <a:ext cx="2319371" cy="309233"/>
                <a:chOff x="9111497" y="1745008"/>
                <a:chExt cx="2319371" cy="309233"/>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1497" y="1745008"/>
                  <a:ext cx="743476" cy="309233"/>
                </a:xfrm>
                <a:prstGeom prst="rect">
                  <a:avLst/>
                </a:prstGeom>
              </p:spPr>
            </p:pic>
            <p:sp>
              <p:nvSpPr>
                <p:cNvPr id="67" name="Text Box 34"/>
                <p:cNvSpPr txBox="1">
                  <a:spLocks noChangeArrowheads="1"/>
                </p:cNvSpPr>
                <p:nvPr/>
              </p:nvSpPr>
              <p:spPr bwMode="auto">
                <a:xfrm>
                  <a:off x="9705747" y="1784477"/>
                  <a:ext cx="1725121" cy="23029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OMS Connector</a:t>
                  </a:r>
                  <a:endParaRPr lang="en-US" altLang="en-US" sz="1428" dirty="0">
                    <a:solidFill>
                      <a:srgbClr val="FFFFFF"/>
                    </a:solidFill>
                    <a:latin typeface="Arial" panose="020B0604020202020204" pitchFamily="34" charset="0"/>
                  </a:endParaRPr>
                </a:p>
              </p:txBody>
            </p:sp>
          </p:grpSp>
          <p:sp>
            <p:nvSpPr>
              <p:cNvPr id="61" name="Text Box 28"/>
              <p:cNvSpPr txBox="1">
                <a:spLocks noChangeArrowheads="1"/>
              </p:cNvSpPr>
              <p:nvPr/>
            </p:nvSpPr>
            <p:spPr bwMode="auto">
              <a:xfrm>
                <a:off x="8412144" y="2912706"/>
                <a:ext cx="1557166"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Data Access APIs</a:t>
                </a:r>
                <a:endParaRPr lang="en-US" altLang="en-US" sz="1428" dirty="0">
                  <a:solidFill>
                    <a:srgbClr val="FFFFFF"/>
                  </a:solidFill>
                  <a:latin typeface="Arial" panose="020B0604020202020204" pitchFamily="34" charset="0"/>
                </a:endParaRPr>
              </a:p>
            </p:txBody>
          </p:sp>
          <p:grpSp>
            <p:nvGrpSpPr>
              <p:cNvPr id="62" name="Group 61"/>
              <p:cNvGrpSpPr/>
              <p:nvPr/>
            </p:nvGrpSpPr>
            <p:grpSpPr>
              <a:xfrm>
                <a:off x="8317259" y="2472881"/>
                <a:ext cx="1416644" cy="320032"/>
                <a:chOff x="10362505" y="1669572"/>
                <a:chExt cx="1416644" cy="320032"/>
              </a:xfrm>
            </p:grpSpPr>
            <p:pic>
              <p:nvPicPr>
                <p:cNvPr id="64" name="Picture 63" descr="Automatically generated description: nintendo, screenshot, abstract"/>
                <p:cNvPicPr>
                  <a:picLocks noChangeAspect="1"/>
                </p:cNvPicPr>
                <p:nvPr/>
              </p:nvPicPr>
              <p:blipFill>
                <a:blip r:embed="rId7">
                  <a:clrChange>
                    <a:clrFrom>
                      <a:srgbClr val="FFFFFF"/>
                    </a:clrFrom>
                    <a:clrTo>
                      <a:srgbClr val="FFFFFF">
                        <a:alpha val="0"/>
                      </a:srgbClr>
                    </a:clrTo>
                  </a:clrChange>
                </a:blip>
                <a:stretch>
                  <a:fillRect/>
                </a:stretch>
              </p:blipFill>
              <p:spPr>
                <a:xfrm>
                  <a:off x="10362505" y="1669572"/>
                  <a:ext cx="302466" cy="320032"/>
                </a:xfrm>
                <a:prstGeom prst="rect">
                  <a:avLst/>
                </a:prstGeom>
              </p:spPr>
            </p:pic>
            <p:sp>
              <p:nvSpPr>
                <p:cNvPr id="65" name="Text Box 28"/>
                <p:cNvSpPr txBox="1">
                  <a:spLocks noChangeArrowheads="1"/>
                </p:cNvSpPr>
                <p:nvPr/>
              </p:nvSpPr>
              <p:spPr bwMode="auto">
                <a:xfrm>
                  <a:off x="10643026" y="1698293"/>
                  <a:ext cx="1136123" cy="2683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Blob storage</a:t>
                  </a:r>
                  <a:endParaRPr lang="en-US" altLang="en-US" sz="1428" dirty="0">
                    <a:solidFill>
                      <a:srgbClr val="FFFFFF"/>
                    </a:solidFill>
                    <a:latin typeface="Arial" panose="020B0604020202020204" pitchFamily="34" charset="0"/>
                  </a:endParaRPr>
                </a:p>
              </p:txBody>
            </p:sp>
          </p:grpSp>
          <p:sp>
            <p:nvSpPr>
              <p:cNvPr id="63" name="Rectangle 62"/>
              <p:cNvSpPr/>
              <p:nvPr/>
            </p:nvSpPr>
            <p:spPr>
              <a:xfrm>
                <a:off x="10616879" y="2554451"/>
                <a:ext cx="1320070" cy="521580"/>
              </a:xfrm>
              <a:prstGeom prst="rect">
                <a:avLst/>
              </a:prstGeom>
            </p:spPr>
            <p:txBody>
              <a:bodyPr wrap="square">
                <a:spAutoFit/>
              </a:bodyPr>
              <a:lstStyle/>
              <a:p>
                <a:pPr defTabSz="932384">
                  <a:defRPr/>
                </a:pPr>
                <a:r>
                  <a:rPr lang="en-US" sz="1428" dirty="0">
                    <a:solidFill>
                      <a:srgbClr val="B379C1"/>
                    </a:solidFill>
                    <a:latin typeface="Segoe UI Semibold" panose="020B0702040204020203" pitchFamily="34" charset="0"/>
                    <a:cs typeface="Segoe UI Semibold" panose="020B0702040204020203" pitchFamily="34" charset="0"/>
                  </a:rPr>
                  <a:t>Visual Studio</a:t>
                </a:r>
                <a:r>
                  <a:rPr lang="en-US" sz="1428" dirty="0">
                    <a:solidFill>
                      <a:srgbClr val="505050"/>
                    </a:solidFill>
                    <a:latin typeface="Segoe UI Semibold" panose="020B0702040204020203" pitchFamily="34" charset="0"/>
                    <a:cs typeface="Segoe UI Semibold" panose="020B0702040204020203" pitchFamily="34" charset="0"/>
                  </a:rPr>
                  <a:t> </a:t>
                </a:r>
                <a:r>
                  <a:rPr lang="en-US" sz="1428" dirty="0">
                    <a:solidFill>
                      <a:srgbClr val="FFFFFF"/>
                    </a:solidFill>
                    <a:latin typeface="Segoe UI Semibold" panose="020B0702040204020203" pitchFamily="34" charset="0"/>
                    <a:cs typeface="Segoe UI Semibold" panose="020B0702040204020203" pitchFamily="34" charset="0"/>
                  </a:rPr>
                  <a:t>Team Services</a:t>
                </a:r>
              </a:p>
            </p:txBody>
          </p:sp>
        </p:grpSp>
        <p:pic>
          <p:nvPicPr>
            <p:cNvPr id="81" name="Picture 2" descr="Image result for visual studi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2990" y="3900673"/>
              <a:ext cx="370494" cy="370494"/>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 Box 37">
            <a:extLst>
              <a:ext uri="{FF2B5EF4-FFF2-40B4-BE49-F238E27FC236}">
                <a16:creationId xmlns:a16="http://schemas.microsoft.com/office/drawing/2014/main" id="{5F00BFC9-5C84-4672-A84A-BEAFE6CC3BEA}"/>
              </a:ext>
            </a:extLst>
          </p:cNvPr>
          <p:cNvSpPr txBox="1">
            <a:spLocks noChangeArrowheads="1"/>
          </p:cNvSpPr>
          <p:nvPr/>
        </p:nvSpPr>
        <p:spPr bwMode="auto">
          <a:xfrm>
            <a:off x="230779" y="4480707"/>
            <a:ext cx="11987214" cy="523252"/>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Support</a:t>
            </a:r>
            <a:endParaRPr lang="en-US" altLang="en-US" sz="2856" dirty="0">
              <a:solidFill>
                <a:srgbClr val="FFFFFF"/>
              </a:solidFill>
              <a:latin typeface="Arial" panose="020B0604020202020204" pitchFamily="34" charset="0"/>
            </a:endParaRPr>
          </a:p>
        </p:txBody>
      </p:sp>
      <p:sp>
        <p:nvSpPr>
          <p:cNvPr id="44" name="Rectangle 38">
            <a:extLst>
              <a:ext uri="{FF2B5EF4-FFF2-40B4-BE49-F238E27FC236}">
                <a16:creationId xmlns:a16="http://schemas.microsoft.com/office/drawing/2014/main" id="{8193B7A8-165E-4076-874C-1A608A5BDEF9}"/>
              </a:ext>
            </a:extLst>
          </p:cNvPr>
          <p:cNvSpPr>
            <a:spLocks noChangeArrowheads="1"/>
          </p:cNvSpPr>
          <p:nvPr/>
        </p:nvSpPr>
        <p:spPr bwMode="auto">
          <a:xfrm>
            <a:off x="230779" y="5003961"/>
            <a:ext cx="11987214" cy="1587286"/>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5" anchor="t" anchorCtr="0" compatLnSpc="1">
            <a:prstTxWarp prst="textNoShape">
              <a:avLst/>
            </a:prstTxWarp>
          </a:bodyPr>
          <a:lstStyle/>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SP.NE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SP.NET Cor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ava - J2E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indows Desktop</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CF</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avaScrip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Node.J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PHP</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Python</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Ruby</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ngular</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ocker</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Kubernete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ynamics CRM</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Web App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Cloud Service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VM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Function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Azure Service Fabric</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Glimps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pring</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4Net/NLog</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4J/Logback</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ystem.Diagnostic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emantic Logging (SLAB)</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ETW/</a:t>
            </a:r>
            <a:r>
              <a:rPr lang="en-US" sz="1428" dirty="0" err="1">
                <a:solidFill>
                  <a:srgbClr val="FFFFFF"/>
                </a:solidFill>
                <a:latin typeface="Segoe UI Semibold" panose="020B0702040204020203" pitchFamily="34" charset="0"/>
                <a:cs typeface="Segoe UI Semibold" panose="020B0702040204020203" pitchFamily="34" charset="0"/>
              </a:rPr>
              <a:t>EventSource</a:t>
            </a:r>
            <a:endParaRPr lang="en-US" sz="1428" dirty="0">
              <a:solidFill>
                <a:srgbClr val="FFFFFF"/>
              </a:solidFill>
              <a:latin typeface="Segoe UI Semibold" panose="020B0702040204020203" pitchFamily="34" charset="0"/>
              <a:cs typeface="Segoe UI Semibold" panose="020B0702040204020203" pitchFamily="34" charset="0"/>
            </a:endParaRP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LogStash</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Collectd</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Concrete</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Drupal</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Joomla</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SharePoint</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WordPress</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Orchard</a:t>
            </a:r>
          </a:p>
          <a:p>
            <a:pPr defTabSz="932384">
              <a:defRPr/>
            </a:pPr>
            <a:r>
              <a:rPr lang="en-US" sz="1428" dirty="0">
                <a:solidFill>
                  <a:srgbClr val="FFFFFF"/>
                </a:solidFill>
                <a:latin typeface="Segoe UI Semibold" panose="020B0702040204020203" pitchFamily="34" charset="0"/>
                <a:cs typeface="Segoe UI Semibold" panose="020B0702040204020203" pitchFamily="34" charset="0"/>
              </a:rPr>
              <a:t>OSS/Public Endpoints</a:t>
            </a:r>
          </a:p>
        </p:txBody>
      </p:sp>
      <p:sp>
        <p:nvSpPr>
          <p:cNvPr id="3" name="TextBox 2">
            <a:extLst>
              <a:ext uri="{FF2B5EF4-FFF2-40B4-BE49-F238E27FC236}">
                <a16:creationId xmlns:a16="http://schemas.microsoft.com/office/drawing/2014/main" id="{DE09A68E-98B2-4B67-97FC-53574DCD9729}"/>
              </a:ext>
            </a:extLst>
          </p:cNvPr>
          <p:cNvSpPr txBox="1"/>
          <p:nvPr/>
        </p:nvSpPr>
        <p:spPr>
          <a:xfrm>
            <a:off x="11708988" y="6116551"/>
            <a:ext cx="461373" cy="542399"/>
          </a:xfrm>
          <a:prstGeom prst="rect">
            <a:avLst/>
          </a:prstGeom>
          <a:noFill/>
        </p:spPr>
        <p:txBody>
          <a:bodyPr wrap="none" rtlCol="0">
            <a:spAutoFit/>
          </a:bodyPr>
          <a:lstStyle/>
          <a:p>
            <a:pPr defTabSz="932563">
              <a:defRPr/>
            </a:pPr>
            <a:r>
              <a:rPr lang="en-US" sz="2856" dirty="0">
                <a:solidFill>
                  <a:srgbClr val="FFFFFF"/>
                </a:solidFill>
              </a:rPr>
              <a:t>…</a:t>
            </a:r>
          </a:p>
        </p:txBody>
      </p:sp>
      <p:grpSp>
        <p:nvGrpSpPr>
          <p:cNvPr id="2" name="Group 1">
            <a:extLst>
              <a:ext uri="{FF2B5EF4-FFF2-40B4-BE49-F238E27FC236}">
                <a16:creationId xmlns:a16="http://schemas.microsoft.com/office/drawing/2014/main" id="{2839B3B5-177A-43BF-A0AE-021E0F7C51AB}"/>
              </a:ext>
            </a:extLst>
          </p:cNvPr>
          <p:cNvGrpSpPr/>
          <p:nvPr/>
        </p:nvGrpSpPr>
        <p:grpSpPr>
          <a:xfrm>
            <a:off x="283980" y="1834132"/>
            <a:ext cx="3911920" cy="2110540"/>
            <a:chOff x="229930" y="1833897"/>
            <a:chExt cx="3912475" cy="2110840"/>
          </a:xfrm>
        </p:grpSpPr>
        <p:sp>
          <p:nvSpPr>
            <p:cNvPr id="9" name="Text Box 3"/>
            <p:cNvSpPr txBox="1">
              <a:spLocks noChangeArrowheads="1"/>
            </p:cNvSpPr>
            <p:nvPr/>
          </p:nvSpPr>
          <p:spPr bwMode="auto">
            <a:xfrm>
              <a:off x="229930" y="1833897"/>
              <a:ext cx="3912475" cy="523326"/>
            </a:xfrm>
            <a:prstGeom prst="rect">
              <a:avLst/>
            </a:prstGeom>
            <a:solidFill>
              <a:srgbClr val="2F2C6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2856" dirty="0">
                  <a:solidFill>
                    <a:srgbClr val="FFFFFF"/>
                  </a:solidFill>
                  <a:latin typeface="Segoe UI Light" panose="020B0502040204020203" pitchFamily="34" charset="0"/>
                </a:rPr>
                <a:t>Ingestion</a:t>
              </a:r>
              <a:endParaRPr lang="en-US" altLang="en-US" sz="714" dirty="0">
                <a:solidFill>
                  <a:srgbClr val="FFFFFF"/>
                </a:solidFill>
                <a:latin typeface="Arial" panose="020B0604020202020204" pitchFamily="34" charset="0"/>
              </a:endParaRPr>
            </a:p>
          </p:txBody>
        </p:sp>
        <p:sp>
          <p:nvSpPr>
            <p:cNvPr id="10" name="Rectangle 9"/>
            <p:cNvSpPr>
              <a:spLocks noChangeArrowheads="1"/>
            </p:cNvSpPr>
            <p:nvPr/>
          </p:nvSpPr>
          <p:spPr bwMode="auto">
            <a:xfrm>
              <a:off x="229930" y="2357225"/>
              <a:ext cx="3912475" cy="1587512"/>
            </a:xfrm>
            <a:prstGeom prst="rect">
              <a:avLst/>
            </a:prstGeom>
            <a:solidFill>
              <a:srgbClr val="3F3F3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defTabSz="932384">
                <a:defRPr/>
              </a:pPr>
              <a:endParaRPr lang="en-US" sz="1836">
                <a:solidFill>
                  <a:srgbClr val="FFFFFF"/>
                </a:solidFill>
              </a:endParaRPr>
            </a:p>
          </p:txBody>
        </p:sp>
        <p:grpSp>
          <p:nvGrpSpPr>
            <p:cNvPr id="14" name="Group 13">
              <a:extLst>
                <a:ext uri="{FF2B5EF4-FFF2-40B4-BE49-F238E27FC236}">
                  <a16:creationId xmlns:a16="http://schemas.microsoft.com/office/drawing/2014/main" id="{38CA6177-6A57-45B7-8AE4-D942B6A6E5DD}"/>
                </a:ext>
              </a:extLst>
            </p:cNvPr>
            <p:cNvGrpSpPr/>
            <p:nvPr/>
          </p:nvGrpSpPr>
          <p:grpSpPr>
            <a:xfrm>
              <a:off x="350986" y="2418719"/>
              <a:ext cx="3707333" cy="1461717"/>
              <a:chOff x="350986" y="2418719"/>
              <a:chExt cx="3707333" cy="1461717"/>
            </a:xfrm>
          </p:grpSpPr>
          <p:grpSp>
            <p:nvGrpSpPr>
              <p:cNvPr id="71" name="Group 70"/>
              <p:cNvGrpSpPr/>
              <p:nvPr/>
            </p:nvGrpSpPr>
            <p:grpSpPr>
              <a:xfrm>
                <a:off x="350986" y="2418719"/>
                <a:ext cx="3707333" cy="1461717"/>
                <a:chOff x="397120" y="1737370"/>
                <a:chExt cx="3635484" cy="1433387"/>
              </a:xfrm>
            </p:grpSpPr>
            <p:sp>
              <p:nvSpPr>
                <p:cNvPr id="73" name="Text Box 13"/>
                <p:cNvSpPr txBox="1">
                  <a:spLocks noChangeArrowheads="1"/>
                </p:cNvSpPr>
                <p:nvPr/>
              </p:nvSpPr>
              <p:spPr bwMode="auto">
                <a:xfrm>
                  <a:off x="397120" y="2820361"/>
                  <a:ext cx="3635484" cy="35039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    SCOM MP                      Open Schema</a:t>
                  </a:r>
                  <a:endParaRPr lang="en-US" altLang="en-US" sz="918" dirty="0">
                    <a:solidFill>
                      <a:srgbClr val="FFFFFF"/>
                    </a:solidFill>
                    <a:latin typeface="Arial" panose="020B0604020202020204" pitchFamily="34" charset="0"/>
                  </a:endParaRPr>
                </a:p>
              </p:txBody>
            </p:sp>
            <p:grpSp>
              <p:nvGrpSpPr>
                <p:cNvPr id="74" name="Group 73"/>
                <p:cNvGrpSpPr/>
                <p:nvPr/>
              </p:nvGrpSpPr>
              <p:grpSpPr>
                <a:xfrm>
                  <a:off x="558537" y="1737370"/>
                  <a:ext cx="3063952" cy="882010"/>
                  <a:chOff x="929743" y="1660018"/>
                  <a:chExt cx="3063952" cy="882010"/>
                </a:xfrm>
              </p:grpSpPr>
              <p:pic>
                <p:nvPicPr>
                  <p:cNvPr id="76" name="Picture 11" descr="AppIns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9743" y="1838720"/>
                    <a:ext cx="1033772" cy="6132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77" name="Text Box 12"/>
                  <p:cNvSpPr txBox="1">
                    <a:spLocks noChangeArrowheads="1"/>
                  </p:cNvSpPr>
                  <p:nvPr/>
                </p:nvSpPr>
                <p:spPr bwMode="auto">
                  <a:xfrm>
                    <a:off x="1822526" y="1660018"/>
                    <a:ext cx="2104600" cy="26856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ctr" anchorCtr="0" compatLnSpc="1">
                    <a:prstTxWarp prst="textNoShape">
                      <a:avLst/>
                    </a:prstTxWarp>
                  </a:bodyPr>
                  <a:lstStyle/>
                  <a:p>
                    <a:pPr algn="ctr" defTabSz="932239" eaLnBrk="0" fontAlgn="base" hangingPunct="0">
                      <a:spcBef>
                        <a:spcPct val="0"/>
                      </a:spcBef>
                      <a:spcAft>
                        <a:spcPct val="0"/>
                      </a:spcAft>
                      <a:defRPr/>
                    </a:pPr>
                    <a:r>
                      <a:rPr lang="en-US" altLang="en-US" sz="1428" b="1" dirty="0">
                        <a:solidFill>
                          <a:srgbClr val="E0C8E6"/>
                        </a:solidFill>
                        <a:latin typeface="Segoe UI Bold" panose="020B0802040204020203" pitchFamily="34" charset="0"/>
                        <a:cs typeface="Segoe UI Bold" panose="020B0802040204020203" pitchFamily="34" charset="0"/>
                      </a:rPr>
                      <a:t>Application Insights</a:t>
                    </a:r>
                    <a:endParaRPr lang="en-US" altLang="en-US" sz="918" b="1" dirty="0">
                      <a:solidFill>
                        <a:srgbClr val="E0C8E6"/>
                      </a:solidFill>
                      <a:latin typeface="Segoe UI Bold" panose="020B0802040204020203" pitchFamily="34" charset="0"/>
                      <a:cs typeface="Segoe UI Bold" panose="020B0802040204020203" pitchFamily="34" charset="0"/>
                    </a:endParaRPr>
                  </a:p>
                </p:txBody>
              </p:sp>
              <p:sp>
                <p:nvSpPr>
                  <p:cNvPr id="78" name="Text Box 13"/>
                  <p:cNvSpPr txBox="1">
                    <a:spLocks noChangeArrowheads="1"/>
                  </p:cNvSpPr>
                  <p:nvPr/>
                </p:nvSpPr>
                <p:spPr bwMode="auto">
                  <a:xfrm>
                    <a:off x="1771300" y="1899625"/>
                    <a:ext cx="2222395" cy="64240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7294" tIns="37294" rIns="37294" bIns="37294" numCol="1" anchor="t" anchorCtr="0" compatLnSpc="1">
                    <a:prstTxWarp prst="textNoShape">
                      <a:avLst/>
                    </a:prstTxWarp>
                  </a:bodyPr>
                  <a:lstStyle/>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Open Source SDKs</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Status Monitor </a:t>
                    </a:r>
                  </a:p>
                  <a:p>
                    <a:pPr algn="ctr" defTabSz="932239" eaLnBrk="0" fontAlgn="base" hangingPunct="0">
                      <a:spcBef>
                        <a:spcPct val="0"/>
                      </a:spcBef>
                      <a:spcAft>
                        <a:spcPct val="0"/>
                      </a:spcAft>
                      <a:defRPr/>
                    </a:pPr>
                    <a:r>
                      <a:rPr lang="en-US" altLang="en-US" sz="1428" dirty="0">
                        <a:solidFill>
                          <a:srgbClr val="FFFFFF"/>
                        </a:solidFill>
                        <a:latin typeface="Segoe UI Semibold" panose="020B0702040204020203" pitchFamily="34" charset="0"/>
                      </a:rPr>
                      <a:t>Azure Extensions</a:t>
                    </a:r>
                  </a:p>
                </p:txBody>
              </p:sp>
            </p:grpSp>
          </p:grpSp>
          <p:pic>
            <p:nvPicPr>
              <p:cNvPr id="1028" name="Picture 4" descr="Image result for scom icon">
                <a:extLst>
                  <a:ext uri="{FF2B5EF4-FFF2-40B4-BE49-F238E27FC236}">
                    <a16:creationId xmlns:a16="http://schemas.microsoft.com/office/drawing/2014/main" id="{673002B1-D8C6-4B31-8D22-0273D3E55A66}"/>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6337" y="3381009"/>
                <a:ext cx="380311" cy="4056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14840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lang="en-US" spc="0" dirty="0">
                <a:ln/>
                <a:solidFill>
                  <a:srgbClr val="FFFFFF"/>
                </a:solidFill>
              </a:rPr>
              <a:t>Design for Operations (10-15%)</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1" y="1289717"/>
            <a:ext cx="12436475" cy="5423023"/>
          </a:xfrm>
          <a:prstGeom prst="rect">
            <a:avLst/>
          </a:prstGeom>
          <a:noFill/>
        </p:spPr>
        <p:txBody>
          <a:bodyPr wrap="square" lIns="182880" tIns="146304" rIns="182880" bIns="146304" rtlCol="0">
            <a:spAutoFit/>
          </a:bodyPr>
          <a:lstStyle/>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n application monitoring and alerting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the appropriate Microsoft products and services for monitoring applications on Azure</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solutions for analyzing logs and enabling alerts using Azure Log Analytic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solutions for analyzing performance metrics and enabling alerts using Azure Monitor</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olution for monitoring applications and enabling alerts using Application Insights </a:t>
            </a:r>
          </a:p>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 platform monitoring and alerting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the appropriate Microsoft products and services for monitoring Azure platform solution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monitoring solution using Azure Health, Azure Advisor, and Activity Log</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monitoring solution for Azure Networks using Log Analytics and Network Watcher service</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Monitor security with Azure Security Center</a:t>
            </a:r>
          </a:p>
          <a:p>
            <a:pPr marL="342900" lvl="0" indent="-342900" fontAlgn="base">
              <a:lnSpc>
                <a:spcPct val="90000"/>
              </a:lnSpc>
              <a:spcBef>
                <a:spcPct val="20000"/>
              </a:spcBef>
              <a:buSzPct val="90000"/>
              <a:buFont typeface="Arial" pitchFamily="34" charset="0"/>
              <a:buChar char="•"/>
            </a:pPr>
            <a:r>
              <a:rPr lang="en-US" sz="3200" dirty="0">
                <a:gradFill>
                  <a:gsLst>
                    <a:gs pos="1250">
                      <a:srgbClr val="505050"/>
                    </a:gs>
                    <a:gs pos="100000">
                      <a:srgbClr val="505050"/>
                    </a:gs>
                  </a:gsLst>
                  <a:lin ang="5400000" scaled="0"/>
                </a:gradFill>
                <a:latin typeface="Segoe UI Light"/>
              </a:rPr>
              <a:t>Design an operations automation strategy </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termine when to use Azure Automation, Chef, Puppet, PowerShell, Desired State Configuration (DSC), Event Grid, and Azure Logic Apps</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trategy for auto-scaling</a:t>
            </a:r>
          </a:p>
          <a:p>
            <a:pPr marL="584200" lvl="1" indent="-241300" fontAlgn="base">
              <a:lnSpc>
                <a:spcPct val="90000"/>
              </a:lnSpc>
              <a:spcBef>
                <a:spcPct val="20000"/>
              </a:spcBef>
              <a:buSzPct val="90000"/>
              <a:buFont typeface="Arial" pitchFamily="34" charset="0"/>
              <a:buChar char="•"/>
            </a:pPr>
            <a:r>
              <a:rPr lang="en-US" dirty="0">
                <a:gradFill>
                  <a:gsLst>
                    <a:gs pos="1250">
                      <a:srgbClr val="505050"/>
                    </a:gs>
                    <a:gs pos="100000">
                      <a:srgbClr val="505050"/>
                    </a:gs>
                  </a:gsLst>
                  <a:lin ang="5400000" scaled="0"/>
                </a:gradFill>
              </a:rPr>
              <a:t>Define a strategy for enabling periodic processes and tasks</a:t>
            </a:r>
          </a:p>
        </p:txBody>
      </p:sp>
    </p:spTree>
    <p:extLst>
      <p:ext uri="{BB962C8B-B14F-4D97-AF65-F5344CB8AC3E}">
        <p14:creationId xmlns:p14="http://schemas.microsoft.com/office/powerpoint/2010/main" val="11604966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C75600-085C-43D0-8057-E3B72A17DBF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97712" y="1646035"/>
            <a:ext cx="9043417" cy="4594469"/>
          </a:xfrm>
          <a:prstGeom prst="rect">
            <a:avLst/>
          </a:prstGeom>
          <a:ln>
            <a:noFill/>
          </a:ln>
          <a:effectLst>
            <a:outerShdw blurRad="190500" algn="tl" rotWithShape="0">
              <a:srgbClr val="000000">
                <a:alpha val="70000"/>
              </a:srgbClr>
            </a:outerShdw>
          </a:effectLst>
        </p:spPr>
      </p:pic>
      <p:graphicFrame>
        <p:nvGraphicFramePr>
          <p:cNvPr id="5" name="Diagram 4">
            <a:extLst>
              <a:ext uri="{FF2B5EF4-FFF2-40B4-BE49-F238E27FC236}">
                <a16:creationId xmlns:a16="http://schemas.microsoft.com/office/drawing/2014/main" id="{0620D21C-44CA-433D-BDB6-9CCD62BD7472}"/>
              </a:ext>
            </a:extLst>
          </p:cNvPr>
          <p:cNvGraphicFramePr/>
          <p:nvPr>
            <p:extLst/>
          </p:nvPr>
        </p:nvGraphicFramePr>
        <p:xfrm>
          <a:off x="90174" y="1512322"/>
          <a:ext cx="1537803" cy="48618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a:extLst>
              <a:ext uri="{FF2B5EF4-FFF2-40B4-BE49-F238E27FC236}">
                <a16:creationId xmlns:a16="http://schemas.microsoft.com/office/drawing/2014/main" id="{372992D3-581E-40D4-8864-5279AFF0581F}"/>
              </a:ext>
            </a:extLst>
          </p:cNvPr>
          <p:cNvGraphicFramePr/>
          <p:nvPr>
            <p:extLst/>
          </p:nvPr>
        </p:nvGraphicFramePr>
        <p:xfrm>
          <a:off x="10810864" y="1512323"/>
          <a:ext cx="1551973" cy="486189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itle 1">
            <a:extLst>
              <a:ext uri="{FF2B5EF4-FFF2-40B4-BE49-F238E27FC236}">
                <a16:creationId xmlns:a16="http://schemas.microsoft.com/office/drawing/2014/main" id="{52808121-8AED-474A-9D78-CC57738272EE}"/>
              </a:ext>
            </a:extLst>
          </p:cNvPr>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sym typeface="Wingdings" panose="05000000000000000000" pitchFamily="2" charset="2"/>
              </a:rPr>
              <a:t>Application Insight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79333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1043770"/>
          </a:xfrm>
          <a:solidFill>
            <a:srgbClr val="0078D7"/>
          </a:solidFill>
        </p:spPr>
        <p:txBody>
          <a:bodyPr vert="horz" wrap="square" lIns="146304" tIns="91440" rIns="146304" bIns="91440" rtlCol="0" anchor="ctr">
            <a:noAutofit/>
          </a:bodyPr>
          <a:lstStyle/>
          <a:p>
            <a:r>
              <a:rPr lang="en-US" spc="0" dirty="0">
                <a:ln/>
                <a:solidFill>
                  <a:srgbClr val="FFFFFF"/>
                </a:solidFill>
                <a:latin typeface="Segoe UI Light"/>
              </a:rPr>
              <a:t>Application Map</a:t>
            </a:r>
          </a:p>
        </p:txBody>
      </p:sp>
      <p:sp>
        <p:nvSpPr>
          <p:cNvPr id="3" name="Content Placeholder 2"/>
          <p:cNvSpPr>
            <a:spLocks noGrp="1"/>
          </p:cNvSpPr>
          <p:nvPr>
            <p:ph idx="1"/>
          </p:nvPr>
        </p:nvSpPr>
        <p:spPr>
          <a:xfrm>
            <a:off x="1709425" y="1816635"/>
            <a:ext cx="6631315" cy="4134120"/>
          </a:xfrm>
        </p:spPr>
        <p:txBody>
          <a:bodyPr>
            <a:normAutofit/>
          </a:bodyPr>
          <a:lstStyle/>
          <a:p>
            <a:br>
              <a:rPr lang="en-US" dirty="0"/>
            </a:br>
            <a:endParaRPr lang="en-US" dirty="0"/>
          </a:p>
        </p:txBody>
      </p:sp>
      <p:pic>
        <p:nvPicPr>
          <p:cNvPr id="6" name="Picture 5"/>
          <p:cNvPicPr>
            <a:picLocks noChangeAspect="1"/>
          </p:cNvPicPr>
          <p:nvPr/>
        </p:nvPicPr>
        <p:blipFill>
          <a:blip r:embed="rId3"/>
          <a:stretch>
            <a:fillRect/>
          </a:stretch>
        </p:blipFill>
        <p:spPr>
          <a:xfrm>
            <a:off x="2063688" y="1043770"/>
            <a:ext cx="7823890" cy="5946159"/>
          </a:xfrm>
          <a:prstGeom prst="rect">
            <a:avLst/>
          </a:prstGeom>
        </p:spPr>
      </p:pic>
    </p:spTree>
    <p:extLst>
      <p:ext uri="{BB962C8B-B14F-4D97-AF65-F5344CB8AC3E}">
        <p14:creationId xmlns:p14="http://schemas.microsoft.com/office/powerpoint/2010/main" val="2536770981"/>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09425" y="1816635"/>
            <a:ext cx="6631315" cy="4134120"/>
          </a:xfrm>
        </p:spPr>
        <p:txBody>
          <a:bodyPr>
            <a:normAutofit/>
          </a:bodyPr>
          <a:lstStyle/>
          <a:p>
            <a:br>
              <a:rPr lang="en-US" dirty="0"/>
            </a:br>
            <a:endParaRPr lang="en-US" dirty="0"/>
          </a:p>
        </p:txBody>
      </p:sp>
      <p:pic>
        <p:nvPicPr>
          <p:cNvPr id="4" name="Picture 3"/>
          <p:cNvPicPr>
            <a:picLocks noChangeAspect="1"/>
          </p:cNvPicPr>
          <p:nvPr/>
        </p:nvPicPr>
        <p:blipFill>
          <a:blip r:embed="rId3"/>
          <a:stretch>
            <a:fillRect/>
          </a:stretch>
        </p:blipFill>
        <p:spPr>
          <a:xfrm>
            <a:off x="787241" y="2116371"/>
            <a:ext cx="10607355" cy="2761782"/>
          </a:xfrm>
          <a:prstGeom prst="rect">
            <a:avLst/>
          </a:prstGeom>
        </p:spPr>
      </p:pic>
      <p:sp>
        <p:nvSpPr>
          <p:cNvPr id="5" name="Title 1">
            <a:extLst>
              <a:ext uri="{FF2B5EF4-FFF2-40B4-BE49-F238E27FC236}">
                <a16:creationId xmlns:a16="http://schemas.microsoft.com/office/drawing/2014/main" id="{7A7D13B9-550C-4920-AFEF-FFE5DE7DA3E1}"/>
              </a:ext>
            </a:extLst>
          </p:cNvPr>
          <p:cNvSpPr txBox="1">
            <a:spLocks/>
          </p:cNvSpPr>
          <p:nvPr/>
        </p:nvSpPr>
        <p:spPr>
          <a:xfrm>
            <a:off x="-1" y="0"/>
            <a:ext cx="12436475" cy="1043770"/>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pc="0" dirty="0">
                <a:ln/>
                <a:solidFill>
                  <a:srgbClr val="FFFFFF"/>
                </a:solidFill>
                <a:latin typeface="Segoe UI Light"/>
              </a:rPr>
              <a:t>Application Map - Recommendations</a:t>
            </a:r>
          </a:p>
        </p:txBody>
      </p:sp>
    </p:spTree>
    <p:extLst>
      <p:ext uri="{BB962C8B-B14F-4D97-AF65-F5344CB8AC3E}">
        <p14:creationId xmlns:p14="http://schemas.microsoft.com/office/powerpoint/2010/main" val="551036567"/>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 platform monitoring and alerting strategy</a:t>
            </a:r>
          </a:p>
        </p:txBody>
      </p:sp>
    </p:spTree>
    <p:extLst>
      <p:ext uri="{BB962C8B-B14F-4D97-AF65-F5344CB8AC3E}">
        <p14:creationId xmlns:p14="http://schemas.microsoft.com/office/powerpoint/2010/main" val="39425521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400855" y="1871079"/>
            <a:ext cx="3418570" cy="325236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Diagnose and get support when an Azure issue impacts your resources</a:t>
            </a:r>
          </a:p>
          <a:p>
            <a:r>
              <a:rPr lang="en-US" sz="2856" dirty="0">
                <a:solidFill>
                  <a:srgbClr val="505050"/>
                </a:solidFill>
                <a:latin typeface="Segoe UI" panose="020B0502040204020203" pitchFamily="34" charset="0"/>
              </a:rPr>
              <a:t>Guides you through solutions to mitigate issues with Azure resources</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Resource Health</a:t>
            </a:r>
          </a:p>
        </p:txBody>
      </p:sp>
      <p:sp>
        <p:nvSpPr>
          <p:cNvPr id="4" name="TextBox 3">
            <a:extLst>
              <a:ext uri="{FF2B5EF4-FFF2-40B4-BE49-F238E27FC236}">
                <a16:creationId xmlns:a16="http://schemas.microsoft.com/office/drawing/2014/main" id="{A9D3DFEF-0530-44BB-B6A8-1534CEB455A7}"/>
              </a:ext>
            </a:extLst>
          </p:cNvPr>
          <p:cNvSpPr txBox="1"/>
          <p:nvPr/>
        </p:nvSpPr>
        <p:spPr>
          <a:xfrm>
            <a:off x="400855" y="6219929"/>
            <a:ext cx="515660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ureresourcehealth</a:t>
            </a:r>
            <a:endParaRPr lang="en-US" sz="2400" dirty="0">
              <a:solidFill>
                <a:srgbClr val="505050"/>
              </a:solidFill>
              <a:latin typeface="Segoe UI" panose="020B0502040204020203" pitchFamily="34" charset="0"/>
            </a:endParaRPr>
          </a:p>
        </p:txBody>
      </p:sp>
      <p:pic>
        <p:nvPicPr>
          <p:cNvPr id="6" name="Picture 5">
            <a:extLst>
              <a:ext uri="{FF2B5EF4-FFF2-40B4-BE49-F238E27FC236}">
                <a16:creationId xmlns:a16="http://schemas.microsoft.com/office/drawing/2014/main" id="{1F34C6BD-D692-4760-886F-E4E41B662405}"/>
              </a:ext>
            </a:extLst>
          </p:cNvPr>
          <p:cNvPicPr>
            <a:picLocks noChangeAspect="1"/>
          </p:cNvPicPr>
          <p:nvPr/>
        </p:nvPicPr>
        <p:blipFill>
          <a:blip r:embed="rId4"/>
          <a:stretch>
            <a:fillRect/>
          </a:stretch>
        </p:blipFill>
        <p:spPr>
          <a:xfrm>
            <a:off x="4241661" y="1239521"/>
            <a:ext cx="7992590" cy="4515480"/>
          </a:xfrm>
          <a:prstGeom prst="rect">
            <a:avLst/>
          </a:prstGeom>
        </p:spPr>
      </p:pic>
    </p:spTree>
    <p:extLst>
      <p:ext uri="{BB962C8B-B14F-4D97-AF65-F5344CB8AC3E}">
        <p14:creationId xmlns:p14="http://schemas.microsoft.com/office/powerpoint/2010/main" val="13374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561628" y="1177743"/>
            <a:ext cx="10481510" cy="87902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Personalized recommendation guide to best practices</a:t>
            </a:r>
          </a:p>
          <a:p>
            <a:r>
              <a:rPr lang="en-US" sz="2856" dirty="0">
                <a:solidFill>
                  <a:srgbClr val="505050"/>
                </a:solidFill>
                <a:latin typeface="Segoe UI" panose="020B0502040204020203" pitchFamily="34" charset="0"/>
              </a:rPr>
              <a:t>Optimize across high availability, performance, security, and cost</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Advisor</a:t>
            </a:r>
          </a:p>
        </p:txBody>
      </p:sp>
      <p:sp>
        <p:nvSpPr>
          <p:cNvPr id="4" name="TextBox 3">
            <a:extLst>
              <a:ext uri="{FF2B5EF4-FFF2-40B4-BE49-F238E27FC236}">
                <a16:creationId xmlns:a16="http://schemas.microsoft.com/office/drawing/2014/main" id="{A9D3DFEF-0530-44BB-B6A8-1534CEB455A7}"/>
              </a:ext>
            </a:extLst>
          </p:cNvPr>
          <p:cNvSpPr txBox="1"/>
          <p:nvPr/>
        </p:nvSpPr>
        <p:spPr>
          <a:xfrm>
            <a:off x="400855" y="6219929"/>
            <a:ext cx="41339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ureadvisor</a:t>
            </a:r>
            <a:endParaRPr lang="en-US" sz="2400" dirty="0">
              <a:solidFill>
                <a:srgbClr val="505050"/>
              </a:solidFill>
              <a:latin typeface="Segoe UI" panose="020B0502040204020203" pitchFamily="34" charset="0"/>
            </a:endParaRPr>
          </a:p>
        </p:txBody>
      </p:sp>
      <p:pic>
        <p:nvPicPr>
          <p:cNvPr id="5" name="Picture 4">
            <a:extLst>
              <a:ext uri="{FF2B5EF4-FFF2-40B4-BE49-F238E27FC236}">
                <a16:creationId xmlns:a16="http://schemas.microsoft.com/office/drawing/2014/main" id="{21D55421-B6B6-4E24-B093-6212727923B8}"/>
              </a:ext>
            </a:extLst>
          </p:cNvPr>
          <p:cNvPicPr>
            <a:picLocks noChangeAspect="1"/>
          </p:cNvPicPr>
          <p:nvPr/>
        </p:nvPicPr>
        <p:blipFill>
          <a:blip r:embed="rId4"/>
          <a:stretch>
            <a:fillRect/>
          </a:stretch>
        </p:blipFill>
        <p:spPr>
          <a:xfrm>
            <a:off x="974689" y="2149851"/>
            <a:ext cx="10245933" cy="4074789"/>
          </a:xfrm>
          <a:prstGeom prst="rect">
            <a:avLst/>
          </a:prstGeom>
        </p:spPr>
      </p:pic>
    </p:spTree>
    <p:extLst>
      <p:ext uri="{BB962C8B-B14F-4D97-AF65-F5344CB8AC3E}">
        <p14:creationId xmlns:p14="http://schemas.microsoft.com/office/powerpoint/2010/main" val="323212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80387" y="1328469"/>
            <a:ext cx="3645106" cy="391164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Control Plane Log</a:t>
            </a:r>
          </a:p>
          <a:p>
            <a:r>
              <a:rPr lang="en-US" sz="2856" dirty="0">
                <a:solidFill>
                  <a:srgbClr val="505050"/>
                </a:solidFill>
                <a:latin typeface="Segoe UI" panose="020B0502040204020203" pitchFamily="34" charset="0"/>
              </a:rPr>
              <a:t>Azure Resource operations</a:t>
            </a:r>
          </a:p>
          <a:p>
            <a:r>
              <a:rPr lang="en-US" sz="2856" dirty="0">
                <a:solidFill>
                  <a:srgbClr val="505050"/>
                </a:solidFill>
                <a:latin typeface="Segoe UI" panose="020B0502040204020203" pitchFamily="34" charset="0"/>
              </a:rPr>
              <a:t>Azure Resource Manager operational data</a:t>
            </a:r>
          </a:p>
          <a:p>
            <a:r>
              <a:rPr lang="en-US" sz="2856" dirty="0">
                <a:solidFill>
                  <a:srgbClr val="505050"/>
                </a:solidFill>
                <a:latin typeface="Segoe UI" panose="020B0502040204020203" pitchFamily="34" charset="0"/>
              </a:rPr>
              <a:t>Service Health events</a:t>
            </a:r>
          </a:p>
          <a:p>
            <a:r>
              <a:rPr lang="en-US" sz="2856" dirty="0">
                <a:solidFill>
                  <a:srgbClr val="505050"/>
                </a:solidFill>
                <a:latin typeface="Segoe UI" panose="020B0502040204020203" pitchFamily="34" charset="0"/>
              </a:rPr>
              <a:t>“Who Did What When”</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Activity Log</a:t>
            </a:r>
          </a:p>
        </p:txBody>
      </p:sp>
      <p:sp>
        <p:nvSpPr>
          <p:cNvPr id="4" name="TextBox 3">
            <a:extLst>
              <a:ext uri="{FF2B5EF4-FFF2-40B4-BE49-F238E27FC236}">
                <a16:creationId xmlns:a16="http://schemas.microsoft.com/office/drawing/2014/main" id="{A9D3DFEF-0530-44BB-B6A8-1534CEB455A7}"/>
              </a:ext>
            </a:extLst>
          </p:cNvPr>
          <p:cNvSpPr txBox="1"/>
          <p:nvPr/>
        </p:nvSpPr>
        <p:spPr>
          <a:xfrm>
            <a:off x="-1" y="6278311"/>
            <a:ext cx="41339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ka.ms/azactivitylog</a:t>
            </a:r>
            <a:endParaRPr lang="en-US" sz="2400" dirty="0">
              <a:solidFill>
                <a:srgbClr val="505050"/>
              </a:solidFill>
              <a:latin typeface="Segoe UI" panose="020B0502040204020203" pitchFamily="34" charset="0"/>
            </a:endParaRPr>
          </a:p>
        </p:txBody>
      </p:sp>
      <p:pic>
        <p:nvPicPr>
          <p:cNvPr id="6" name="Picture 5">
            <a:extLst>
              <a:ext uri="{FF2B5EF4-FFF2-40B4-BE49-F238E27FC236}">
                <a16:creationId xmlns:a16="http://schemas.microsoft.com/office/drawing/2014/main" id="{412179A5-738B-4079-A681-C2E7E39FE69F}"/>
              </a:ext>
            </a:extLst>
          </p:cNvPr>
          <p:cNvPicPr>
            <a:picLocks noChangeAspect="1"/>
          </p:cNvPicPr>
          <p:nvPr/>
        </p:nvPicPr>
        <p:blipFill>
          <a:blip r:embed="rId4"/>
          <a:stretch>
            <a:fillRect/>
          </a:stretch>
        </p:blipFill>
        <p:spPr>
          <a:xfrm>
            <a:off x="4043778" y="1084658"/>
            <a:ext cx="8392696" cy="5725324"/>
          </a:xfrm>
          <a:prstGeom prst="rect">
            <a:avLst/>
          </a:prstGeom>
        </p:spPr>
      </p:pic>
    </p:spTree>
    <p:extLst>
      <p:ext uri="{BB962C8B-B14F-4D97-AF65-F5344CB8AC3E}">
        <p14:creationId xmlns:p14="http://schemas.microsoft.com/office/powerpoint/2010/main" val="386314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70710" y="1087339"/>
            <a:ext cx="10481510" cy="519526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solidFill>
                  <a:srgbClr val="505050"/>
                </a:solidFill>
                <a:latin typeface="Segoe UI Light" panose="020B0502040204020203" pitchFamily="34" charset="0"/>
                <a:cs typeface="Segoe UI Light" panose="020B0502040204020203" pitchFamily="34" charset="0"/>
              </a:rPr>
              <a:t>Monitor</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Monitor communication between a VM and an endpoint</a:t>
            </a:r>
          </a:p>
          <a:p>
            <a:pPr lvl="1"/>
            <a:r>
              <a:rPr lang="en-US" sz="2000" dirty="0">
                <a:solidFill>
                  <a:srgbClr val="505050"/>
                </a:solidFill>
                <a:latin typeface="Segoe UI Light" panose="020B0502040204020203" pitchFamily="34" charset="0"/>
                <a:cs typeface="Segoe UI Light" panose="020B0502040204020203" pitchFamily="34" charset="0"/>
              </a:rPr>
              <a:t>View resources in a virtual network and their relationships</a:t>
            </a:r>
          </a:p>
          <a:p>
            <a:r>
              <a:rPr lang="en-US" sz="2800" dirty="0">
                <a:solidFill>
                  <a:srgbClr val="505050"/>
                </a:solidFill>
                <a:latin typeface="Segoe UI Light" panose="020B0502040204020203" pitchFamily="34" charset="0"/>
                <a:cs typeface="Segoe UI Light" panose="020B0502040204020203" pitchFamily="34" charset="0"/>
              </a:rPr>
              <a:t>Diagnostic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Diagnose network traffic problems to/from a VM</a:t>
            </a:r>
          </a:p>
          <a:p>
            <a:pPr lvl="1"/>
            <a:r>
              <a:rPr lang="en-US" sz="2000" dirty="0">
                <a:solidFill>
                  <a:srgbClr val="505050"/>
                </a:solidFill>
                <a:latin typeface="Segoe UI Light" panose="020B0502040204020203" pitchFamily="34" charset="0"/>
                <a:cs typeface="Segoe UI Light" panose="020B0502040204020203" pitchFamily="34" charset="0"/>
              </a:rPr>
              <a:t>VM network routing, connections, packet capture</a:t>
            </a:r>
          </a:p>
          <a:p>
            <a:pPr lvl="1"/>
            <a:r>
              <a:rPr lang="en-US" sz="2000" dirty="0">
                <a:solidFill>
                  <a:srgbClr val="505050"/>
                </a:solidFill>
                <a:latin typeface="Segoe UI Light" panose="020B0502040204020203" pitchFamily="34" charset="0"/>
                <a:cs typeface="Segoe UI Light" panose="020B0502040204020203" pitchFamily="34" charset="0"/>
              </a:rPr>
              <a:t>Virtual Network gateway connection diagnosis</a:t>
            </a:r>
          </a:p>
          <a:p>
            <a:pPr lvl="1"/>
            <a:r>
              <a:rPr lang="en-US" sz="2000" dirty="0">
                <a:solidFill>
                  <a:srgbClr val="505050"/>
                </a:solidFill>
                <a:latin typeface="Segoe UI Light" panose="020B0502040204020203" pitchFamily="34" charset="0"/>
                <a:cs typeface="Segoe UI Light" panose="020B0502040204020203" pitchFamily="34" charset="0"/>
              </a:rPr>
              <a:t>Latencies between Azure regions and internet service providers</a:t>
            </a:r>
          </a:p>
          <a:p>
            <a:pPr lvl="1"/>
            <a:r>
              <a:rPr lang="en-US" sz="2000" i="1" dirty="0">
                <a:solidFill>
                  <a:srgbClr val="505050"/>
                </a:solidFill>
                <a:latin typeface="Segoe UI Light" panose="020B0502040204020203" pitchFamily="34" charset="0"/>
                <a:cs typeface="Segoe UI Light" panose="020B0502040204020203" pitchFamily="34" charset="0"/>
              </a:rPr>
              <a:t>Effective</a:t>
            </a:r>
            <a:r>
              <a:rPr lang="en-US" sz="2000" dirty="0">
                <a:solidFill>
                  <a:srgbClr val="505050"/>
                </a:solidFill>
                <a:latin typeface="Segoe UI Light" panose="020B0502040204020203" pitchFamily="34" charset="0"/>
                <a:cs typeface="Segoe UI Light" panose="020B0502040204020203" pitchFamily="34" charset="0"/>
              </a:rPr>
              <a:t> network interface security rule </a:t>
            </a:r>
            <a:r>
              <a:rPr lang="en-US" sz="2000" dirty="0">
                <a:solidFill>
                  <a:srgbClr val="505050"/>
                </a:solidFill>
                <a:latin typeface="Segoe UI Light" panose="020B0502040204020203" pitchFamily="34" charset="0"/>
                <a:cs typeface="Segoe UI Light" panose="020B0502040204020203" pitchFamily="34" charset="0"/>
                <a:sym typeface="Wingdings" panose="05000000000000000000" pitchFamily="2" charset="2"/>
              </a:rPr>
              <a:t> </a:t>
            </a:r>
            <a:r>
              <a:rPr lang="en-US" sz="2000" dirty="0">
                <a:solidFill>
                  <a:srgbClr val="505050"/>
                </a:solidFill>
                <a:latin typeface="Segoe UI Light" panose="020B0502040204020203" pitchFamily="34" charset="0"/>
                <a:cs typeface="Segoe UI Light" panose="020B0502040204020203" pitchFamily="34" charset="0"/>
              </a:rPr>
              <a:t>NIC, containing subnet, aggregate set</a:t>
            </a:r>
          </a:p>
          <a:p>
            <a:r>
              <a:rPr lang="en-US" sz="2800" dirty="0">
                <a:solidFill>
                  <a:srgbClr val="505050"/>
                </a:solidFill>
                <a:latin typeface="Segoe UI Light" panose="020B0502040204020203" pitchFamily="34" charset="0"/>
                <a:cs typeface="Segoe UI Light" panose="020B0502040204020203" pitchFamily="34" charset="0"/>
              </a:rPr>
              <a:t>Metric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Overview number of network resources created in subscription/region</a:t>
            </a:r>
          </a:p>
          <a:p>
            <a:r>
              <a:rPr lang="en-US" sz="2800" dirty="0">
                <a:solidFill>
                  <a:srgbClr val="505050"/>
                </a:solidFill>
                <a:latin typeface="Segoe UI Light" panose="020B0502040204020203" pitchFamily="34" charset="0"/>
                <a:cs typeface="Segoe UI Light" panose="020B0502040204020203" pitchFamily="34" charset="0"/>
              </a:rPr>
              <a:t>Logs</a:t>
            </a:r>
            <a:endParaRPr lang="en-US" sz="2000" dirty="0">
              <a:solidFill>
                <a:srgbClr val="505050"/>
              </a:solidFill>
              <a:latin typeface="Segoe UI Light" panose="020B0502040204020203" pitchFamily="34" charset="0"/>
              <a:cs typeface="Segoe UI Light" panose="020B0502040204020203" pitchFamily="34" charset="0"/>
            </a:endParaRPr>
          </a:p>
          <a:p>
            <a:pPr lvl="1"/>
            <a:r>
              <a:rPr lang="en-US" sz="2000" dirty="0">
                <a:solidFill>
                  <a:srgbClr val="505050"/>
                </a:solidFill>
                <a:latin typeface="Segoe UI Light" panose="020B0502040204020203" pitchFamily="34" charset="0"/>
                <a:cs typeface="Segoe UI Light" panose="020B0502040204020203" pitchFamily="34" charset="0"/>
              </a:rPr>
              <a:t>Network security group traffic analytics</a:t>
            </a:r>
          </a:p>
          <a:p>
            <a:pPr lvl="1"/>
            <a:r>
              <a:rPr lang="en-US" sz="2000" dirty="0">
                <a:solidFill>
                  <a:srgbClr val="505050"/>
                </a:solidFill>
                <a:latin typeface="Segoe UI Light" panose="020B0502040204020203" pitchFamily="34" charset="0"/>
                <a:cs typeface="Segoe UI Light" panose="020B0502040204020203" pitchFamily="34" charset="0"/>
              </a:rPr>
              <a:t>Network resource diagnostic logs</a:t>
            </a: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Network Watcher</a:t>
            </a:r>
          </a:p>
        </p:txBody>
      </p:sp>
      <p:sp>
        <p:nvSpPr>
          <p:cNvPr id="4" name="TextBox 3">
            <a:extLst>
              <a:ext uri="{FF2B5EF4-FFF2-40B4-BE49-F238E27FC236}">
                <a16:creationId xmlns:a16="http://schemas.microsoft.com/office/drawing/2014/main" id="{A9D3DFEF-0530-44BB-B6A8-1534CEB455A7}"/>
              </a:ext>
            </a:extLst>
          </p:cNvPr>
          <p:cNvSpPr txBox="1"/>
          <p:nvPr/>
        </p:nvSpPr>
        <p:spPr>
          <a:xfrm>
            <a:off x="370710" y="6302287"/>
            <a:ext cx="34852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Network Watcher Docs</a:t>
            </a:r>
            <a:endParaRPr lang="en-US" sz="2400" dirty="0">
              <a:solidFill>
                <a:srgbClr val="505050"/>
              </a:solidFill>
              <a:latin typeface="Segoe UI" panose="020B0502040204020203" pitchFamily="34" charset="0"/>
            </a:endParaRPr>
          </a:p>
        </p:txBody>
      </p:sp>
    </p:spTree>
    <p:extLst>
      <p:ext uri="{BB962C8B-B14F-4D97-AF65-F5344CB8AC3E}">
        <p14:creationId xmlns:p14="http://schemas.microsoft.com/office/powerpoint/2010/main" val="19928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curity Center</a:t>
            </a:r>
          </a:p>
        </p:txBody>
      </p:sp>
      <p:pic>
        <p:nvPicPr>
          <p:cNvPr id="2" name="Picture 1">
            <a:extLst>
              <a:ext uri="{FF2B5EF4-FFF2-40B4-BE49-F238E27FC236}">
                <a16:creationId xmlns:a16="http://schemas.microsoft.com/office/drawing/2014/main" id="{84B5AD56-87A3-4438-B1C5-AACE8B03932A}"/>
              </a:ext>
            </a:extLst>
          </p:cNvPr>
          <p:cNvPicPr>
            <a:picLocks noChangeAspect="1"/>
          </p:cNvPicPr>
          <p:nvPr/>
        </p:nvPicPr>
        <p:blipFill>
          <a:blip r:embed="rId3"/>
          <a:stretch>
            <a:fillRect/>
          </a:stretch>
        </p:blipFill>
        <p:spPr>
          <a:xfrm>
            <a:off x="2844952" y="1289717"/>
            <a:ext cx="6734884" cy="5697738"/>
          </a:xfrm>
          <a:prstGeom prst="rect">
            <a:avLst/>
          </a:prstGeom>
        </p:spPr>
      </p:pic>
      <p:sp>
        <p:nvSpPr>
          <p:cNvPr id="3" name="Rectangle: Rounded Corners 2">
            <a:extLst>
              <a:ext uri="{FF2B5EF4-FFF2-40B4-BE49-F238E27FC236}">
                <a16:creationId xmlns:a16="http://schemas.microsoft.com/office/drawing/2014/main" id="{784219AF-0895-4294-84CC-EC8E0EF9C683}"/>
              </a:ext>
            </a:extLst>
          </p:cNvPr>
          <p:cNvSpPr/>
          <p:nvPr/>
        </p:nvSpPr>
        <p:spPr bwMode="auto">
          <a:xfrm>
            <a:off x="9716569" y="1418602"/>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New</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ummarize recent recommendations and security alerts in one list.</a:t>
            </a:r>
          </a:p>
        </p:txBody>
      </p:sp>
      <p:sp>
        <p:nvSpPr>
          <p:cNvPr id="9" name="Rectangle: Rounded Corners 8">
            <a:extLst>
              <a:ext uri="{FF2B5EF4-FFF2-40B4-BE49-F238E27FC236}">
                <a16:creationId xmlns:a16="http://schemas.microsoft.com/office/drawing/2014/main" id="{12BBC20E-3099-46B6-A659-48C35EB3A431}"/>
              </a:ext>
            </a:extLst>
          </p:cNvPr>
          <p:cNvSpPr/>
          <p:nvPr/>
        </p:nvSpPr>
        <p:spPr bwMode="auto">
          <a:xfrm>
            <a:off x="9716569"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olicy</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nfigure baseline standards for subscriptions and resource groups.</a:t>
            </a:r>
          </a:p>
        </p:txBody>
      </p:sp>
      <p:sp>
        <p:nvSpPr>
          <p:cNvPr id="10" name="Rectangle: Rounded Corners 9">
            <a:extLst>
              <a:ext uri="{FF2B5EF4-FFF2-40B4-BE49-F238E27FC236}">
                <a16:creationId xmlns:a16="http://schemas.microsoft.com/office/drawing/2014/main" id="{BF7A75FB-4C47-4627-927E-041419651BE6}"/>
              </a:ext>
            </a:extLst>
          </p:cNvPr>
          <p:cNvSpPr/>
          <p:nvPr/>
        </p:nvSpPr>
        <p:spPr bwMode="auto">
          <a:xfrm>
            <a:off x="9716569" y="3351348"/>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revention</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Compliance drift from policy standards with potential resolutions.</a:t>
            </a:r>
          </a:p>
        </p:txBody>
      </p:sp>
      <p:sp>
        <p:nvSpPr>
          <p:cNvPr id="11" name="Rectangle: Rounded Corners 10">
            <a:extLst>
              <a:ext uri="{FF2B5EF4-FFF2-40B4-BE49-F238E27FC236}">
                <a16:creationId xmlns:a16="http://schemas.microsoft.com/office/drawing/2014/main" id="{0BB97CC1-53CE-42B4-B9C4-DAE3F68289C7}"/>
              </a:ext>
            </a:extLst>
          </p:cNvPr>
          <p:cNvSpPr/>
          <p:nvPr/>
        </p:nvSpPr>
        <p:spPr bwMode="auto">
          <a:xfrm>
            <a:off x="196595" y="3894760"/>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Security Alert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Azure security alerts summarized in a single list for all subscriptions.</a:t>
            </a:r>
          </a:p>
        </p:txBody>
      </p:sp>
      <p:sp>
        <p:nvSpPr>
          <p:cNvPr id="12" name="Rectangle: Rounded Corners 11">
            <a:extLst>
              <a:ext uri="{FF2B5EF4-FFF2-40B4-BE49-F238E27FC236}">
                <a16:creationId xmlns:a16="http://schemas.microsoft.com/office/drawing/2014/main" id="{2ED4BE71-5D91-43AB-A51A-B1D2A2273B7F}"/>
              </a:ext>
            </a:extLst>
          </p:cNvPr>
          <p:cNvSpPr/>
          <p:nvPr/>
        </p:nvSpPr>
        <p:spPr bwMode="auto">
          <a:xfrm>
            <a:off x="196597" y="1418602"/>
            <a:ext cx="2452642"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Partner Solu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Third party solutions integrated in ASC that align to recommendations.</a:t>
            </a:r>
          </a:p>
        </p:txBody>
      </p:sp>
      <p:sp>
        <p:nvSpPr>
          <p:cNvPr id="13" name="Rectangle: Rounded Corners 12">
            <a:extLst>
              <a:ext uri="{FF2B5EF4-FFF2-40B4-BE49-F238E27FC236}">
                <a16:creationId xmlns:a16="http://schemas.microsoft.com/office/drawing/2014/main" id="{4C4CE2A5-D8AB-4CF9-9FC8-4ABAFAF237C6}"/>
              </a:ext>
            </a:extLst>
          </p:cNvPr>
          <p:cNvSpPr/>
          <p:nvPr/>
        </p:nvSpPr>
        <p:spPr bwMode="auto">
          <a:xfrm>
            <a:off x="196595" y="2384975"/>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Recommendation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All prevention recommendations and partner solutions in one list.</a:t>
            </a:r>
          </a:p>
        </p:txBody>
      </p:sp>
      <p:sp>
        <p:nvSpPr>
          <p:cNvPr id="14" name="Rectangle: Rounded Corners 13">
            <a:extLst>
              <a:ext uri="{FF2B5EF4-FFF2-40B4-BE49-F238E27FC236}">
                <a16:creationId xmlns:a16="http://schemas.microsoft.com/office/drawing/2014/main" id="{197FACE6-CB04-4A80-A612-4BA62524E46A}"/>
              </a:ext>
            </a:extLst>
          </p:cNvPr>
          <p:cNvSpPr/>
          <p:nvPr/>
        </p:nvSpPr>
        <p:spPr bwMode="auto">
          <a:xfrm>
            <a:off x="196595" y="5279877"/>
            <a:ext cx="2452643" cy="837488"/>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JIT VM Access</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505050">
                    <a:lumMod val="75000"/>
                  </a:srgbClr>
                </a:solidFill>
                <a:effectLst/>
                <a:uLnTx/>
                <a:uFillTx/>
                <a:latin typeface="Segoe UI Light"/>
                <a:ea typeface="+mn-ea"/>
                <a:cs typeface="Segoe UI" pitchFamily="34" charset="0"/>
              </a:rPr>
              <a:t>Open firewall ports through time-based rules with approval workflow.</a:t>
            </a:r>
          </a:p>
        </p:txBody>
      </p:sp>
      <p:cxnSp>
        <p:nvCxnSpPr>
          <p:cNvPr id="16" name="Straight Connector 15">
            <a:extLst>
              <a:ext uri="{FF2B5EF4-FFF2-40B4-BE49-F238E27FC236}">
                <a16:creationId xmlns:a16="http://schemas.microsoft.com/office/drawing/2014/main" id="{A2CAE5B8-0C9B-487A-9A3C-FC96BC334BEE}"/>
              </a:ext>
            </a:extLst>
          </p:cNvPr>
          <p:cNvCxnSpPr>
            <a:cxnSpLocks/>
          </p:cNvCxnSpPr>
          <p:nvPr/>
        </p:nvCxnSpPr>
        <p:spPr>
          <a:xfrm>
            <a:off x="2649239" y="1801134"/>
            <a:ext cx="3811382"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4ABF8F-AA85-40A6-B816-0D82EA2D4C2F}"/>
              </a:ext>
            </a:extLst>
          </p:cNvPr>
          <p:cNvCxnSpPr>
            <a:cxnSpLocks/>
            <a:stCxn id="13" idx="3"/>
          </p:cNvCxnSpPr>
          <p:nvPr/>
        </p:nvCxnSpPr>
        <p:spPr>
          <a:xfrm flipV="1">
            <a:off x="2649238" y="2384975"/>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747788-EE2B-4666-9AC7-E84CE59874A9}"/>
              </a:ext>
            </a:extLst>
          </p:cNvPr>
          <p:cNvCxnSpPr>
            <a:cxnSpLocks/>
          </p:cNvCxnSpPr>
          <p:nvPr/>
        </p:nvCxnSpPr>
        <p:spPr>
          <a:xfrm flipV="1">
            <a:off x="7716852" y="1801134"/>
            <a:ext cx="1999717" cy="282011"/>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8D98DBF-8565-4A23-AB53-58B7FAD48CCC}"/>
              </a:ext>
            </a:extLst>
          </p:cNvPr>
          <p:cNvCxnSpPr>
            <a:cxnSpLocks/>
            <a:stCxn id="9" idx="1"/>
          </p:cNvCxnSpPr>
          <p:nvPr/>
        </p:nvCxnSpPr>
        <p:spPr>
          <a:xfrm flipH="1" flipV="1">
            <a:off x="8648344" y="2674834"/>
            <a:ext cx="1068225" cy="12888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0EE9DA-0AF4-4FE8-AF6A-955DFD6A9639}"/>
              </a:ext>
            </a:extLst>
          </p:cNvPr>
          <p:cNvCxnSpPr>
            <a:cxnSpLocks/>
            <a:endCxn id="11" idx="3"/>
          </p:cNvCxnSpPr>
          <p:nvPr/>
        </p:nvCxnSpPr>
        <p:spPr>
          <a:xfrm flipH="1" flipV="1">
            <a:off x="2649238" y="4313504"/>
            <a:ext cx="2110770" cy="51502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618D8E1-8BDF-49E4-BFDE-A16229205854}"/>
              </a:ext>
            </a:extLst>
          </p:cNvPr>
          <p:cNvCxnSpPr>
            <a:cxnSpLocks/>
            <a:endCxn id="10" idx="1"/>
          </p:cNvCxnSpPr>
          <p:nvPr/>
        </p:nvCxnSpPr>
        <p:spPr>
          <a:xfrm>
            <a:off x="9451649" y="3494169"/>
            <a:ext cx="264920" cy="275923"/>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2C68C0-D38D-44C3-9A7E-5C304F13444D}"/>
              </a:ext>
            </a:extLst>
          </p:cNvPr>
          <p:cNvCxnSpPr>
            <a:cxnSpLocks/>
            <a:stCxn id="14" idx="3"/>
          </p:cNvCxnSpPr>
          <p:nvPr/>
        </p:nvCxnSpPr>
        <p:spPr>
          <a:xfrm>
            <a:off x="2649238" y="5698621"/>
            <a:ext cx="2110770" cy="41874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772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2"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right)">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22" presetClass="entr" presetSubtype="2"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2" presetClass="entr" presetSubtype="8" fill="hold"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left)">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22" presetClass="entr" presetSubtype="8"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22" presetClass="entr" presetSubtype="8"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5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22" presetClass="entr" presetSubtype="2" fill="hold" nodeType="with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wipe(right)">
                                      <p:cBhvr>
                                        <p:cTn id="50" dur="500"/>
                                        <p:tgtEl>
                                          <p:spTgt spid="2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22" presetClass="entr" presetSubtype="8"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wipe(left)">
                                      <p:cBhvr>
                                        <p:cTn id="5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P spid="12" grpId="0" animBg="1"/>
      <p:bldP spid="13" grpId="0" animBg="1"/>
      <p:bldP spid="1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tect</a:t>
            </a:r>
          </a:p>
        </p:txBody>
      </p:sp>
      <p:pic>
        <p:nvPicPr>
          <p:cNvPr id="3" name="Picture 2" descr="A screen shot of a computer&#10;&#10;Description generated with high confidence">
            <a:extLst>
              <a:ext uri="{FF2B5EF4-FFF2-40B4-BE49-F238E27FC236}">
                <a16:creationId xmlns:a16="http://schemas.microsoft.com/office/drawing/2014/main" id="{7E3FB31F-1F11-4934-BC02-86A05173F536}"/>
              </a:ext>
            </a:extLst>
          </p:cNvPr>
          <p:cNvPicPr>
            <a:picLocks noChangeAspect="1"/>
          </p:cNvPicPr>
          <p:nvPr/>
        </p:nvPicPr>
        <p:blipFill>
          <a:blip r:embed="rId3"/>
          <a:stretch>
            <a:fillRect/>
          </a:stretch>
        </p:blipFill>
        <p:spPr>
          <a:xfrm>
            <a:off x="431383" y="1289717"/>
            <a:ext cx="5208860" cy="5697191"/>
          </a:xfrm>
          <a:prstGeom prst="rect">
            <a:avLst/>
          </a:prstGeom>
        </p:spPr>
      </p:pic>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351965" y="1419531"/>
          <a:ext cx="5808700"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99700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s a c</a:t>
            </a:r>
            <a:r>
              <a:rPr lang="en-US" dirty="0">
                <a:gradFill>
                  <a:gsLst>
                    <a:gs pos="2655">
                      <a:schemeClr val="tx1"/>
                    </a:gs>
                    <a:gs pos="31000">
                      <a:schemeClr val="tx1"/>
                    </a:gs>
                  </a:gsLst>
                  <a:lin ang="5400000" scaled="0"/>
                </a:gradFill>
              </a:rPr>
              <a:t>loud partnership</a:t>
            </a:r>
          </a:p>
        </p:txBody>
      </p:sp>
      <p:sp>
        <p:nvSpPr>
          <p:cNvPr id="17" name="Rectangle 16"/>
          <p:cNvSpPr/>
          <p:nvPr/>
        </p:nvSpPr>
        <p:spPr bwMode="auto">
          <a:xfrm>
            <a:off x="1967736" y="1983634"/>
            <a:ext cx="4146094" cy="1952054"/>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a:lnSpc>
                <a:spcPct val="90000"/>
              </a:lnSpc>
              <a:defRPr/>
            </a:pPr>
            <a:r>
              <a:rPr lang="en-US" sz="1836" kern="0" dirty="0">
                <a:solidFill>
                  <a:srgbClr val="0072C6"/>
                </a:solidFill>
                <a:latin typeface="Segoe UI Semibold" panose="020B0702040204020203" pitchFamily="34" charset="0"/>
                <a:ea typeface="Segoe UI" pitchFamily="34" charset="0"/>
                <a:cs typeface="Segoe UI Semibold" panose="020B0702040204020203" pitchFamily="34" charset="0"/>
              </a:rPr>
              <a:t>Your Organization</a:t>
            </a:r>
            <a:endParaRPr lang="en-US" sz="2142" kern="0" dirty="0">
              <a:solidFill>
                <a:srgbClr val="505050"/>
              </a:solidFill>
              <a:ea typeface="Segoe UI" pitchFamily="34" charset="0"/>
              <a:cs typeface="Segoe UI" pitchFamily="34" charset="0"/>
            </a:endParaRPr>
          </a:p>
          <a:p>
            <a:pPr defTabSz="713271">
              <a:lnSpc>
                <a:spcPct val="90000"/>
              </a:lnSpc>
              <a:spcBef>
                <a:spcPts val="459"/>
              </a:spcBef>
              <a:defRPr/>
            </a:pPr>
            <a:r>
              <a:rPr lang="en-US" sz="1530" kern="0" dirty="0">
                <a:solidFill>
                  <a:srgbClr val="505050"/>
                </a:solidFill>
                <a:ea typeface="Segoe UI" pitchFamily="34" charset="0"/>
                <a:cs typeface="Segoe UI" pitchFamily="34" charset="0"/>
              </a:rPr>
              <a:t>Balance of responsibility </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Cloud architectures</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Design for high availability</a:t>
            </a:r>
          </a:p>
          <a:p>
            <a:pPr defTabSz="713271">
              <a:lnSpc>
                <a:spcPct val="90000"/>
              </a:lnSpc>
              <a:spcBef>
                <a:spcPts val="459"/>
              </a:spcBef>
              <a:defRPr/>
            </a:pPr>
            <a:r>
              <a:rPr lang="en-US" sz="1530" kern="0" dirty="0">
                <a:solidFill>
                  <a:srgbClr val="505050"/>
                </a:solidFill>
                <a:ea typeface="Segoe UI" pitchFamily="34" charset="0"/>
                <a:cs typeface="Segoe UI" pitchFamily="34" charset="0"/>
              </a:rPr>
              <a:t>Leverage Microsoft resources</a:t>
            </a:r>
          </a:p>
          <a:p>
            <a:pPr defTabSz="713271">
              <a:lnSpc>
                <a:spcPct val="90000"/>
              </a:lnSpc>
              <a:defRPr/>
            </a:pPr>
            <a:br>
              <a:rPr lang="en-US" sz="1836" kern="0" dirty="0">
                <a:solidFill>
                  <a:srgbClr val="505050"/>
                </a:solidFill>
                <a:ea typeface="Segoe UI" pitchFamily="34" charset="0"/>
                <a:cs typeface="Segoe UI" pitchFamily="34" charset="0"/>
              </a:rPr>
            </a:br>
            <a:endParaRPr lang="en-US" sz="1530" kern="0" dirty="0">
              <a:solidFill>
                <a:srgbClr val="505050"/>
              </a:solidFill>
              <a:ea typeface="Segoe UI" pitchFamily="34" charset="0"/>
              <a:cs typeface="Segoe UI" pitchFamily="34" charset="0"/>
            </a:endParaRPr>
          </a:p>
        </p:txBody>
      </p:sp>
      <p:sp>
        <p:nvSpPr>
          <p:cNvPr id="22" name="Rectangle 21"/>
          <p:cNvSpPr/>
          <p:nvPr/>
        </p:nvSpPr>
        <p:spPr bwMode="auto">
          <a:xfrm>
            <a:off x="6269874" y="1983634"/>
            <a:ext cx="4227479" cy="1952054"/>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defTabSz="713271">
              <a:lnSpc>
                <a:spcPct val="90000"/>
              </a:lnSpc>
              <a:defRPr/>
            </a:pPr>
            <a:r>
              <a:rPr lang="en-US" sz="1836" kern="0">
                <a:solidFill>
                  <a:srgbClr val="0072C6"/>
                </a:solidFill>
                <a:latin typeface="Segoe UI Semibold" panose="020B0702040204020203" pitchFamily="34" charset="0"/>
                <a:ea typeface="Segoe UI" pitchFamily="34" charset="0"/>
                <a:cs typeface="Segoe UI Semibold" panose="020B0702040204020203" pitchFamily="34" charset="0"/>
              </a:rPr>
              <a:t>MICROSOFT RESOURCES</a:t>
            </a:r>
            <a:endParaRPr lang="en-US" sz="1530" kern="0">
              <a:solidFill>
                <a:srgbClr val="505050"/>
              </a:solidFill>
              <a:ea typeface="Segoe UI" pitchFamily="34" charset="0"/>
              <a:cs typeface="Segoe UI" pitchFamily="34" charset="0"/>
            </a:endParaRPr>
          </a:p>
          <a:p>
            <a:pPr defTabSz="713271">
              <a:lnSpc>
                <a:spcPct val="90000"/>
              </a:lnSpc>
              <a:spcBef>
                <a:spcPts val="459"/>
              </a:spcBef>
              <a:defRPr/>
            </a:pPr>
            <a:r>
              <a:rPr lang="en-US" sz="1530" kern="0">
                <a:solidFill>
                  <a:srgbClr val="505050"/>
                </a:solidFill>
                <a:ea typeface="Segoe UI" pitchFamily="34" charset="0"/>
                <a:cs typeface="Segoe UI" pitchFamily="34" charset="0"/>
              </a:rPr>
              <a:t>Service resiliency guide</a:t>
            </a:r>
          </a:p>
          <a:p>
            <a:pPr defTabSz="713271">
              <a:lnSpc>
                <a:spcPct val="90000"/>
              </a:lnSpc>
              <a:spcBef>
                <a:spcPts val="459"/>
              </a:spcBef>
              <a:defRPr/>
            </a:pPr>
            <a:r>
              <a:rPr lang="en-US" sz="1530" kern="0">
                <a:solidFill>
                  <a:srgbClr val="505050"/>
                </a:solidFill>
                <a:ea typeface="Segoe UI" pitchFamily="34" charset="0"/>
                <a:cs typeface="Segoe UI" pitchFamily="34" charset="0"/>
              </a:rPr>
              <a:t>Cloud dev patterns &amp; practices</a:t>
            </a:r>
          </a:p>
          <a:p>
            <a:pPr defTabSz="713271">
              <a:lnSpc>
                <a:spcPct val="90000"/>
              </a:lnSpc>
              <a:spcBef>
                <a:spcPts val="459"/>
              </a:spcBef>
              <a:defRPr/>
            </a:pPr>
            <a:r>
              <a:rPr lang="en-US" sz="1530" kern="0">
                <a:solidFill>
                  <a:srgbClr val="505050"/>
                </a:solidFill>
                <a:ea typeface="Segoe UI" pitchFamily="34" charset="0"/>
                <a:cs typeface="Segoe UI" pitchFamily="34" charset="0"/>
              </a:rPr>
              <a:t>Proactive and reactive support </a:t>
            </a:r>
          </a:p>
          <a:p>
            <a:pPr defTabSz="713271">
              <a:lnSpc>
                <a:spcPct val="90000"/>
              </a:lnSpc>
              <a:defRPr/>
            </a:pPr>
            <a:endParaRPr lang="en-US" sz="1836" kern="0">
              <a:solidFill>
                <a:srgbClr val="505050"/>
              </a:solidFill>
              <a:ea typeface="Segoe UI" pitchFamily="34" charset="0"/>
              <a:cs typeface="Segoe UI" pitchFamily="34" charset="0"/>
            </a:endParaRPr>
          </a:p>
        </p:txBody>
      </p:sp>
      <p:sp>
        <p:nvSpPr>
          <p:cNvPr id="7" name="Rectangle 6"/>
          <p:cNvSpPr/>
          <p:nvPr/>
        </p:nvSpPr>
        <p:spPr bwMode="auto">
          <a:xfrm>
            <a:off x="1967735" y="4076291"/>
            <a:ext cx="8529618" cy="1334439"/>
          </a:xfrm>
          <a:prstGeom prst="rect">
            <a:avLst/>
          </a:prstGeom>
          <a:no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349726" rIns="139891" bIns="111912" numCol="1" spcCol="0" rtlCol="0" fromWordArt="0" anchor="t" anchorCtr="0" forceAA="0" compatLnSpc="1">
            <a:prstTxWarp prst="textNoShape">
              <a:avLst/>
            </a:prstTxWarp>
            <a:noAutofit/>
          </a:bodyPr>
          <a:lstStyle/>
          <a:p>
            <a:pPr defTabSz="713271">
              <a:lnSpc>
                <a:spcPct val="90000"/>
              </a:lnSpc>
              <a:defRPr/>
            </a:pPr>
            <a:r>
              <a:rPr lang="en-US" sz="1836" kern="0" dirty="0">
                <a:solidFill>
                  <a:srgbClr val="0072C6"/>
                </a:solidFill>
                <a:latin typeface="Segoe UI Semibold" panose="020B0702040204020203" pitchFamily="34" charset="0"/>
                <a:ea typeface="Segoe UI" pitchFamily="34" charset="0"/>
                <a:cs typeface="Segoe UI Semibold" panose="020B0702040204020203" pitchFamily="34" charset="0"/>
              </a:rPr>
              <a:t>CLOUD PLATFORM RELIABILITY </a:t>
            </a:r>
            <a:endParaRPr lang="en-US" sz="1836" kern="0" dirty="0">
              <a:solidFill>
                <a:srgbClr val="505050"/>
              </a:solidFill>
              <a:ea typeface="Segoe UI" pitchFamily="34" charset="0"/>
              <a:cs typeface="Segoe UI" pitchFamily="34" charset="0"/>
            </a:endParaRPr>
          </a:p>
          <a:p>
            <a:pPr defTabSz="713271">
              <a:lnSpc>
                <a:spcPct val="90000"/>
              </a:lnSpc>
              <a:defRPr/>
            </a:pPr>
            <a:r>
              <a:rPr lang="en-US" sz="1530" kern="0" dirty="0">
                <a:solidFill>
                  <a:srgbClr val="505050"/>
                </a:solidFill>
                <a:ea typeface="Segoe UI" pitchFamily="34" charset="0"/>
                <a:cs typeface="Segoe UI" pitchFamily="34" charset="0"/>
              </a:rPr>
              <a:t>Availability, change orchestration, monitoring, communications, recommendations</a:t>
            </a:r>
          </a:p>
        </p:txBody>
      </p:sp>
      <p:grpSp>
        <p:nvGrpSpPr>
          <p:cNvPr id="10" name="Group 9"/>
          <p:cNvGrpSpPr/>
          <p:nvPr/>
        </p:nvGrpSpPr>
        <p:grpSpPr>
          <a:xfrm>
            <a:off x="5857479" y="3706003"/>
            <a:ext cx="698448" cy="459370"/>
            <a:chOff x="5624376" y="3701887"/>
            <a:chExt cx="913087" cy="600539"/>
          </a:xfrm>
        </p:grpSpPr>
        <p:sp>
          <p:nvSpPr>
            <p:cNvPr id="26" name="Freeform 886"/>
            <p:cNvSpPr>
              <a:spLocks/>
            </p:cNvSpPr>
            <p:nvPr/>
          </p:nvSpPr>
          <p:spPr bwMode="auto">
            <a:xfrm flipH="1">
              <a:off x="5624376" y="3701887"/>
              <a:ext cx="913087" cy="600539"/>
            </a:xfrm>
            <a:custGeom>
              <a:avLst/>
              <a:gdLst>
                <a:gd name="T0" fmla="*/ 290 w 346"/>
                <a:gd name="T1" fmla="*/ 100 h 228"/>
                <a:gd name="T2" fmla="*/ 290 w 346"/>
                <a:gd name="T3" fmla="*/ 96 h 228"/>
                <a:gd name="T4" fmla="*/ 195 w 346"/>
                <a:gd name="T5" fmla="*/ 0 h 228"/>
                <a:gd name="T6" fmla="*/ 115 w 346"/>
                <a:gd name="T7" fmla="*/ 43 h 228"/>
                <a:gd name="T8" fmla="*/ 89 w 346"/>
                <a:gd name="T9" fmla="*/ 36 h 228"/>
                <a:gd name="T10" fmla="*/ 59 w 346"/>
                <a:gd name="T11" fmla="*/ 45 h 228"/>
                <a:gd name="T12" fmla="*/ 34 w 346"/>
                <a:gd name="T13" fmla="*/ 90 h 228"/>
                <a:gd name="T14" fmla="*/ 0 w 346"/>
                <a:gd name="T15" fmla="*/ 153 h 228"/>
                <a:gd name="T16" fmla="*/ 66 w 346"/>
                <a:gd name="T17" fmla="*/ 228 h 228"/>
                <a:gd name="T18" fmla="*/ 75 w 346"/>
                <a:gd name="T19" fmla="*/ 228 h 228"/>
                <a:gd name="T20" fmla="*/ 82 w 346"/>
                <a:gd name="T21" fmla="*/ 228 h 228"/>
                <a:gd name="T22" fmla="*/ 238 w 346"/>
                <a:gd name="T23" fmla="*/ 228 h 228"/>
                <a:gd name="T24" fmla="*/ 241 w 346"/>
                <a:gd name="T25" fmla="*/ 228 h 228"/>
                <a:gd name="T26" fmla="*/ 245 w 346"/>
                <a:gd name="T27" fmla="*/ 228 h 228"/>
                <a:gd name="T28" fmla="*/ 257 w 346"/>
                <a:gd name="T29" fmla="*/ 228 h 228"/>
                <a:gd name="T30" fmla="*/ 281 w 346"/>
                <a:gd name="T31" fmla="*/ 228 h 228"/>
                <a:gd name="T32" fmla="*/ 346 w 346"/>
                <a:gd name="T33" fmla="*/ 164 h 228"/>
                <a:gd name="T34" fmla="*/ 290 w 346"/>
                <a:gd name="T3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228">
                  <a:moveTo>
                    <a:pt x="290" y="100"/>
                  </a:moveTo>
                  <a:cubicBezTo>
                    <a:pt x="290" y="99"/>
                    <a:pt x="290" y="97"/>
                    <a:pt x="290" y="96"/>
                  </a:cubicBezTo>
                  <a:cubicBezTo>
                    <a:pt x="290" y="43"/>
                    <a:pt x="248" y="0"/>
                    <a:pt x="195" y="0"/>
                  </a:cubicBezTo>
                  <a:cubicBezTo>
                    <a:pt x="162" y="0"/>
                    <a:pt x="133" y="17"/>
                    <a:pt x="115" y="43"/>
                  </a:cubicBezTo>
                  <a:cubicBezTo>
                    <a:pt x="108" y="38"/>
                    <a:pt x="99" y="36"/>
                    <a:pt x="89" y="36"/>
                  </a:cubicBezTo>
                  <a:cubicBezTo>
                    <a:pt x="78" y="36"/>
                    <a:pt x="67" y="39"/>
                    <a:pt x="59" y="45"/>
                  </a:cubicBezTo>
                  <a:cubicBezTo>
                    <a:pt x="44" y="55"/>
                    <a:pt x="34" y="71"/>
                    <a:pt x="34" y="90"/>
                  </a:cubicBezTo>
                  <a:cubicBezTo>
                    <a:pt x="14" y="103"/>
                    <a:pt x="0" y="127"/>
                    <a:pt x="0" y="153"/>
                  </a:cubicBezTo>
                  <a:cubicBezTo>
                    <a:pt x="0" y="192"/>
                    <a:pt x="29" y="223"/>
                    <a:pt x="66" y="228"/>
                  </a:cubicBezTo>
                  <a:cubicBezTo>
                    <a:pt x="69" y="228"/>
                    <a:pt x="72" y="228"/>
                    <a:pt x="75" y="228"/>
                  </a:cubicBezTo>
                  <a:cubicBezTo>
                    <a:pt x="77" y="228"/>
                    <a:pt x="80" y="228"/>
                    <a:pt x="82" y="228"/>
                  </a:cubicBezTo>
                  <a:cubicBezTo>
                    <a:pt x="117" y="228"/>
                    <a:pt x="199" y="228"/>
                    <a:pt x="238" y="228"/>
                  </a:cubicBezTo>
                  <a:cubicBezTo>
                    <a:pt x="239" y="228"/>
                    <a:pt x="240" y="228"/>
                    <a:pt x="241" y="228"/>
                  </a:cubicBezTo>
                  <a:cubicBezTo>
                    <a:pt x="245" y="228"/>
                    <a:pt x="245" y="228"/>
                    <a:pt x="245" y="228"/>
                  </a:cubicBezTo>
                  <a:cubicBezTo>
                    <a:pt x="247" y="228"/>
                    <a:pt x="253" y="228"/>
                    <a:pt x="257" y="228"/>
                  </a:cubicBezTo>
                  <a:cubicBezTo>
                    <a:pt x="281" y="228"/>
                    <a:pt x="281" y="228"/>
                    <a:pt x="281" y="228"/>
                  </a:cubicBezTo>
                  <a:cubicBezTo>
                    <a:pt x="317" y="227"/>
                    <a:pt x="346" y="199"/>
                    <a:pt x="346" y="164"/>
                  </a:cubicBezTo>
                  <a:cubicBezTo>
                    <a:pt x="346" y="131"/>
                    <a:pt x="322" y="104"/>
                    <a:pt x="290" y="100"/>
                  </a:cubicBezTo>
                  <a:close/>
                </a:path>
              </a:pathLst>
            </a:custGeom>
            <a:solidFill>
              <a:schemeClr val="bg1"/>
            </a:solidFill>
            <a:ln w="38100">
              <a:solidFill>
                <a:schemeClr val="bg1">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7"/>
              <a:endParaRPr lang="en-US" sz="1836">
                <a:solidFill>
                  <a:srgbClr val="FFFFFF"/>
                </a:solidFill>
              </a:endParaRPr>
            </a:p>
          </p:txBody>
        </p:sp>
        <p:sp>
          <p:nvSpPr>
            <p:cNvPr id="28" name="Plus 27"/>
            <p:cNvSpPr/>
            <p:nvPr/>
          </p:nvSpPr>
          <p:spPr>
            <a:xfrm>
              <a:off x="5907221" y="3892184"/>
              <a:ext cx="347396" cy="347396"/>
            </a:xfrm>
            <a:prstGeom prst="mathPlus">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7"/>
              <a:endParaRPr lang="en-US" sz="1836">
                <a:solidFill>
                  <a:srgbClr val="FFFFFF"/>
                </a:solidFill>
              </a:endParaRPr>
            </a:p>
          </p:txBody>
        </p:sp>
      </p:grpSp>
    </p:spTree>
    <p:extLst>
      <p:ext uri="{BB962C8B-B14F-4D97-AF65-F5344CB8AC3E}">
        <p14:creationId xmlns:p14="http://schemas.microsoft.com/office/powerpoint/2010/main" val="23830312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spond</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070742" y="1289717"/>
            <a:ext cx="6365733"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070742"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A screenshot of a cell phone&#10;&#10;Description generated with very high confidence">
            <a:extLst>
              <a:ext uri="{FF2B5EF4-FFF2-40B4-BE49-F238E27FC236}">
                <a16:creationId xmlns:a16="http://schemas.microsoft.com/office/drawing/2014/main" id="{8DF06A0D-3A2B-4C43-A61D-DF7AF0B493B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60339" y="1292343"/>
            <a:ext cx="4258592" cy="5702182"/>
          </a:xfrm>
          <a:prstGeom prst="rect">
            <a:avLst/>
          </a:prstGeom>
        </p:spPr>
      </p:pic>
      <p:sp>
        <p:nvSpPr>
          <p:cNvPr id="11" name="TextBox 10">
            <a:extLst>
              <a:ext uri="{FF2B5EF4-FFF2-40B4-BE49-F238E27FC236}">
                <a16:creationId xmlns:a16="http://schemas.microsoft.com/office/drawing/2014/main" id="{4D774A72-24A5-4D02-9413-6086776867E7}"/>
              </a:ext>
            </a:extLst>
          </p:cNvPr>
          <p:cNvSpPr txBox="1"/>
          <p:nvPr/>
        </p:nvSpPr>
        <p:spPr>
          <a:xfrm>
            <a:off x="6070740" y="1294941"/>
            <a:ext cx="636573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LERT TYPES</a:t>
            </a:r>
          </a:p>
        </p:txBody>
      </p:sp>
      <p:graphicFrame>
        <p:nvGraphicFramePr>
          <p:cNvPr id="12" name="Diagram 11">
            <a:extLst>
              <a:ext uri="{FF2B5EF4-FFF2-40B4-BE49-F238E27FC236}">
                <a16:creationId xmlns:a16="http://schemas.microsoft.com/office/drawing/2014/main" id="{EBBD180A-BFA7-4ED5-8D70-84AA3257D88F}"/>
              </a:ext>
            </a:extLst>
          </p:cNvPr>
          <p:cNvGraphicFramePr/>
          <p:nvPr>
            <p:extLst/>
          </p:nvPr>
        </p:nvGraphicFramePr>
        <p:xfrm>
          <a:off x="6401940" y="1837347"/>
          <a:ext cx="5738662" cy="515717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1225896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revent</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6503350" y="1289717"/>
            <a:ext cx="5933125"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6503350" y="128210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6727980" y="1897166"/>
          <a:ext cx="5535235" cy="49821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A screenshot of a computer&#10;&#10;Description generated with very high confidence">
            <a:extLst>
              <a:ext uri="{FF2B5EF4-FFF2-40B4-BE49-F238E27FC236}">
                <a16:creationId xmlns:a16="http://schemas.microsoft.com/office/drawing/2014/main" id="{0346BB27-5144-43B5-98A2-9AB4912EF939}"/>
              </a:ext>
            </a:extLst>
          </p:cNvPr>
          <p:cNvPicPr>
            <a:picLocks noChangeAspect="1"/>
          </p:cNvPicPr>
          <p:nvPr/>
        </p:nvPicPr>
        <p:blipFill>
          <a:blip r:embed="rId8"/>
          <a:stretch>
            <a:fillRect/>
          </a:stretch>
        </p:blipFill>
        <p:spPr>
          <a:xfrm>
            <a:off x="287714" y="1598527"/>
            <a:ext cx="5928805" cy="5209383"/>
          </a:xfrm>
          <a:prstGeom prst="rect">
            <a:avLst/>
          </a:prstGeom>
        </p:spPr>
      </p:pic>
      <p:sp>
        <p:nvSpPr>
          <p:cNvPr id="9" name="TextBox 8">
            <a:extLst>
              <a:ext uri="{FF2B5EF4-FFF2-40B4-BE49-F238E27FC236}">
                <a16:creationId xmlns:a16="http://schemas.microsoft.com/office/drawing/2014/main" id="{891A26FC-FDB4-4256-95EC-D30386BD9BA9}"/>
              </a:ext>
            </a:extLst>
          </p:cNvPr>
          <p:cNvSpPr txBox="1"/>
          <p:nvPr/>
        </p:nvSpPr>
        <p:spPr>
          <a:xfrm>
            <a:off x="6503350" y="1294941"/>
            <a:ext cx="593312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COMMENDATIONS</a:t>
            </a:r>
          </a:p>
        </p:txBody>
      </p:sp>
    </p:spTree>
    <p:extLst>
      <p:ext uri="{BB962C8B-B14F-4D97-AF65-F5344CB8AC3E}">
        <p14:creationId xmlns:p14="http://schemas.microsoft.com/office/powerpoint/2010/main" val="56070061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Integrated Solutions</a:t>
            </a:r>
          </a:p>
        </p:txBody>
      </p:sp>
      <p:sp>
        <p:nvSpPr>
          <p:cNvPr id="5" name="Rectangle 4">
            <a:extLst>
              <a:ext uri="{FF2B5EF4-FFF2-40B4-BE49-F238E27FC236}">
                <a16:creationId xmlns:a16="http://schemas.microsoft.com/office/drawing/2014/main" id="{7BBB34CE-F5DC-4FB7-B6CD-8C39C36BC9B4}"/>
              </a:ext>
            </a:extLst>
          </p:cNvPr>
          <p:cNvSpPr/>
          <p:nvPr/>
        </p:nvSpPr>
        <p:spPr bwMode="auto">
          <a:xfrm>
            <a:off x="7432894" y="1289717"/>
            <a:ext cx="5003581"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E47BA3F-D102-46AC-B333-BDC7F007F3D8}"/>
              </a:ext>
            </a:extLst>
          </p:cNvPr>
          <p:cNvCxnSpPr/>
          <p:nvPr/>
        </p:nvCxnSpPr>
        <p:spPr>
          <a:xfrm>
            <a:off x="743289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FBCCC4E2-0E93-49FB-B088-A8DC271FBBA1}"/>
              </a:ext>
            </a:extLst>
          </p:cNvPr>
          <p:cNvGraphicFramePr/>
          <p:nvPr>
            <p:extLst/>
          </p:nvPr>
        </p:nvGraphicFramePr>
        <p:xfrm>
          <a:off x="7627487" y="1922806"/>
          <a:ext cx="4601546" cy="4973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A screenshot of a computer&#10;&#10;Description generated with very high confidence">
            <a:extLst>
              <a:ext uri="{FF2B5EF4-FFF2-40B4-BE49-F238E27FC236}">
                <a16:creationId xmlns:a16="http://schemas.microsoft.com/office/drawing/2014/main" id="{08CCB8BE-ED0B-43A4-B770-5FC0C67EBB8B}"/>
              </a:ext>
            </a:extLst>
          </p:cNvPr>
          <p:cNvPicPr>
            <a:picLocks noChangeAspect="1"/>
          </p:cNvPicPr>
          <p:nvPr/>
        </p:nvPicPr>
        <p:blipFill>
          <a:blip r:embed="rId8"/>
          <a:stretch>
            <a:fillRect/>
          </a:stretch>
        </p:blipFill>
        <p:spPr>
          <a:xfrm>
            <a:off x="159120" y="1672427"/>
            <a:ext cx="7096274" cy="4939388"/>
          </a:xfrm>
          <a:prstGeom prst="rect">
            <a:avLst/>
          </a:prstGeom>
        </p:spPr>
      </p:pic>
      <p:sp>
        <p:nvSpPr>
          <p:cNvPr id="9" name="TextBox 8">
            <a:extLst>
              <a:ext uri="{FF2B5EF4-FFF2-40B4-BE49-F238E27FC236}">
                <a16:creationId xmlns:a16="http://schemas.microsoft.com/office/drawing/2014/main" id="{36809631-AA3B-463F-9D90-3FFCC9B0D37E}"/>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spTree>
    <p:extLst>
      <p:ext uri="{BB962C8B-B14F-4D97-AF65-F5344CB8AC3E}">
        <p14:creationId xmlns:p14="http://schemas.microsoft.com/office/powerpoint/2010/main" val="18326128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og Analytics Integration – Threat Intel Map</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5" name="TextBox 4">
            <a:extLst>
              <a:ext uri="{FF2B5EF4-FFF2-40B4-BE49-F238E27FC236}">
                <a16:creationId xmlns:a16="http://schemas.microsoft.com/office/drawing/2014/main" id="{1596C467-19F8-4047-BF35-9C4CAD1EF7FA}"/>
              </a:ext>
            </a:extLst>
          </p:cNvPr>
          <p:cNvSpPr txBox="1"/>
          <p:nvPr/>
        </p:nvSpPr>
        <p:spPr>
          <a:xfrm>
            <a:off x="7432892" y="1294941"/>
            <a:ext cx="500358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VENDORS</a:t>
            </a:r>
          </a:p>
        </p:txBody>
      </p:sp>
      <p:pic>
        <p:nvPicPr>
          <p:cNvPr id="11" name="Picture 10" descr="A screenshot of a social media post&#10;&#10;Description generated with very high confidence">
            <a:extLst>
              <a:ext uri="{FF2B5EF4-FFF2-40B4-BE49-F238E27FC236}">
                <a16:creationId xmlns:a16="http://schemas.microsoft.com/office/drawing/2014/main" id="{41377231-8300-4667-8AE4-4F126E31F1C8}"/>
              </a:ext>
            </a:extLst>
          </p:cNvPr>
          <p:cNvPicPr>
            <a:picLocks noChangeAspect="1"/>
          </p:cNvPicPr>
          <p:nvPr/>
        </p:nvPicPr>
        <p:blipFill>
          <a:blip r:embed="rId3"/>
          <a:stretch>
            <a:fillRect/>
          </a:stretch>
        </p:blipFill>
        <p:spPr>
          <a:xfrm>
            <a:off x="0" y="1338842"/>
            <a:ext cx="12436475" cy="5655185"/>
          </a:xfrm>
          <a:prstGeom prst="rect">
            <a:avLst/>
          </a:prstGeom>
        </p:spPr>
      </p:pic>
    </p:spTree>
    <p:extLst>
      <p:ext uri="{BB962C8B-B14F-4D97-AF65-F5344CB8AC3E}">
        <p14:creationId xmlns:p14="http://schemas.microsoft.com/office/powerpoint/2010/main" val="302676017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Security Roles</a:t>
            </a:r>
          </a:p>
        </p:txBody>
      </p:sp>
      <p:graphicFrame>
        <p:nvGraphicFramePr>
          <p:cNvPr id="2" name="Table 1">
            <a:extLst>
              <a:ext uri="{FF2B5EF4-FFF2-40B4-BE49-F238E27FC236}">
                <a16:creationId xmlns:a16="http://schemas.microsoft.com/office/drawing/2014/main" id="{8EED5ECA-56CA-47CF-AABA-B72C298AF58A}"/>
              </a:ext>
            </a:extLst>
          </p:cNvPr>
          <p:cNvGraphicFramePr>
            <a:graphicFrameLocks noGrp="1"/>
          </p:cNvGraphicFramePr>
          <p:nvPr>
            <p:extLst/>
          </p:nvPr>
        </p:nvGraphicFramePr>
        <p:xfrm>
          <a:off x="840671" y="1706748"/>
          <a:ext cx="10756015" cy="4856480"/>
        </p:xfrm>
        <a:graphic>
          <a:graphicData uri="http://schemas.openxmlformats.org/drawingml/2006/table">
            <a:tbl>
              <a:tblPr firstRow="1" firstCol="1">
                <a:tableStyleId>{5C22544A-7EE6-4342-B048-85BDC9FD1C3A}</a:tableStyleId>
              </a:tblPr>
              <a:tblGrid>
                <a:gridCol w="2151203">
                  <a:extLst>
                    <a:ext uri="{9D8B030D-6E8A-4147-A177-3AD203B41FA5}">
                      <a16:colId xmlns:a16="http://schemas.microsoft.com/office/drawing/2014/main" val="2628802975"/>
                    </a:ext>
                  </a:extLst>
                </a:gridCol>
                <a:gridCol w="2151203">
                  <a:extLst>
                    <a:ext uri="{9D8B030D-6E8A-4147-A177-3AD203B41FA5}">
                      <a16:colId xmlns:a16="http://schemas.microsoft.com/office/drawing/2014/main" val="3677089774"/>
                    </a:ext>
                  </a:extLst>
                </a:gridCol>
                <a:gridCol w="2151203">
                  <a:extLst>
                    <a:ext uri="{9D8B030D-6E8A-4147-A177-3AD203B41FA5}">
                      <a16:colId xmlns:a16="http://schemas.microsoft.com/office/drawing/2014/main" val="789333715"/>
                    </a:ext>
                  </a:extLst>
                </a:gridCol>
                <a:gridCol w="2151203">
                  <a:extLst>
                    <a:ext uri="{9D8B030D-6E8A-4147-A177-3AD203B41FA5}">
                      <a16:colId xmlns:a16="http://schemas.microsoft.com/office/drawing/2014/main" val="2331025143"/>
                    </a:ext>
                  </a:extLst>
                </a:gridCol>
                <a:gridCol w="2151203">
                  <a:extLst>
                    <a:ext uri="{9D8B030D-6E8A-4147-A177-3AD203B41FA5}">
                      <a16:colId xmlns:a16="http://schemas.microsoft.com/office/drawing/2014/main" val="427319757"/>
                    </a:ext>
                  </a:extLst>
                </a:gridCol>
              </a:tblGrid>
              <a:tr h="370840">
                <a:tc>
                  <a:txBody>
                    <a:bodyPr/>
                    <a:lstStyle/>
                    <a:p>
                      <a:pPr algn="l" rtl="0"/>
                      <a:r>
                        <a:rPr lang="en-US" dirty="0">
                          <a:effectLst/>
                        </a:rPr>
                        <a:t>Role</a:t>
                      </a:r>
                    </a:p>
                  </a:txBody>
                  <a:tcPr anchor="ctr"/>
                </a:tc>
                <a:tc>
                  <a:txBody>
                    <a:bodyPr/>
                    <a:lstStyle/>
                    <a:p>
                      <a:pPr algn="ctr" rtl="0"/>
                      <a:r>
                        <a:rPr lang="en-US">
                          <a:effectLst/>
                        </a:rPr>
                        <a:t>Edit security policy</a:t>
                      </a:r>
                    </a:p>
                  </a:txBody>
                  <a:tcPr anchor="ctr"/>
                </a:tc>
                <a:tc>
                  <a:txBody>
                    <a:bodyPr/>
                    <a:lstStyle/>
                    <a:p>
                      <a:pPr algn="ctr" rtl="0"/>
                      <a:r>
                        <a:rPr lang="en-US">
                          <a:effectLst/>
                        </a:rPr>
                        <a:t>Apply security recommendations for a resource</a:t>
                      </a:r>
                    </a:p>
                  </a:txBody>
                  <a:tcPr anchor="ctr"/>
                </a:tc>
                <a:tc>
                  <a:txBody>
                    <a:bodyPr/>
                    <a:lstStyle/>
                    <a:p>
                      <a:pPr algn="ctr" rtl="0"/>
                      <a:r>
                        <a:rPr lang="en-US">
                          <a:effectLst/>
                        </a:rPr>
                        <a:t>Dismiss alerts and recommendations</a:t>
                      </a:r>
                    </a:p>
                  </a:txBody>
                  <a:tcPr anchor="ctr"/>
                </a:tc>
                <a:tc>
                  <a:txBody>
                    <a:bodyPr/>
                    <a:lstStyle/>
                    <a:p>
                      <a:pPr algn="ctr" rtl="0"/>
                      <a:r>
                        <a:rPr lang="en-US">
                          <a:effectLst/>
                        </a:rPr>
                        <a:t>View alerts and recommendations</a:t>
                      </a:r>
                    </a:p>
                  </a:txBody>
                  <a:tcPr anchor="ctr"/>
                </a:tc>
                <a:extLst>
                  <a:ext uri="{0D108BD9-81ED-4DB2-BD59-A6C34878D82A}">
                    <a16:rowId xmlns:a16="http://schemas.microsoft.com/office/drawing/2014/main" val="3078680833"/>
                  </a:ext>
                </a:extLst>
              </a:tr>
              <a:tr h="370840">
                <a:tc>
                  <a:txBody>
                    <a:bodyPr/>
                    <a:lstStyle/>
                    <a:p>
                      <a:pPr algn="l" rtl="0"/>
                      <a:r>
                        <a:rPr lang="en-US">
                          <a:effectLst/>
                        </a:rPr>
                        <a:t>Subscription Owner</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extLst>
                  <a:ext uri="{0D108BD9-81ED-4DB2-BD59-A6C34878D82A}">
                    <a16:rowId xmlns:a16="http://schemas.microsoft.com/office/drawing/2014/main" val="4146536050"/>
                  </a:ext>
                </a:extLst>
              </a:tr>
              <a:tr h="370840">
                <a:tc>
                  <a:txBody>
                    <a:bodyPr/>
                    <a:lstStyle/>
                    <a:p>
                      <a:pPr algn="l" rtl="0"/>
                      <a:r>
                        <a:rPr lang="en-US">
                          <a:effectLst/>
                        </a:rPr>
                        <a:t>Subscription Contributor</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tc>
                  <a:txBody>
                    <a:bodyPr/>
                    <a:lstStyle/>
                    <a:p>
                      <a:pPr algn="ctr" rtl="0"/>
                      <a:r>
                        <a:rPr lang="en-US">
                          <a:effectLst/>
                        </a:rPr>
                        <a:t>X</a:t>
                      </a:r>
                    </a:p>
                  </a:txBody>
                  <a:tcPr anchor="ctr"/>
                </a:tc>
                <a:extLst>
                  <a:ext uri="{0D108BD9-81ED-4DB2-BD59-A6C34878D82A}">
                    <a16:rowId xmlns:a16="http://schemas.microsoft.com/office/drawing/2014/main" val="3631456409"/>
                  </a:ext>
                </a:extLst>
              </a:tr>
              <a:tr h="370840">
                <a:tc>
                  <a:txBody>
                    <a:bodyPr/>
                    <a:lstStyle/>
                    <a:p>
                      <a:pPr algn="l" rtl="0"/>
                      <a:r>
                        <a:rPr lang="en-US">
                          <a:effectLst/>
                        </a:rPr>
                        <a:t>Resource Group Owner</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2452802152"/>
                  </a:ext>
                </a:extLst>
              </a:tr>
              <a:tr h="370840">
                <a:tc>
                  <a:txBody>
                    <a:bodyPr/>
                    <a:lstStyle/>
                    <a:p>
                      <a:pPr algn="l" rtl="0"/>
                      <a:r>
                        <a:rPr lang="en-US">
                          <a:effectLst/>
                        </a:rPr>
                        <a:t>Resource Group Contributor</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2829659391"/>
                  </a:ext>
                </a:extLst>
              </a:tr>
              <a:tr h="370840">
                <a:tc>
                  <a:txBody>
                    <a:bodyPr/>
                    <a:lstStyle/>
                    <a:p>
                      <a:pPr algn="l" rtl="0"/>
                      <a:r>
                        <a:rPr lang="en-US">
                          <a:effectLst/>
                        </a:rPr>
                        <a:t>Reader</a:t>
                      </a:r>
                    </a:p>
                  </a:txBody>
                  <a:tcPr anchor="ctr"/>
                </a:tc>
                <a:tc>
                  <a:txBody>
                    <a:bodyPr/>
                    <a:lstStyle/>
                    <a:p>
                      <a:pPr algn="ctr" rtl="0"/>
                      <a:r>
                        <a:rPr lang="en-US">
                          <a:effectLst/>
                        </a:rPr>
                        <a:t>--</a:t>
                      </a:r>
                    </a:p>
                  </a:txBody>
                  <a:tcPr anchor="ctr"/>
                </a:tc>
                <a:tc>
                  <a:txBody>
                    <a:bodyPr/>
                    <a:lstStyle/>
                    <a:p>
                      <a:pPr algn="ctr" rtl="0"/>
                      <a:r>
                        <a:rPr lang="en-US">
                          <a:effectLst/>
                        </a:rPr>
                        <a:t>--</a:t>
                      </a:r>
                    </a:p>
                  </a:txBody>
                  <a:tcPr anchor="ctr"/>
                </a:tc>
                <a:tc>
                  <a:txBody>
                    <a:bodyPr/>
                    <a:lstStyle/>
                    <a:p>
                      <a:pPr algn="ctr" rtl="0"/>
                      <a:r>
                        <a:rPr lang="en-US">
                          <a:effectLst/>
                        </a:rPr>
                        <a:t>--</a:t>
                      </a:r>
                    </a:p>
                  </a:txBody>
                  <a:tcPr anchor="ctr"/>
                </a:tc>
                <a:tc>
                  <a:txBody>
                    <a:bodyPr/>
                    <a:lstStyle/>
                    <a:p>
                      <a:pPr algn="ctr" rtl="0"/>
                      <a:r>
                        <a:rPr lang="en-US">
                          <a:effectLst/>
                        </a:rPr>
                        <a:t>X</a:t>
                      </a:r>
                    </a:p>
                  </a:txBody>
                  <a:tcPr anchor="ctr"/>
                </a:tc>
                <a:extLst>
                  <a:ext uri="{0D108BD9-81ED-4DB2-BD59-A6C34878D82A}">
                    <a16:rowId xmlns:a16="http://schemas.microsoft.com/office/drawing/2014/main" val="1883674902"/>
                  </a:ext>
                </a:extLst>
              </a:tr>
              <a:tr h="370840">
                <a:tc>
                  <a:txBody>
                    <a:bodyPr/>
                    <a:lstStyle/>
                    <a:p>
                      <a:pPr algn="l" rtl="0"/>
                      <a:r>
                        <a:rPr lang="en-US" b="1">
                          <a:effectLst/>
                        </a:rPr>
                        <a:t>Security Administrator</a:t>
                      </a:r>
                    </a:p>
                  </a:txBody>
                  <a:tcPr anchor="ctr">
                    <a:solidFill>
                      <a:schemeClr val="accent6"/>
                    </a:solidFill>
                  </a:tcPr>
                </a:tc>
                <a:tc>
                  <a:txBody>
                    <a:bodyPr/>
                    <a:lstStyle/>
                    <a:p>
                      <a:pPr algn="ctr" rtl="0"/>
                      <a:r>
                        <a:rPr lang="en-US" b="1">
                          <a:effectLst/>
                        </a:rPr>
                        <a:t>X</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X</a:t>
                      </a:r>
                    </a:p>
                  </a:txBody>
                  <a:tcPr anchor="ctr">
                    <a:solidFill>
                      <a:schemeClr val="accent6">
                        <a:lumMod val="20000"/>
                        <a:lumOff val="80000"/>
                      </a:schemeClr>
                    </a:solidFill>
                  </a:tcPr>
                </a:tc>
                <a:tc>
                  <a:txBody>
                    <a:bodyPr/>
                    <a:lstStyle/>
                    <a:p>
                      <a:pPr algn="ctr" rtl="0"/>
                      <a:r>
                        <a:rPr lang="en-US" b="1" dirty="0">
                          <a:effectLst/>
                        </a:rPr>
                        <a:t>X</a:t>
                      </a:r>
                    </a:p>
                  </a:txBody>
                  <a:tcPr anchor="ctr">
                    <a:solidFill>
                      <a:schemeClr val="accent6">
                        <a:lumMod val="20000"/>
                        <a:lumOff val="80000"/>
                      </a:schemeClr>
                    </a:solidFill>
                  </a:tcPr>
                </a:tc>
                <a:extLst>
                  <a:ext uri="{0D108BD9-81ED-4DB2-BD59-A6C34878D82A}">
                    <a16:rowId xmlns:a16="http://schemas.microsoft.com/office/drawing/2014/main" val="3362517026"/>
                  </a:ext>
                </a:extLst>
              </a:tr>
              <a:tr h="370840">
                <a:tc>
                  <a:txBody>
                    <a:bodyPr/>
                    <a:lstStyle/>
                    <a:p>
                      <a:pPr algn="l" rtl="0"/>
                      <a:r>
                        <a:rPr lang="en-US" b="1" dirty="0">
                          <a:effectLst/>
                        </a:rPr>
                        <a:t>Security Reader</a:t>
                      </a:r>
                    </a:p>
                  </a:txBody>
                  <a:tcPr anchor="ctr">
                    <a:solidFill>
                      <a:schemeClr val="accent6"/>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a:effectLst/>
                        </a:rPr>
                        <a:t>--</a:t>
                      </a:r>
                    </a:p>
                  </a:txBody>
                  <a:tcPr anchor="ctr">
                    <a:solidFill>
                      <a:schemeClr val="accent6">
                        <a:lumMod val="20000"/>
                        <a:lumOff val="80000"/>
                      </a:schemeClr>
                    </a:solidFill>
                  </a:tcPr>
                </a:tc>
                <a:tc>
                  <a:txBody>
                    <a:bodyPr/>
                    <a:lstStyle/>
                    <a:p>
                      <a:pPr algn="ctr" rtl="0"/>
                      <a:r>
                        <a:rPr lang="en-US" b="1" dirty="0">
                          <a:effectLst/>
                        </a:rPr>
                        <a:t>X</a:t>
                      </a:r>
                    </a:p>
                  </a:txBody>
                  <a:tcPr anchor="ctr">
                    <a:solidFill>
                      <a:schemeClr val="accent6">
                        <a:lumMod val="20000"/>
                        <a:lumOff val="80000"/>
                      </a:schemeClr>
                    </a:solidFill>
                  </a:tcPr>
                </a:tc>
                <a:extLst>
                  <a:ext uri="{0D108BD9-81ED-4DB2-BD59-A6C34878D82A}">
                    <a16:rowId xmlns:a16="http://schemas.microsoft.com/office/drawing/2014/main" val="4262744098"/>
                  </a:ext>
                </a:extLst>
              </a:tr>
            </a:tbl>
          </a:graphicData>
        </a:graphic>
      </p:graphicFrame>
    </p:spTree>
    <p:extLst>
      <p:ext uri="{BB962C8B-B14F-4D97-AF65-F5344CB8AC3E}">
        <p14:creationId xmlns:p14="http://schemas.microsoft.com/office/powerpoint/2010/main" val="196040480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ecurity Center – </a:t>
            </a:r>
            <a:r>
              <a:rPr lang="en-US" spc="0" dirty="0" err="1">
                <a:ln/>
                <a:solidFill>
                  <a:srgbClr val="FFFFFF"/>
                </a:solidFill>
                <a:latin typeface="Segoe UI Light"/>
              </a:rPr>
              <a:t>Add’l</a:t>
            </a:r>
            <a:r>
              <a:rPr lang="en-US" spc="0" dirty="0">
                <a:ln/>
                <a:solidFill>
                  <a:srgbClr val="FFFFFF"/>
                </a:solidFill>
                <a:latin typeface="Segoe UI Light"/>
              </a:rPr>
              <a:t> Info</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02C6DA00-AD37-4327-ABCA-408F57516B76}"/>
              </a:ext>
            </a:extLst>
          </p:cNvPr>
          <p:cNvSpPr txBox="1"/>
          <p:nvPr/>
        </p:nvSpPr>
        <p:spPr>
          <a:xfrm>
            <a:off x="0" y="1289717"/>
            <a:ext cx="6657174" cy="560768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Sour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service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raffic</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Partner solutions</a:t>
            </a:r>
          </a:p>
          <a:p>
            <a:pPr marL="809271" lvl="1"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irtual Machine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Tier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Basic</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free version with most functionality </a:t>
            </a:r>
            <a:r>
              <a:rPr lang="en-US" sz="1600" i="1" dirty="0">
                <a:gradFill>
                  <a:gsLst>
                    <a:gs pos="2917">
                      <a:schemeClr val="tx1"/>
                    </a:gs>
                    <a:gs pos="30000">
                      <a:schemeClr val="tx1"/>
                    </a:gs>
                  </a:gsLst>
                  <a:lin ang="5400000" scaled="0"/>
                </a:gradFill>
                <a:latin typeface="+mj-lt"/>
              </a:rPr>
              <a:t> </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andard</a:t>
            </a:r>
            <a:r>
              <a:rPr lang="en-US" sz="1600" b="1" dirty="0">
                <a:gradFill>
                  <a:gsLst>
                    <a:gs pos="2917">
                      <a:schemeClr val="tx1"/>
                    </a:gs>
                    <a:gs pos="30000">
                      <a:schemeClr val="tx1"/>
                    </a:gs>
                  </a:gsLst>
                  <a:lin ang="5400000" scaled="0"/>
                </a:gradFill>
                <a:latin typeface="+mj-lt"/>
              </a:rPr>
              <a:t>: </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daptive application controls</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Network threat detection</a:t>
            </a:r>
          </a:p>
          <a:p>
            <a:pPr marL="1275642" lvl="2" indent="-342900">
              <a:lnSpc>
                <a:spcPct val="90000"/>
              </a:lnSpc>
              <a:spcAft>
                <a:spcPts val="3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VM threat detec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Advanced Servic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ecurity Playbook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a set of mitigation procedures triggered by a security alert, typically utilizing Azure Logic App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Adaptive app control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creates a security baseline, including whitelisting for VMs using ML algorithms and audits anomali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Just-in-time (JIT) VM access:  </a:t>
            </a:r>
            <a:r>
              <a:rPr lang="en-US" sz="1600" dirty="0">
                <a:gradFill>
                  <a:gsLst>
                    <a:gs pos="2917">
                      <a:schemeClr val="tx1"/>
                    </a:gs>
                    <a:gs pos="30000">
                      <a:schemeClr val="tx1"/>
                    </a:gs>
                  </a:gsLst>
                  <a:lin ang="5400000" scaled="0"/>
                </a:gradFill>
                <a:latin typeface="+mj-lt"/>
              </a:rPr>
              <a:t>enable on-demand, time-based access to VMs via Azure managed NSG rules</a:t>
            </a:r>
          </a:p>
        </p:txBody>
      </p:sp>
      <p:sp>
        <p:nvSpPr>
          <p:cNvPr id="3" name="TextBox 2">
            <a:extLst>
              <a:ext uri="{FF2B5EF4-FFF2-40B4-BE49-F238E27FC236}">
                <a16:creationId xmlns:a16="http://schemas.microsoft.com/office/drawing/2014/main" id="{7BB945C5-781C-42CA-91AD-0677E0D7F8A9}"/>
              </a:ext>
            </a:extLst>
          </p:cNvPr>
          <p:cNvSpPr txBox="1"/>
          <p:nvPr/>
        </p:nvSpPr>
        <p:spPr>
          <a:xfrm>
            <a:off x="7049397" y="1289717"/>
            <a:ext cx="5239738" cy="492442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800" b="1" dirty="0">
                <a:gradFill>
                  <a:gsLst>
                    <a:gs pos="2917">
                      <a:schemeClr val="tx1"/>
                    </a:gs>
                    <a:gs pos="30000">
                      <a:schemeClr val="tx1"/>
                    </a:gs>
                  </a:gsLst>
                  <a:lin ang="5400000" scaled="0"/>
                </a:gradFill>
                <a:latin typeface="+mj-lt"/>
              </a:rPr>
              <a:t>Security Policy Definitio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ystem update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configuratio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dpoint protec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Disk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etwork security group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 application firewa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ext generation firewa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QL auditing and threat detec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QL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Vulnerability assessment</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orage encryp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JIT network acces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figure policies using Azure Policy</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n operations </a:t>
            </a:r>
            <a:r>
              <a:rPr lang="en-US"/>
              <a:t>automation strategy</a:t>
            </a:r>
            <a:endParaRPr lang="en-US" dirty="0"/>
          </a:p>
        </p:txBody>
      </p:sp>
    </p:spTree>
    <p:extLst>
      <p:ext uri="{BB962C8B-B14F-4D97-AF65-F5344CB8AC3E}">
        <p14:creationId xmlns:p14="http://schemas.microsoft.com/office/powerpoint/2010/main" val="33865986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5386090"/>
          </a:xfrm>
          <a:prstGeom prst="rect">
            <a:avLst/>
          </a:prstGeom>
        </p:spPr>
        <p:txBody>
          <a:bodyPr wrap="square" lIns="134464" rIns="134464">
            <a:spAutoFit/>
          </a:bodyPr>
          <a:lstStyle/>
          <a:p>
            <a:pPr defTabSz="659045">
              <a:defRPr/>
            </a:pPr>
            <a:r>
              <a:rPr lang="en-US" sz="2800" kern="0" dirty="0">
                <a:solidFill>
                  <a:srgbClr val="000000"/>
                </a:solidFill>
                <a:latin typeface="+mj-lt"/>
                <a:cs typeface="Calibri" panose="020F0502020204030204" pitchFamily="34" charset="0"/>
              </a:rPr>
              <a:t>Configure and automate operational tasks across a hybrid environment</a:t>
            </a:r>
          </a:p>
          <a:p>
            <a:pPr defTabSz="659045">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Process Automation</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Orchestrate processes with runbooks</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Configuration Management</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Collect inventory</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Track changes</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Configure desired state</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Update Management</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Assess compliance</a:t>
            </a:r>
          </a:p>
          <a:p>
            <a:pPr marL="752121" lvl="1" indent="-285750" defTabSz="659045">
              <a:buFont typeface="Arial" panose="020B0604020202020204" pitchFamily="34" charset="0"/>
              <a:buChar char="•"/>
              <a:defRPr/>
            </a:pPr>
            <a:r>
              <a:rPr lang="en-US" sz="2400" kern="0" dirty="0">
                <a:solidFill>
                  <a:srgbClr val="000000"/>
                </a:solidFill>
                <a:latin typeface="+mj-lt"/>
                <a:cs typeface="Calibri" panose="020F0502020204030204" pitchFamily="34" charset="0"/>
              </a:rPr>
              <a:t>Schedule installation</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Azure, Windows, Linux</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Community Gallery</a:t>
            </a:r>
          </a:p>
        </p:txBody>
      </p:sp>
    </p:spTree>
    <p:extLst>
      <p:ext uri="{BB962C8B-B14F-4D97-AF65-F5344CB8AC3E}">
        <p14:creationId xmlns:p14="http://schemas.microsoft.com/office/powerpoint/2010/main" val="245133648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 Shared capabiliti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4524315"/>
          </a:xfrm>
          <a:prstGeom prst="rect">
            <a:avLst/>
          </a:prstGeom>
        </p:spPr>
        <p:txBody>
          <a:bodyPr wrap="square" lIns="134464" rIns="134464">
            <a:spAutoFit/>
          </a:bodyPr>
          <a:lstStyle/>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Role-based access control</a:t>
            </a:r>
          </a:p>
          <a:p>
            <a:pPr marL="752121" lvl="1"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a:t>
            </a:r>
            <a:r>
              <a:rPr lang="en-US" sz="2800" kern="0" dirty="0">
                <a:solidFill>
                  <a:srgbClr val="000000"/>
                </a:solidFill>
                <a:latin typeface="+mj-lt"/>
                <a:cs typeface="Calibri" panose="020F0502020204030204" pitchFamily="34" charset="0"/>
              </a:rPr>
              <a:t>Automation operator” role = run yes, author no</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Variables: use in multiple runbooks and configuration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redentials: securely store for use by runbooks and configuration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ertificate storage</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Connection information</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Schedules: automation triggers</a:t>
            </a:r>
          </a:p>
          <a:p>
            <a:pPr marL="285750" indent="-285750" defTabSz="659045">
              <a:buFont typeface="Arial" panose="020B0604020202020204" pitchFamily="34" charset="0"/>
              <a:buChar char="•"/>
              <a:defRPr/>
            </a:pPr>
            <a:r>
              <a:rPr lang="en-US" sz="3200" kern="0" dirty="0">
                <a:solidFill>
                  <a:srgbClr val="000000"/>
                </a:solidFill>
                <a:latin typeface="+mj-lt"/>
                <a:cs typeface="Calibri" panose="020F0502020204030204" pitchFamily="34" charset="0"/>
              </a:rPr>
              <a:t>Source control integration</a:t>
            </a:r>
          </a:p>
          <a:p>
            <a:pPr marL="285750" indent="-285750" defTabSz="659045">
              <a:buFont typeface="Arial" panose="020B0604020202020204" pitchFamily="34" charset="0"/>
              <a:buChar char="•"/>
              <a:defRPr/>
            </a:pPr>
            <a:r>
              <a:rPr lang="en-US" sz="3200" kern="0" dirty="0" err="1">
                <a:solidFill>
                  <a:srgbClr val="000000"/>
                </a:solidFill>
                <a:latin typeface="+mj-lt"/>
                <a:cs typeface="Calibri" panose="020F0502020204030204" pitchFamily="34" charset="0"/>
              </a:rPr>
              <a:t>Powershell</a:t>
            </a:r>
            <a:r>
              <a:rPr lang="en-US" sz="3200" kern="0" dirty="0">
                <a:solidFill>
                  <a:srgbClr val="000000"/>
                </a:solidFill>
                <a:latin typeface="+mj-lt"/>
                <a:cs typeface="Calibri" panose="020F0502020204030204" pitchFamily="34" charset="0"/>
              </a:rPr>
              <a:t> modules</a:t>
            </a:r>
          </a:p>
        </p:txBody>
      </p:sp>
      <p:sp>
        <p:nvSpPr>
          <p:cNvPr id="2" name="TextBox 1">
            <a:extLst>
              <a:ext uri="{FF2B5EF4-FFF2-40B4-BE49-F238E27FC236}">
                <a16:creationId xmlns:a16="http://schemas.microsoft.com/office/drawing/2014/main" id="{7F80FEE4-BCCE-4763-8F09-3E73AEB4FA7F}"/>
              </a:ext>
            </a:extLst>
          </p:cNvPr>
          <p:cNvSpPr txBox="1"/>
          <p:nvPr/>
        </p:nvSpPr>
        <p:spPr>
          <a:xfrm>
            <a:off x="70338" y="6149591"/>
            <a:ext cx="3599319" cy="627864"/>
          </a:xfrm>
          <a:prstGeom prst="rect">
            <a:avLst/>
          </a:prstGeom>
          <a:noFill/>
        </p:spPr>
        <p:txBody>
          <a:bodyPr wrap="none" lIns="182880" tIns="146304" rIns="182880" bIns="146304" rtlCol="0">
            <a:spAutoFit/>
          </a:bodyPr>
          <a:lstStyle>
            <a:defPPr>
              <a:defRPr lang="en-US"/>
            </a:defPPr>
            <a:lvl1pPr>
              <a:lnSpc>
                <a:spcPct val="90000"/>
              </a:lnSpc>
              <a:spcAft>
                <a:spcPts val="600"/>
              </a:spcAft>
              <a:defRPr sz="2400"/>
            </a:lvl1pPr>
          </a:lstStyle>
          <a:p>
            <a:r>
              <a:rPr lang="en-US" dirty="0">
                <a:hlinkClick r:id="rId3"/>
              </a:rPr>
              <a:t>Azure Automation Docs</a:t>
            </a:r>
            <a:endParaRPr lang="en-US" dirty="0"/>
          </a:p>
        </p:txBody>
      </p:sp>
    </p:spTree>
    <p:extLst>
      <p:ext uri="{BB962C8B-B14F-4D97-AF65-F5344CB8AC3E}">
        <p14:creationId xmlns:p14="http://schemas.microsoft.com/office/powerpoint/2010/main" val="340312490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Use Cas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4912114"/>
          </a:xfrm>
          <a:prstGeom prst="rect">
            <a:avLst/>
          </a:prstGeom>
          <a:noFill/>
        </p:spPr>
        <p:txBody>
          <a:bodyPr wrap="square" lIns="182880" tIns="146304" rIns="182880" bIns="146304" rtlCol="0">
            <a:spAutoFit/>
          </a:bodyPr>
          <a:lstStyle/>
          <a:p>
            <a:pPr marL="457200" indent="-457200">
              <a:buFont typeface="Arial" panose="020B0604020202020204" pitchFamily="34" charset="0"/>
              <a:buChar char="•"/>
            </a:pPr>
            <a:r>
              <a:rPr lang="en-US" sz="3200" dirty="0">
                <a:latin typeface="+mj-lt"/>
              </a:rPr>
              <a:t>Monitoring Configurations</a:t>
            </a:r>
          </a:p>
          <a:p>
            <a:pPr marL="457200" indent="-457200">
              <a:buFont typeface="Arial" panose="020B0604020202020204" pitchFamily="34" charset="0"/>
              <a:buChar char="•"/>
            </a:pPr>
            <a:r>
              <a:rPr lang="en-US" sz="3200" dirty="0">
                <a:latin typeface="+mj-lt"/>
              </a:rPr>
              <a:t>Eliminate Configuration Drift</a:t>
            </a:r>
          </a:p>
          <a:p>
            <a:pPr marL="457200" indent="-457200">
              <a:buFont typeface="Arial" panose="020B0604020202020204" pitchFamily="34" charset="0"/>
              <a:buChar char="•"/>
            </a:pPr>
            <a:r>
              <a:rPr lang="en-US" sz="3200" dirty="0">
                <a:latin typeface="+mj-lt"/>
              </a:rPr>
              <a:t>Automated Change of Configuration </a:t>
            </a:r>
          </a:p>
          <a:p>
            <a:pPr marL="457200" indent="-457200">
              <a:buFont typeface="Arial" panose="020B0604020202020204" pitchFamily="34" charset="0"/>
              <a:buChar char="•"/>
            </a:pPr>
            <a:r>
              <a:rPr lang="en-US" sz="3200" dirty="0">
                <a:latin typeface="+mj-lt"/>
              </a:rPr>
              <a:t>Maintain Exact Configuration (override other changes)</a:t>
            </a:r>
          </a:p>
          <a:p>
            <a:pPr marL="457200" indent="-457200">
              <a:buFont typeface="Arial" panose="020B0604020202020204" pitchFamily="34" charset="0"/>
              <a:buChar char="•"/>
            </a:pPr>
            <a:r>
              <a:rPr lang="en-US" sz="3200" dirty="0">
                <a:latin typeface="+mj-lt"/>
              </a:rPr>
              <a:t>Automated Testing</a:t>
            </a:r>
          </a:p>
          <a:p>
            <a:pPr marL="457200" indent="-457200">
              <a:buFont typeface="Arial" panose="020B0604020202020204" pitchFamily="34" charset="0"/>
              <a:buChar char="•"/>
            </a:pPr>
            <a:r>
              <a:rPr lang="en-US" sz="3200" dirty="0">
                <a:latin typeface="+mj-lt"/>
              </a:rPr>
              <a:t>Automating Usage – Auto Start – Auto Stop</a:t>
            </a:r>
          </a:p>
          <a:p>
            <a:pPr marL="457200" indent="-457200">
              <a:buFont typeface="Arial" panose="020B0604020202020204" pitchFamily="34" charset="0"/>
              <a:buChar char="•"/>
            </a:pPr>
            <a:r>
              <a:rPr lang="en-US" sz="3200" dirty="0">
                <a:latin typeface="+mj-lt"/>
              </a:rPr>
              <a:t>Automating Hybrid Scenarios</a:t>
            </a:r>
          </a:p>
          <a:p>
            <a:pPr marL="457200" indent="-457200">
              <a:buFont typeface="Arial" panose="020B0604020202020204" pitchFamily="34" charset="0"/>
              <a:buChar char="•"/>
            </a:pPr>
            <a:r>
              <a:rPr lang="en-US" sz="3200" dirty="0">
                <a:latin typeface="+mj-lt"/>
              </a:rPr>
              <a:t>Automated Deployment</a:t>
            </a:r>
          </a:p>
          <a:p>
            <a:pPr marL="571500" indent="-571500">
              <a:buFont typeface="Arial" panose="020B0604020202020204" pitchFamily="34" charset="0"/>
              <a:buChar char="•"/>
            </a:pPr>
            <a:r>
              <a:rPr lang="en-US" sz="4400" dirty="0">
                <a:latin typeface="+mj-lt"/>
              </a:rPr>
              <a:t>Implement DevOps practices</a:t>
            </a:r>
          </a:p>
        </p:txBody>
      </p:sp>
    </p:spTree>
    <p:extLst>
      <p:ext uri="{BB962C8B-B14F-4D97-AF65-F5344CB8AC3E}">
        <p14:creationId xmlns:p14="http://schemas.microsoft.com/office/powerpoint/2010/main" val="25146198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 name="Picture 147">
            <a:extLst>
              <a:ext uri="{FF2B5EF4-FFF2-40B4-BE49-F238E27FC236}">
                <a16:creationId xmlns:a16="http://schemas.microsoft.com/office/drawing/2014/main" id="{2EC0D62D-555E-4424-8D20-22B886BB5B2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6608" y="2732214"/>
            <a:ext cx="3622375" cy="2818315"/>
          </a:xfrm>
          <a:prstGeom prst="rect">
            <a:avLst/>
          </a:prstGeom>
        </p:spPr>
      </p:pic>
      <p:sp>
        <p:nvSpPr>
          <p:cNvPr id="3" name="Rectangle 2">
            <a:extLst>
              <a:ext uri="{FF2B5EF4-FFF2-40B4-BE49-F238E27FC236}">
                <a16:creationId xmlns:a16="http://schemas.microsoft.com/office/drawing/2014/main" id="{12FDA061-DF3D-433A-9933-0940B621FCAF}"/>
              </a:ext>
            </a:extLst>
          </p:cNvPr>
          <p:cNvSpPr/>
          <p:nvPr/>
        </p:nvSpPr>
        <p:spPr bwMode="auto">
          <a:xfrm>
            <a:off x="0" y="1288388"/>
            <a:ext cx="12435592" cy="897657"/>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Operationalizing Azure Workloads</a:t>
            </a:r>
          </a:p>
        </p:txBody>
      </p:sp>
      <p:graphicFrame>
        <p:nvGraphicFramePr>
          <p:cNvPr id="2" name="Diagram 1">
            <a:extLst>
              <a:ext uri="{FF2B5EF4-FFF2-40B4-BE49-F238E27FC236}">
                <a16:creationId xmlns:a16="http://schemas.microsoft.com/office/drawing/2014/main" id="{13C989EF-F445-486C-BB81-60C1F1B80BA4}"/>
              </a:ext>
            </a:extLst>
          </p:cNvPr>
          <p:cNvGraphicFramePr/>
          <p:nvPr>
            <p:extLst/>
          </p:nvPr>
        </p:nvGraphicFramePr>
        <p:xfrm>
          <a:off x="1368839" y="1288303"/>
          <a:ext cx="11336082" cy="8976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D906BCB4-5A77-4BAD-9CFB-7C3DF3CB43FC}"/>
              </a:ext>
            </a:extLst>
          </p:cNvPr>
          <p:cNvSpPr txBox="1"/>
          <p:nvPr/>
        </p:nvSpPr>
        <p:spPr>
          <a:xfrm>
            <a:off x="-140236" y="1451606"/>
            <a:ext cx="2043239"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mn-ea"/>
                <a:cs typeface="+mn-cs"/>
              </a:rPr>
              <a:t>DEPLOYMENT</a:t>
            </a:r>
          </a:p>
        </p:txBody>
      </p:sp>
      <p:sp>
        <p:nvSpPr>
          <p:cNvPr id="149" name="Rectangle 148">
            <a:extLst>
              <a:ext uri="{FF2B5EF4-FFF2-40B4-BE49-F238E27FC236}">
                <a16:creationId xmlns:a16="http://schemas.microsoft.com/office/drawing/2014/main" id="{D6095B72-00F4-4FA3-857A-2734D6DE3D66}"/>
              </a:ext>
            </a:extLst>
          </p:cNvPr>
          <p:cNvSpPr/>
          <p:nvPr/>
        </p:nvSpPr>
        <p:spPr bwMode="auto">
          <a:xfrm>
            <a:off x="0" y="6096868"/>
            <a:ext cx="12435592" cy="89765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D83B01">
                  <a:lumMod val="40000"/>
                  <a:lumOff val="60000"/>
                </a:srgbClr>
              </a:solidFill>
              <a:effectLst/>
              <a:uLnTx/>
              <a:uFillTx/>
              <a:latin typeface="Segoe UI"/>
              <a:ea typeface="Segoe UI" pitchFamily="34" charset="0"/>
              <a:cs typeface="Segoe UI" pitchFamily="34" charset="0"/>
            </a:endParaRPr>
          </a:p>
        </p:txBody>
      </p:sp>
      <p:graphicFrame>
        <p:nvGraphicFramePr>
          <p:cNvPr id="150" name="Diagram 149">
            <a:extLst>
              <a:ext uri="{FF2B5EF4-FFF2-40B4-BE49-F238E27FC236}">
                <a16:creationId xmlns:a16="http://schemas.microsoft.com/office/drawing/2014/main" id="{C62A9BF0-CC81-49A0-A5CC-4A09ED0C9544}"/>
              </a:ext>
            </a:extLst>
          </p:cNvPr>
          <p:cNvGraphicFramePr/>
          <p:nvPr>
            <p:extLst/>
          </p:nvPr>
        </p:nvGraphicFramePr>
        <p:xfrm>
          <a:off x="-201053" y="6096868"/>
          <a:ext cx="11469944" cy="89765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52" name="Rectangle 151">
            <a:extLst>
              <a:ext uri="{FF2B5EF4-FFF2-40B4-BE49-F238E27FC236}">
                <a16:creationId xmlns:a16="http://schemas.microsoft.com/office/drawing/2014/main" id="{219E4900-109B-499C-8975-92A92BEC29B4}"/>
              </a:ext>
            </a:extLst>
          </p:cNvPr>
          <p:cNvSpPr/>
          <p:nvPr/>
        </p:nvSpPr>
        <p:spPr bwMode="auto">
          <a:xfrm>
            <a:off x="0" y="2184545"/>
            <a:ext cx="2604498" cy="3912238"/>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53" name="Diagram 152">
            <a:extLst>
              <a:ext uri="{FF2B5EF4-FFF2-40B4-BE49-F238E27FC236}">
                <a16:creationId xmlns:a16="http://schemas.microsoft.com/office/drawing/2014/main" id="{D625BDA5-AEC5-4C7D-8D98-8E7EF87C7D6B}"/>
              </a:ext>
            </a:extLst>
          </p:cNvPr>
          <p:cNvGraphicFramePr/>
          <p:nvPr>
            <p:extLst>
              <p:ext uri="{D42A27DB-BD31-4B8C-83A1-F6EECF244321}">
                <p14:modId xmlns:p14="http://schemas.microsoft.com/office/powerpoint/2010/main" val="199933173"/>
              </p:ext>
            </p:extLst>
          </p:nvPr>
        </p:nvGraphicFramePr>
        <p:xfrm>
          <a:off x="-312668" y="2104747"/>
          <a:ext cx="3229832" cy="364118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55" name="TextBox 154">
            <a:extLst>
              <a:ext uri="{FF2B5EF4-FFF2-40B4-BE49-F238E27FC236}">
                <a16:creationId xmlns:a16="http://schemas.microsoft.com/office/drawing/2014/main" id="{9153D73A-BEF9-4D3A-A393-DD0177E75F48}"/>
              </a:ext>
            </a:extLst>
          </p:cNvPr>
          <p:cNvSpPr txBox="1"/>
          <p:nvPr/>
        </p:nvSpPr>
        <p:spPr>
          <a:xfrm>
            <a:off x="0" y="5539501"/>
            <a:ext cx="260449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107C10"/>
                </a:solidFill>
                <a:effectLst/>
                <a:uLnTx/>
                <a:uFillTx/>
                <a:latin typeface="Segoe UI"/>
                <a:ea typeface="+mn-ea"/>
                <a:cs typeface="+mn-cs"/>
              </a:rPr>
              <a:t>MONITORING</a:t>
            </a:r>
          </a:p>
        </p:txBody>
      </p:sp>
      <p:sp>
        <p:nvSpPr>
          <p:cNvPr id="156" name="Rectangle 155">
            <a:extLst>
              <a:ext uri="{FF2B5EF4-FFF2-40B4-BE49-F238E27FC236}">
                <a16:creationId xmlns:a16="http://schemas.microsoft.com/office/drawing/2014/main" id="{077DD78E-969F-4DA6-9914-30F2B6C24B60}"/>
              </a:ext>
            </a:extLst>
          </p:cNvPr>
          <p:cNvSpPr/>
          <p:nvPr/>
        </p:nvSpPr>
        <p:spPr bwMode="auto">
          <a:xfrm>
            <a:off x="9831094" y="2184545"/>
            <a:ext cx="2604498" cy="3912238"/>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157" name="Diagram 156">
            <a:extLst>
              <a:ext uri="{FF2B5EF4-FFF2-40B4-BE49-F238E27FC236}">
                <a16:creationId xmlns:a16="http://schemas.microsoft.com/office/drawing/2014/main" id="{08034612-8E7E-49C8-9954-489D32113525}"/>
              </a:ext>
            </a:extLst>
          </p:cNvPr>
          <p:cNvGraphicFramePr/>
          <p:nvPr>
            <p:extLst/>
          </p:nvPr>
        </p:nvGraphicFramePr>
        <p:xfrm>
          <a:off x="9602760" y="2536893"/>
          <a:ext cx="3102161" cy="3641188"/>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158" name="TextBox 157">
            <a:extLst>
              <a:ext uri="{FF2B5EF4-FFF2-40B4-BE49-F238E27FC236}">
                <a16:creationId xmlns:a16="http://schemas.microsoft.com/office/drawing/2014/main" id="{1B85D2AC-FF9E-4490-982A-09A36A0CDA28}"/>
              </a:ext>
            </a:extLst>
          </p:cNvPr>
          <p:cNvSpPr txBox="1"/>
          <p:nvPr/>
        </p:nvSpPr>
        <p:spPr>
          <a:xfrm>
            <a:off x="9831094" y="2209969"/>
            <a:ext cx="2604498"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5C2D91"/>
                </a:solidFill>
                <a:effectLst/>
                <a:uLnTx/>
                <a:uFillTx/>
                <a:latin typeface="Segoe UI"/>
                <a:ea typeface="+mn-ea"/>
                <a:cs typeface="+mn-cs"/>
              </a:rPr>
              <a:t>PROTECTION</a:t>
            </a:r>
          </a:p>
        </p:txBody>
      </p:sp>
      <p:sp>
        <p:nvSpPr>
          <p:cNvPr id="159" name="TextBox 158">
            <a:extLst>
              <a:ext uri="{FF2B5EF4-FFF2-40B4-BE49-F238E27FC236}">
                <a16:creationId xmlns:a16="http://schemas.microsoft.com/office/drawing/2014/main" id="{2959C38A-7EF4-4BE3-BC24-2EFE465DB92A}"/>
              </a:ext>
            </a:extLst>
          </p:cNvPr>
          <p:cNvSpPr txBox="1"/>
          <p:nvPr/>
        </p:nvSpPr>
        <p:spPr>
          <a:xfrm>
            <a:off x="10811367" y="6259464"/>
            <a:ext cx="1733252"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D83B01"/>
                </a:solidFill>
                <a:effectLst/>
                <a:uLnTx/>
                <a:uFillTx/>
                <a:latin typeface="Segoe UI"/>
                <a:ea typeface="+mn-ea"/>
                <a:cs typeface="+mn-cs"/>
              </a:rPr>
              <a:t>CONTROLS</a:t>
            </a:r>
          </a:p>
        </p:txBody>
      </p:sp>
    </p:spTree>
    <p:extLst>
      <p:ext uri="{BB962C8B-B14F-4D97-AF65-F5344CB8AC3E}">
        <p14:creationId xmlns:p14="http://schemas.microsoft.com/office/powerpoint/2010/main" val="345476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1000" fill="hold"/>
                                        <p:tgtEl>
                                          <p:spTgt spid="148"/>
                                        </p:tgtEl>
                                      </p:cBhvr>
                                      <p:by x="65000" y="65000"/>
                                    </p:animScale>
                                  </p:childTnLst>
                                </p:cTn>
                              </p:par>
                            </p:childTnLst>
                          </p:cTn>
                        </p:par>
                        <p:par>
                          <p:cTn id="7" fill="hold">
                            <p:stCondLst>
                              <p:cond delay="1000"/>
                            </p:stCondLst>
                            <p:childTnLst>
                              <p:par>
                                <p:cTn id="8" presetID="22" presetClass="entr" presetSubtype="8"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2">
                                            <p:graphicEl>
                                              <a:dgm id="{287D23DB-7D23-42A2-9EF9-E36A4467ED86}"/>
                                            </p:graphicEl>
                                          </p:spTgt>
                                        </p:tgtEl>
                                        <p:attrNameLst>
                                          <p:attrName>style.visibility</p:attrName>
                                        </p:attrNameLst>
                                      </p:cBhvr>
                                      <p:to>
                                        <p:strVal val="visible"/>
                                      </p:to>
                                    </p:set>
                                    <p:animEffect transition="in" filter="fade">
                                      <p:cBhvr>
                                        <p:cTn id="16" dur="500"/>
                                        <p:tgtEl>
                                          <p:spTgt spid="2">
                                            <p:graphicEl>
                                              <a:dgm id="{287D23DB-7D23-42A2-9EF9-E36A4467ED86}"/>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F07E51C6-9F7C-4614-99BA-32C4368A23C1}"/>
                                            </p:graphicEl>
                                          </p:spTgt>
                                        </p:tgtEl>
                                        <p:attrNameLst>
                                          <p:attrName>style.visibility</p:attrName>
                                        </p:attrNameLst>
                                      </p:cBhvr>
                                      <p:to>
                                        <p:strVal val="visible"/>
                                      </p:to>
                                    </p:set>
                                    <p:animEffect transition="in" filter="fade">
                                      <p:cBhvr>
                                        <p:cTn id="19" dur="500"/>
                                        <p:tgtEl>
                                          <p:spTgt spid="2">
                                            <p:graphicEl>
                                              <a:dgm id="{F07E51C6-9F7C-4614-99BA-32C4368A23C1}"/>
                                            </p:graphic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
                                            <p:graphicEl>
                                              <a:dgm id="{00864889-5FCA-47A1-ACC8-33F4DF3AD39D}"/>
                                            </p:graphicEl>
                                          </p:spTgt>
                                        </p:tgtEl>
                                        <p:attrNameLst>
                                          <p:attrName>style.visibility</p:attrName>
                                        </p:attrNameLst>
                                      </p:cBhvr>
                                      <p:to>
                                        <p:strVal val="visible"/>
                                      </p:to>
                                    </p:set>
                                    <p:animEffect transition="in" filter="fade">
                                      <p:cBhvr>
                                        <p:cTn id="23" dur="500"/>
                                        <p:tgtEl>
                                          <p:spTgt spid="2">
                                            <p:graphicEl>
                                              <a:dgm id="{00864889-5FCA-47A1-ACC8-33F4DF3AD39D}"/>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
                                            <p:graphicEl>
                                              <a:dgm id="{25332A07-ACC5-4569-ACAE-0DE8CBCFDCFD}"/>
                                            </p:graphicEl>
                                          </p:spTgt>
                                        </p:tgtEl>
                                        <p:attrNameLst>
                                          <p:attrName>style.visibility</p:attrName>
                                        </p:attrNameLst>
                                      </p:cBhvr>
                                      <p:to>
                                        <p:strVal val="visible"/>
                                      </p:to>
                                    </p:set>
                                    <p:animEffect transition="in" filter="fade">
                                      <p:cBhvr>
                                        <p:cTn id="26" dur="500"/>
                                        <p:tgtEl>
                                          <p:spTgt spid="2">
                                            <p:graphicEl>
                                              <a:dgm id="{25332A07-ACC5-4569-ACAE-0DE8CBCFDCFD}"/>
                                            </p:graphic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2">
                                            <p:graphicEl>
                                              <a:dgm id="{058B2B7A-9017-4CF7-8822-9F26E82B3EC6}"/>
                                            </p:graphicEl>
                                          </p:spTgt>
                                        </p:tgtEl>
                                        <p:attrNameLst>
                                          <p:attrName>style.visibility</p:attrName>
                                        </p:attrNameLst>
                                      </p:cBhvr>
                                      <p:to>
                                        <p:strVal val="visible"/>
                                      </p:to>
                                    </p:set>
                                    <p:animEffect transition="in" filter="fade">
                                      <p:cBhvr>
                                        <p:cTn id="30" dur="500"/>
                                        <p:tgtEl>
                                          <p:spTgt spid="2">
                                            <p:graphicEl>
                                              <a:dgm id="{058B2B7A-9017-4CF7-8822-9F26E82B3EC6}"/>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4BEF1A48-89B6-470E-83A2-F72D50D08D6D}"/>
                                            </p:graphicEl>
                                          </p:spTgt>
                                        </p:tgtEl>
                                        <p:attrNameLst>
                                          <p:attrName>style.visibility</p:attrName>
                                        </p:attrNameLst>
                                      </p:cBhvr>
                                      <p:to>
                                        <p:strVal val="visible"/>
                                      </p:to>
                                    </p:set>
                                    <p:animEffect transition="in" filter="fade">
                                      <p:cBhvr>
                                        <p:cTn id="33" dur="500"/>
                                        <p:tgtEl>
                                          <p:spTgt spid="2">
                                            <p:graphicEl>
                                              <a:dgm id="{4BEF1A48-89B6-470E-83A2-F72D50D08D6D}"/>
                                            </p:graphicEl>
                                          </p:spTgt>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
                                            <p:graphicEl>
                                              <a:dgm id="{6C291C59-B91B-4313-BC48-FE8D8F4C1FB3}"/>
                                            </p:graphicEl>
                                          </p:spTgt>
                                        </p:tgtEl>
                                        <p:attrNameLst>
                                          <p:attrName>style.visibility</p:attrName>
                                        </p:attrNameLst>
                                      </p:cBhvr>
                                      <p:to>
                                        <p:strVal val="visible"/>
                                      </p:to>
                                    </p:set>
                                    <p:animEffect transition="in" filter="fade">
                                      <p:cBhvr>
                                        <p:cTn id="37" dur="500"/>
                                        <p:tgtEl>
                                          <p:spTgt spid="2">
                                            <p:graphicEl>
                                              <a:dgm id="{6C291C59-B91B-4313-BC48-FE8D8F4C1FB3}"/>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
                                            <p:graphicEl>
                                              <a:dgm id="{60037AE0-B65F-43D8-9E12-71CD01C3CAFD}"/>
                                            </p:graphicEl>
                                          </p:spTgt>
                                        </p:tgtEl>
                                        <p:attrNameLst>
                                          <p:attrName>style.visibility</p:attrName>
                                        </p:attrNameLst>
                                      </p:cBhvr>
                                      <p:to>
                                        <p:strVal val="visible"/>
                                      </p:to>
                                    </p:set>
                                    <p:animEffect transition="in" filter="fade">
                                      <p:cBhvr>
                                        <p:cTn id="40" dur="500"/>
                                        <p:tgtEl>
                                          <p:spTgt spid="2">
                                            <p:graphicEl>
                                              <a:dgm id="{60037AE0-B65F-43D8-9E12-71CD01C3CAFD}"/>
                                            </p:graphicEl>
                                          </p:spTgt>
                                        </p:tgtEl>
                                      </p:cBhvr>
                                    </p:animEffect>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2">
                                            <p:graphicEl>
                                              <a:dgm id="{768832B2-F877-4FA3-9345-EB93B2B0EFB4}"/>
                                            </p:graphicEl>
                                          </p:spTgt>
                                        </p:tgtEl>
                                        <p:attrNameLst>
                                          <p:attrName>style.visibility</p:attrName>
                                        </p:attrNameLst>
                                      </p:cBhvr>
                                      <p:to>
                                        <p:strVal val="visible"/>
                                      </p:to>
                                    </p:set>
                                    <p:animEffect transition="in" filter="fade">
                                      <p:cBhvr>
                                        <p:cTn id="44" dur="500"/>
                                        <p:tgtEl>
                                          <p:spTgt spid="2">
                                            <p:graphicEl>
                                              <a:dgm id="{768832B2-F877-4FA3-9345-EB93B2B0EFB4}"/>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
                                            <p:graphicEl>
                                              <a:dgm id="{56D28519-16BA-479F-8457-A1CCAFFCCFC9}"/>
                                            </p:graphicEl>
                                          </p:spTgt>
                                        </p:tgtEl>
                                        <p:attrNameLst>
                                          <p:attrName>style.visibility</p:attrName>
                                        </p:attrNameLst>
                                      </p:cBhvr>
                                      <p:to>
                                        <p:strVal val="visible"/>
                                      </p:to>
                                    </p:set>
                                    <p:animEffect transition="in" filter="fade">
                                      <p:cBhvr>
                                        <p:cTn id="47" dur="500"/>
                                        <p:tgtEl>
                                          <p:spTgt spid="2">
                                            <p:graphicEl>
                                              <a:dgm id="{56D28519-16BA-479F-8457-A1CCAFFCCFC9}"/>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grpId="0" nodeType="clickEffect">
                                  <p:stCondLst>
                                    <p:cond delay="0"/>
                                  </p:stCondLst>
                                  <p:childTnLst>
                                    <p:set>
                                      <p:cBhvr>
                                        <p:cTn id="51" dur="1" fill="hold">
                                          <p:stCondLst>
                                            <p:cond delay="0"/>
                                          </p:stCondLst>
                                        </p:cTn>
                                        <p:tgtEl>
                                          <p:spTgt spid="156"/>
                                        </p:tgtEl>
                                        <p:attrNameLst>
                                          <p:attrName>style.visibility</p:attrName>
                                        </p:attrNameLst>
                                      </p:cBhvr>
                                      <p:to>
                                        <p:strVal val="visible"/>
                                      </p:to>
                                    </p:set>
                                    <p:animEffect transition="in" filter="wipe(up)">
                                      <p:cBhvr>
                                        <p:cTn id="52" dur="500"/>
                                        <p:tgtEl>
                                          <p:spTgt spid="156"/>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158"/>
                                        </p:tgtEl>
                                        <p:attrNameLst>
                                          <p:attrName>style.visibility</p:attrName>
                                        </p:attrNameLst>
                                      </p:cBhvr>
                                      <p:to>
                                        <p:strVal val="visible"/>
                                      </p:to>
                                    </p:se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157">
                                            <p:graphicEl>
                                              <a:dgm id="{15555A21-9339-48F1-B1F3-614EC8C55730}"/>
                                            </p:graphicEl>
                                          </p:spTgt>
                                        </p:tgtEl>
                                        <p:attrNameLst>
                                          <p:attrName>style.visibility</p:attrName>
                                        </p:attrNameLst>
                                      </p:cBhvr>
                                      <p:to>
                                        <p:strVal val="visible"/>
                                      </p:to>
                                    </p:set>
                                    <p:animEffect transition="in" filter="fade">
                                      <p:cBhvr>
                                        <p:cTn id="58" dur="500"/>
                                        <p:tgtEl>
                                          <p:spTgt spid="157">
                                            <p:graphicEl>
                                              <a:dgm id="{15555A21-9339-48F1-B1F3-614EC8C55730}"/>
                                            </p:graphic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7">
                                            <p:graphicEl>
                                              <a:dgm id="{DE9F018E-E6ED-4AEF-A216-43BDABDA4CE5}"/>
                                            </p:graphicEl>
                                          </p:spTgt>
                                        </p:tgtEl>
                                        <p:attrNameLst>
                                          <p:attrName>style.visibility</p:attrName>
                                        </p:attrNameLst>
                                      </p:cBhvr>
                                      <p:to>
                                        <p:strVal val="visible"/>
                                      </p:to>
                                    </p:set>
                                    <p:animEffect transition="in" filter="fade">
                                      <p:cBhvr>
                                        <p:cTn id="61" dur="500"/>
                                        <p:tgtEl>
                                          <p:spTgt spid="157">
                                            <p:graphicEl>
                                              <a:dgm id="{DE9F018E-E6ED-4AEF-A216-43BDABDA4CE5}"/>
                                            </p:graphicEl>
                                          </p:spTgt>
                                        </p:tgtEl>
                                      </p:cBhvr>
                                    </p:animEffect>
                                  </p:childTnLst>
                                </p:cTn>
                              </p:par>
                            </p:childTnLst>
                          </p:cTn>
                        </p:par>
                        <p:par>
                          <p:cTn id="62" fill="hold">
                            <p:stCondLst>
                              <p:cond delay="1000"/>
                            </p:stCondLst>
                            <p:childTnLst>
                              <p:par>
                                <p:cTn id="63" presetID="10" presetClass="entr" presetSubtype="0" fill="hold" grpId="0" nodeType="afterEffect">
                                  <p:stCondLst>
                                    <p:cond delay="0"/>
                                  </p:stCondLst>
                                  <p:childTnLst>
                                    <p:set>
                                      <p:cBhvr>
                                        <p:cTn id="64" dur="1" fill="hold">
                                          <p:stCondLst>
                                            <p:cond delay="0"/>
                                          </p:stCondLst>
                                        </p:cTn>
                                        <p:tgtEl>
                                          <p:spTgt spid="157">
                                            <p:graphicEl>
                                              <a:dgm id="{B581502C-22A5-4861-89E2-7388E2D0C988}"/>
                                            </p:graphicEl>
                                          </p:spTgt>
                                        </p:tgtEl>
                                        <p:attrNameLst>
                                          <p:attrName>style.visibility</p:attrName>
                                        </p:attrNameLst>
                                      </p:cBhvr>
                                      <p:to>
                                        <p:strVal val="visible"/>
                                      </p:to>
                                    </p:set>
                                    <p:animEffect transition="in" filter="fade">
                                      <p:cBhvr>
                                        <p:cTn id="65" dur="500"/>
                                        <p:tgtEl>
                                          <p:spTgt spid="157">
                                            <p:graphicEl>
                                              <a:dgm id="{B581502C-22A5-4861-89E2-7388E2D0C988}"/>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7">
                                            <p:graphicEl>
                                              <a:dgm id="{1DC82DCE-A333-40F9-A3B6-C31B5CE18DA5}"/>
                                            </p:graphicEl>
                                          </p:spTgt>
                                        </p:tgtEl>
                                        <p:attrNameLst>
                                          <p:attrName>style.visibility</p:attrName>
                                        </p:attrNameLst>
                                      </p:cBhvr>
                                      <p:to>
                                        <p:strVal val="visible"/>
                                      </p:to>
                                    </p:set>
                                    <p:animEffect transition="in" filter="fade">
                                      <p:cBhvr>
                                        <p:cTn id="68" dur="500"/>
                                        <p:tgtEl>
                                          <p:spTgt spid="157">
                                            <p:graphicEl>
                                              <a:dgm id="{1DC82DCE-A333-40F9-A3B6-C31B5CE18DA5}"/>
                                            </p:graphicEl>
                                          </p:spTgt>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157">
                                            <p:graphicEl>
                                              <a:dgm id="{A4FE4FD7-822B-4BF9-B743-604FCC6CACB2}"/>
                                            </p:graphicEl>
                                          </p:spTgt>
                                        </p:tgtEl>
                                        <p:attrNameLst>
                                          <p:attrName>style.visibility</p:attrName>
                                        </p:attrNameLst>
                                      </p:cBhvr>
                                      <p:to>
                                        <p:strVal val="visible"/>
                                      </p:to>
                                    </p:set>
                                    <p:animEffect transition="in" filter="fade">
                                      <p:cBhvr>
                                        <p:cTn id="72" dur="500"/>
                                        <p:tgtEl>
                                          <p:spTgt spid="157">
                                            <p:graphicEl>
                                              <a:dgm id="{A4FE4FD7-822B-4BF9-B743-604FCC6CACB2}"/>
                                            </p:graphic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7">
                                            <p:graphicEl>
                                              <a:dgm id="{63CEF91B-3F6C-4D7E-AC34-1B2895DC9D13}"/>
                                            </p:graphicEl>
                                          </p:spTgt>
                                        </p:tgtEl>
                                        <p:attrNameLst>
                                          <p:attrName>style.visibility</p:attrName>
                                        </p:attrNameLst>
                                      </p:cBhvr>
                                      <p:to>
                                        <p:strVal val="visible"/>
                                      </p:to>
                                    </p:set>
                                    <p:animEffect transition="in" filter="fade">
                                      <p:cBhvr>
                                        <p:cTn id="75" dur="500"/>
                                        <p:tgtEl>
                                          <p:spTgt spid="157">
                                            <p:graphicEl>
                                              <a:dgm id="{63CEF91B-3F6C-4D7E-AC34-1B2895DC9D13}"/>
                                            </p:graphicEl>
                                          </p:spTgt>
                                        </p:tgtEl>
                                      </p:cBhvr>
                                    </p:animEffect>
                                  </p:childTnLst>
                                </p:cTn>
                              </p:par>
                            </p:childTnLst>
                          </p:cTn>
                        </p:par>
                        <p:par>
                          <p:cTn id="76" fill="hold">
                            <p:stCondLst>
                              <p:cond delay="2000"/>
                            </p:stCondLst>
                            <p:childTnLst>
                              <p:par>
                                <p:cTn id="77" presetID="10" presetClass="entr" presetSubtype="0" fill="hold" grpId="0" nodeType="afterEffect">
                                  <p:stCondLst>
                                    <p:cond delay="0"/>
                                  </p:stCondLst>
                                  <p:childTnLst>
                                    <p:set>
                                      <p:cBhvr>
                                        <p:cTn id="78" dur="1" fill="hold">
                                          <p:stCondLst>
                                            <p:cond delay="0"/>
                                          </p:stCondLst>
                                        </p:cTn>
                                        <p:tgtEl>
                                          <p:spTgt spid="157">
                                            <p:graphicEl>
                                              <a:dgm id="{F20D35F3-7A14-445E-A385-795B572C4F60}"/>
                                            </p:graphicEl>
                                          </p:spTgt>
                                        </p:tgtEl>
                                        <p:attrNameLst>
                                          <p:attrName>style.visibility</p:attrName>
                                        </p:attrNameLst>
                                      </p:cBhvr>
                                      <p:to>
                                        <p:strVal val="visible"/>
                                      </p:to>
                                    </p:set>
                                    <p:animEffect transition="in" filter="fade">
                                      <p:cBhvr>
                                        <p:cTn id="79" dur="500"/>
                                        <p:tgtEl>
                                          <p:spTgt spid="157">
                                            <p:graphicEl>
                                              <a:dgm id="{F20D35F3-7A14-445E-A385-795B572C4F60}"/>
                                            </p:graphic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57">
                                            <p:graphicEl>
                                              <a:dgm id="{3DAAA680-B383-4656-8C93-44C4737A339D}"/>
                                            </p:graphicEl>
                                          </p:spTgt>
                                        </p:tgtEl>
                                        <p:attrNameLst>
                                          <p:attrName>style.visibility</p:attrName>
                                        </p:attrNameLst>
                                      </p:cBhvr>
                                      <p:to>
                                        <p:strVal val="visible"/>
                                      </p:to>
                                    </p:set>
                                    <p:animEffect transition="in" filter="fade">
                                      <p:cBhvr>
                                        <p:cTn id="82" dur="500"/>
                                        <p:tgtEl>
                                          <p:spTgt spid="157">
                                            <p:graphicEl>
                                              <a:dgm id="{3DAAA680-B383-4656-8C93-44C4737A339D}"/>
                                            </p:graphicEl>
                                          </p:spTgt>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2" fill="hold" grpId="0" nodeType="clickEffect">
                                  <p:stCondLst>
                                    <p:cond delay="0"/>
                                  </p:stCondLst>
                                  <p:childTnLst>
                                    <p:set>
                                      <p:cBhvr>
                                        <p:cTn id="86" dur="1" fill="hold">
                                          <p:stCondLst>
                                            <p:cond delay="0"/>
                                          </p:stCondLst>
                                        </p:cTn>
                                        <p:tgtEl>
                                          <p:spTgt spid="149"/>
                                        </p:tgtEl>
                                        <p:attrNameLst>
                                          <p:attrName>style.visibility</p:attrName>
                                        </p:attrNameLst>
                                      </p:cBhvr>
                                      <p:to>
                                        <p:strVal val="visible"/>
                                      </p:to>
                                    </p:set>
                                    <p:animEffect transition="in" filter="wipe(right)">
                                      <p:cBhvr>
                                        <p:cTn id="87" dur="500"/>
                                        <p:tgtEl>
                                          <p:spTgt spid="149"/>
                                        </p:tgtEl>
                                      </p:cBhvr>
                                    </p:animEffect>
                                  </p:childTnLst>
                                </p:cTn>
                              </p:par>
                              <p:par>
                                <p:cTn id="88" presetID="1" presetClass="entr" presetSubtype="0" fill="hold" grpId="0" nodeType="withEffect">
                                  <p:stCondLst>
                                    <p:cond delay="0"/>
                                  </p:stCondLst>
                                  <p:childTnLst>
                                    <p:set>
                                      <p:cBhvr>
                                        <p:cTn id="89" dur="1" fill="hold">
                                          <p:stCondLst>
                                            <p:cond delay="0"/>
                                          </p:stCondLst>
                                        </p:cTn>
                                        <p:tgtEl>
                                          <p:spTgt spid="159"/>
                                        </p:tgtEl>
                                        <p:attrNameLst>
                                          <p:attrName>style.visibility</p:attrName>
                                        </p:attrNameLst>
                                      </p:cBhvr>
                                      <p:to>
                                        <p:strVal val="visible"/>
                                      </p:to>
                                    </p:set>
                                  </p:childTnLst>
                                </p:cTn>
                              </p:par>
                            </p:childTnLst>
                          </p:cTn>
                        </p:par>
                        <p:par>
                          <p:cTn id="90" fill="hold">
                            <p:stCondLst>
                              <p:cond delay="500"/>
                            </p:stCondLst>
                            <p:childTnLst>
                              <p:par>
                                <p:cTn id="91" presetID="10" presetClass="entr" presetSubtype="0" fill="hold" grpId="0" nodeType="afterEffect">
                                  <p:stCondLst>
                                    <p:cond delay="0"/>
                                  </p:stCondLst>
                                  <p:childTnLst>
                                    <p:set>
                                      <p:cBhvr>
                                        <p:cTn id="92" dur="1" fill="hold">
                                          <p:stCondLst>
                                            <p:cond delay="0"/>
                                          </p:stCondLst>
                                        </p:cTn>
                                        <p:tgtEl>
                                          <p:spTgt spid="150">
                                            <p:graphicEl>
                                              <a:dgm id="{CE3339C4-69F8-406B-AB07-90D139BA368A}"/>
                                            </p:graphicEl>
                                          </p:spTgt>
                                        </p:tgtEl>
                                        <p:attrNameLst>
                                          <p:attrName>style.visibility</p:attrName>
                                        </p:attrNameLst>
                                      </p:cBhvr>
                                      <p:to>
                                        <p:strVal val="visible"/>
                                      </p:to>
                                    </p:set>
                                    <p:animEffect transition="in" filter="fade">
                                      <p:cBhvr>
                                        <p:cTn id="93" dur="500"/>
                                        <p:tgtEl>
                                          <p:spTgt spid="150">
                                            <p:graphicEl>
                                              <a:dgm id="{CE3339C4-69F8-406B-AB07-90D139BA368A}"/>
                                            </p:graphicEl>
                                          </p:spTgt>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50">
                                            <p:graphicEl>
                                              <a:dgm id="{803ADF45-B2E5-49C4-8FC5-4EBBDCC26FE5}"/>
                                            </p:graphicEl>
                                          </p:spTgt>
                                        </p:tgtEl>
                                        <p:attrNameLst>
                                          <p:attrName>style.visibility</p:attrName>
                                        </p:attrNameLst>
                                      </p:cBhvr>
                                      <p:to>
                                        <p:strVal val="visible"/>
                                      </p:to>
                                    </p:set>
                                    <p:animEffect transition="in" filter="fade">
                                      <p:cBhvr>
                                        <p:cTn id="96" dur="500"/>
                                        <p:tgtEl>
                                          <p:spTgt spid="150">
                                            <p:graphicEl>
                                              <a:dgm id="{803ADF45-B2E5-49C4-8FC5-4EBBDCC26FE5}"/>
                                            </p:graphicEl>
                                          </p:spTgt>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150">
                                            <p:graphicEl>
                                              <a:dgm id="{5A6EB298-7892-450F-9D20-9F935A24AD1A}"/>
                                            </p:graphicEl>
                                          </p:spTgt>
                                        </p:tgtEl>
                                        <p:attrNameLst>
                                          <p:attrName>style.visibility</p:attrName>
                                        </p:attrNameLst>
                                      </p:cBhvr>
                                      <p:to>
                                        <p:strVal val="visible"/>
                                      </p:to>
                                    </p:set>
                                    <p:animEffect transition="in" filter="fade">
                                      <p:cBhvr>
                                        <p:cTn id="100" dur="500"/>
                                        <p:tgtEl>
                                          <p:spTgt spid="150">
                                            <p:graphicEl>
                                              <a:dgm id="{5A6EB298-7892-450F-9D20-9F935A24AD1A}"/>
                                            </p:graphicEl>
                                          </p:spTgt>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50">
                                            <p:graphicEl>
                                              <a:dgm id="{768402D9-13BA-4290-AD76-295184E8FFB2}"/>
                                            </p:graphicEl>
                                          </p:spTgt>
                                        </p:tgtEl>
                                        <p:attrNameLst>
                                          <p:attrName>style.visibility</p:attrName>
                                        </p:attrNameLst>
                                      </p:cBhvr>
                                      <p:to>
                                        <p:strVal val="visible"/>
                                      </p:to>
                                    </p:set>
                                    <p:animEffect transition="in" filter="fade">
                                      <p:cBhvr>
                                        <p:cTn id="103" dur="500"/>
                                        <p:tgtEl>
                                          <p:spTgt spid="150">
                                            <p:graphicEl>
                                              <a:dgm id="{768402D9-13BA-4290-AD76-295184E8FFB2}"/>
                                            </p:graphicEl>
                                          </p:spTgt>
                                        </p:tgtEl>
                                      </p:cBhvr>
                                    </p:animEffect>
                                  </p:childTnLst>
                                </p:cTn>
                              </p:par>
                            </p:childTnLst>
                          </p:cTn>
                        </p:par>
                        <p:par>
                          <p:cTn id="104" fill="hold">
                            <p:stCondLst>
                              <p:cond delay="1500"/>
                            </p:stCondLst>
                            <p:childTnLst>
                              <p:par>
                                <p:cTn id="105" presetID="10" presetClass="entr" presetSubtype="0" fill="hold" grpId="0" nodeType="afterEffect">
                                  <p:stCondLst>
                                    <p:cond delay="0"/>
                                  </p:stCondLst>
                                  <p:childTnLst>
                                    <p:set>
                                      <p:cBhvr>
                                        <p:cTn id="106" dur="1" fill="hold">
                                          <p:stCondLst>
                                            <p:cond delay="0"/>
                                          </p:stCondLst>
                                        </p:cTn>
                                        <p:tgtEl>
                                          <p:spTgt spid="150">
                                            <p:graphicEl>
                                              <a:dgm id="{C72BF44E-DE3F-46BB-A5BC-4D035D01521C}"/>
                                            </p:graphicEl>
                                          </p:spTgt>
                                        </p:tgtEl>
                                        <p:attrNameLst>
                                          <p:attrName>style.visibility</p:attrName>
                                        </p:attrNameLst>
                                      </p:cBhvr>
                                      <p:to>
                                        <p:strVal val="visible"/>
                                      </p:to>
                                    </p:set>
                                    <p:animEffect transition="in" filter="fade">
                                      <p:cBhvr>
                                        <p:cTn id="107" dur="500"/>
                                        <p:tgtEl>
                                          <p:spTgt spid="150">
                                            <p:graphicEl>
                                              <a:dgm id="{C72BF44E-DE3F-46BB-A5BC-4D035D01521C}"/>
                                            </p:graphic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0">
                                            <p:graphicEl>
                                              <a:dgm id="{D0653848-2DFA-4227-8681-1C98702C2621}"/>
                                            </p:graphicEl>
                                          </p:spTgt>
                                        </p:tgtEl>
                                        <p:attrNameLst>
                                          <p:attrName>style.visibility</p:attrName>
                                        </p:attrNameLst>
                                      </p:cBhvr>
                                      <p:to>
                                        <p:strVal val="visible"/>
                                      </p:to>
                                    </p:set>
                                    <p:animEffect transition="in" filter="fade">
                                      <p:cBhvr>
                                        <p:cTn id="110" dur="500"/>
                                        <p:tgtEl>
                                          <p:spTgt spid="150">
                                            <p:graphicEl>
                                              <a:dgm id="{D0653848-2DFA-4227-8681-1C98702C2621}"/>
                                            </p:graphicEl>
                                          </p:spTgt>
                                        </p:tgtEl>
                                      </p:cBhvr>
                                    </p:animEffect>
                                  </p:childTnLst>
                                </p:cTn>
                              </p:par>
                            </p:childTnLst>
                          </p:cTn>
                        </p:par>
                        <p:par>
                          <p:cTn id="111" fill="hold">
                            <p:stCondLst>
                              <p:cond delay="2000"/>
                            </p:stCondLst>
                            <p:childTnLst>
                              <p:par>
                                <p:cTn id="112" presetID="10" presetClass="entr" presetSubtype="0" fill="hold" grpId="0" nodeType="afterEffect">
                                  <p:stCondLst>
                                    <p:cond delay="0"/>
                                  </p:stCondLst>
                                  <p:childTnLst>
                                    <p:set>
                                      <p:cBhvr>
                                        <p:cTn id="113" dur="1" fill="hold">
                                          <p:stCondLst>
                                            <p:cond delay="0"/>
                                          </p:stCondLst>
                                        </p:cTn>
                                        <p:tgtEl>
                                          <p:spTgt spid="150">
                                            <p:graphicEl>
                                              <a:dgm id="{72AF72E3-62BC-4E33-A63A-710D4053AC72}"/>
                                            </p:graphicEl>
                                          </p:spTgt>
                                        </p:tgtEl>
                                        <p:attrNameLst>
                                          <p:attrName>style.visibility</p:attrName>
                                        </p:attrNameLst>
                                      </p:cBhvr>
                                      <p:to>
                                        <p:strVal val="visible"/>
                                      </p:to>
                                    </p:set>
                                    <p:animEffect transition="in" filter="fade">
                                      <p:cBhvr>
                                        <p:cTn id="114" dur="500"/>
                                        <p:tgtEl>
                                          <p:spTgt spid="150">
                                            <p:graphicEl>
                                              <a:dgm id="{72AF72E3-62BC-4E33-A63A-710D4053AC72}"/>
                                            </p:graphicEl>
                                          </p:spTgt>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50">
                                            <p:graphicEl>
                                              <a:dgm id="{D75976F8-1086-4F1A-900A-57FC9584D112}"/>
                                            </p:graphicEl>
                                          </p:spTgt>
                                        </p:tgtEl>
                                        <p:attrNameLst>
                                          <p:attrName>style.visibility</p:attrName>
                                        </p:attrNameLst>
                                      </p:cBhvr>
                                      <p:to>
                                        <p:strVal val="visible"/>
                                      </p:to>
                                    </p:set>
                                    <p:animEffect transition="in" filter="fade">
                                      <p:cBhvr>
                                        <p:cTn id="117" dur="500"/>
                                        <p:tgtEl>
                                          <p:spTgt spid="150">
                                            <p:graphicEl>
                                              <a:dgm id="{D75976F8-1086-4F1A-900A-57FC9584D112}"/>
                                            </p:graphicEl>
                                          </p:spTgt>
                                        </p:tgtEl>
                                      </p:cBhvr>
                                    </p:animEffect>
                                  </p:childTnLst>
                                </p:cTn>
                              </p:par>
                            </p:childTnLst>
                          </p:cTn>
                        </p:par>
                        <p:par>
                          <p:cTn id="118" fill="hold">
                            <p:stCondLst>
                              <p:cond delay="2500"/>
                            </p:stCondLst>
                            <p:childTnLst>
                              <p:par>
                                <p:cTn id="119" presetID="10" presetClass="entr" presetSubtype="0" fill="hold" grpId="0" nodeType="afterEffect">
                                  <p:stCondLst>
                                    <p:cond delay="0"/>
                                  </p:stCondLst>
                                  <p:childTnLst>
                                    <p:set>
                                      <p:cBhvr>
                                        <p:cTn id="120" dur="1" fill="hold">
                                          <p:stCondLst>
                                            <p:cond delay="0"/>
                                          </p:stCondLst>
                                        </p:cTn>
                                        <p:tgtEl>
                                          <p:spTgt spid="150">
                                            <p:graphicEl>
                                              <a:dgm id="{0BB77135-2D39-4711-9F35-B992675CC2F3}"/>
                                            </p:graphicEl>
                                          </p:spTgt>
                                        </p:tgtEl>
                                        <p:attrNameLst>
                                          <p:attrName>style.visibility</p:attrName>
                                        </p:attrNameLst>
                                      </p:cBhvr>
                                      <p:to>
                                        <p:strVal val="visible"/>
                                      </p:to>
                                    </p:set>
                                    <p:animEffect transition="in" filter="fade">
                                      <p:cBhvr>
                                        <p:cTn id="121" dur="500"/>
                                        <p:tgtEl>
                                          <p:spTgt spid="150">
                                            <p:graphicEl>
                                              <a:dgm id="{0BB77135-2D39-4711-9F35-B992675CC2F3}"/>
                                            </p:graphicEl>
                                          </p:spTgt>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50">
                                            <p:graphicEl>
                                              <a:dgm id="{B4A1FC9E-DE61-4851-A9C2-3392D8BC748C}"/>
                                            </p:graphicEl>
                                          </p:spTgt>
                                        </p:tgtEl>
                                        <p:attrNameLst>
                                          <p:attrName>style.visibility</p:attrName>
                                        </p:attrNameLst>
                                      </p:cBhvr>
                                      <p:to>
                                        <p:strVal val="visible"/>
                                      </p:to>
                                    </p:set>
                                    <p:animEffect transition="in" filter="fade">
                                      <p:cBhvr>
                                        <p:cTn id="124" dur="500"/>
                                        <p:tgtEl>
                                          <p:spTgt spid="150">
                                            <p:graphicEl>
                                              <a:dgm id="{B4A1FC9E-DE61-4851-A9C2-3392D8BC748C}"/>
                                            </p:graphicEl>
                                          </p:spTgt>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152"/>
                                        </p:tgtEl>
                                        <p:attrNameLst>
                                          <p:attrName>style.visibility</p:attrName>
                                        </p:attrNameLst>
                                      </p:cBhvr>
                                      <p:to>
                                        <p:strVal val="visible"/>
                                      </p:to>
                                    </p:set>
                                    <p:animEffect transition="in" filter="wipe(down)">
                                      <p:cBhvr>
                                        <p:cTn id="129" dur="500"/>
                                        <p:tgtEl>
                                          <p:spTgt spid="152"/>
                                        </p:tgtEl>
                                      </p:cBhvr>
                                    </p:animEffect>
                                  </p:childTnLst>
                                </p:cTn>
                              </p:par>
                              <p:par>
                                <p:cTn id="130" presetID="1" presetClass="entr" presetSubtype="0" fill="hold" grpId="0" nodeType="withEffect">
                                  <p:stCondLst>
                                    <p:cond delay="0"/>
                                  </p:stCondLst>
                                  <p:childTnLst>
                                    <p:set>
                                      <p:cBhvr>
                                        <p:cTn id="131" dur="1" fill="hold">
                                          <p:stCondLst>
                                            <p:cond delay="0"/>
                                          </p:stCondLst>
                                        </p:cTn>
                                        <p:tgtEl>
                                          <p:spTgt spid="155"/>
                                        </p:tgtEl>
                                        <p:attrNameLst>
                                          <p:attrName>style.visibility</p:attrName>
                                        </p:attrNameLst>
                                      </p:cBhvr>
                                      <p:to>
                                        <p:strVal val="visible"/>
                                      </p:to>
                                    </p:set>
                                  </p:childTnLst>
                                </p:cTn>
                              </p:par>
                            </p:childTnLst>
                          </p:cTn>
                        </p:par>
                        <p:par>
                          <p:cTn id="132" fill="hold">
                            <p:stCondLst>
                              <p:cond delay="500"/>
                            </p:stCondLst>
                            <p:childTnLst>
                              <p:par>
                                <p:cTn id="133" presetID="10" presetClass="entr" presetSubtype="0" fill="hold" grpId="0" nodeType="afterEffect">
                                  <p:stCondLst>
                                    <p:cond delay="0"/>
                                  </p:stCondLst>
                                  <p:childTnLst>
                                    <p:set>
                                      <p:cBhvr>
                                        <p:cTn id="134" dur="1" fill="hold">
                                          <p:stCondLst>
                                            <p:cond delay="0"/>
                                          </p:stCondLst>
                                        </p:cTn>
                                        <p:tgtEl>
                                          <p:spTgt spid="153">
                                            <p:graphicEl>
                                              <a:dgm id="{B0017A79-B35A-491D-88CF-17F6E80BAFA1}"/>
                                            </p:graphicEl>
                                          </p:spTgt>
                                        </p:tgtEl>
                                        <p:attrNameLst>
                                          <p:attrName>style.visibility</p:attrName>
                                        </p:attrNameLst>
                                      </p:cBhvr>
                                      <p:to>
                                        <p:strVal val="visible"/>
                                      </p:to>
                                    </p:set>
                                    <p:animEffect transition="in" filter="fade">
                                      <p:cBhvr>
                                        <p:cTn id="135" dur="500"/>
                                        <p:tgtEl>
                                          <p:spTgt spid="153">
                                            <p:graphicEl>
                                              <a:dgm id="{B0017A79-B35A-491D-88CF-17F6E80BAFA1}"/>
                                            </p:graphicEl>
                                          </p:spTgt>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153">
                                            <p:graphicEl>
                                              <a:dgm id="{68B1426B-3E92-4AFE-9BC3-EFD78C5290BD}"/>
                                            </p:graphicEl>
                                          </p:spTgt>
                                        </p:tgtEl>
                                        <p:attrNameLst>
                                          <p:attrName>style.visibility</p:attrName>
                                        </p:attrNameLst>
                                      </p:cBhvr>
                                      <p:to>
                                        <p:strVal val="visible"/>
                                      </p:to>
                                    </p:set>
                                    <p:animEffect transition="in" filter="fade">
                                      <p:cBhvr>
                                        <p:cTn id="138" dur="500"/>
                                        <p:tgtEl>
                                          <p:spTgt spid="153">
                                            <p:graphicEl>
                                              <a:dgm id="{68B1426B-3E92-4AFE-9BC3-EFD78C5290BD}"/>
                                            </p:graphicEl>
                                          </p:spTgt>
                                        </p:tgtEl>
                                      </p:cBhvr>
                                    </p:animEffect>
                                  </p:childTnLst>
                                </p:cTn>
                              </p:par>
                            </p:childTnLst>
                          </p:cTn>
                        </p:par>
                        <p:par>
                          <p:cTn id="139" fill="hold">
                            <p:stCondLst>
                              <p:cond delay="1000"/>
                            </p:stCondLst>
                            <p:childTnLst>
                              <p:par>
                                <p:cTn id="140" presetID="10" presetClass="entr" presetSubtype="0" fill="hold" grpId="0" nodeType="afterEffect">
                                  <p:stCondLst>
                                    <p:cond delay="0"/>
                                  </p:stCondLst>
                                  <p:childTnLst>
                                    <p:set>
                                      <p:cBhvr>
                                        <p:cTn id="141" dur="1" fill="hold">
                                          <p:stCondLst>
                                            <p:cond delay="0"/>
                                          </p:stCondLst>
                                        </p:cTn>
                                        <p:tgtEl>
                                          <p:spTgt spid="153">
                                            <p:graphicEl>
                                              <a:dgm id="{BD8C0EC6-044B-4019-9121-C3EE844FBD15}"/>
                                            </p:graphicEl>
                                          </p:spTgt>
                                        </p:tgtEl>
                                        <p:attrNameLst>
                                          <p:attrName>style.visibility</p:attrName>
                                        </p:attrNameLst>
                                      </p:cBhvr>
                                      <p:to>
                                        <p:strVal val="visible"/>
                                      </p:to>
                                    </p:set>
                                    <p:animEffect transition="in" filter="fade">
                                      <p:cBhvr>
                                        <p:cTn id="142" dur="500"/>
                                        <p:tgtEl>
                                          <p:spTgt spid="153">
                                            <p:graphicEl>
                                              <a:dgm id="{BD8C0EC6-044B-4019-9121-C3EE844FBD15}"/>
                                            </p:graphicEl>
                                          </p:spTgt>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53">
                                            <p:graphicEl>
                                              <a:dgm id="{B9D17107-D205-4EB0-83D6-EA1B647D1285}"/>
                                            </p:graphicEl>
                                          </p:spTgt>
                                        </p:tgtEl>
                                        <p:attrNameLst>
                                          <p:attrName>style.visibility</p:attrName>
                                        </p:attrNameLst>
                                      </p:cBhvr>
                                      <p:to>
                                        <p:strVal val="visible"/>
                                      </p:to>
                                    </p:set>
                                    <p:animEffect transition="in" filter="fade">
                                      <p:cBhvr>
                                        <p:cTn id="145" dur="500"/>
                                        <p:tgtEl>
                                          <p:spTgt spid="153">
                                            <p:graphicEl>
                                              <a:dgm id="{B9D17107-D205-4EB0-83D6-EA1B647D1285}"/>
                                            </p:graphicEl>
                                          </p:spTgt>
                                        </p:tgtEl>
                                      </p:cBhvr>
                                    </p:animEffect>
                                  </p:childTnLst>
                                </p:cTn>
                              </p:par>
                            </p:childTnLst>
                          </p:cTn>
                        </p:par>
                        <p:par>
                          <p:cTn id="146" fill="hold">
                            <p:stCondLst>
                              <p:cond delay="1500"/>
                            </p:stCondLst>
                            <p:childTnLst>
                              <p:par>
                                <p:cTn id="147" presetID="10" presetClass="entr" presetSubtype="0" fill="hold" grpId="0" nodeType="afterEffect">
                                  <p:stCondLst>
                                    <p:cond delay="0"/>
                                  </p:stCondLst>
                                  <p:childTnLst>
                                    <p:set>
                                      <p:cBhvr>
                                        <p:cTn id="148" dur="1" fill="hold">
                                          <p:stCondLst>
                                            <p:cond delay="0"/>
                                          </p:stCondLst>
                                        </p:cTn>
                                        <p:tgtEl>
                                          <p:spTgt spid="153">
                                            <p:graphicEl>
                                              <a:dgm id="{AAD82981-8106-449A-BB2D-766B16179B93}"/>
                                            </p:graphicEl>
                                          </p:spTgt>
                                        </p:tgtEl>
                                        <p:attrNameLst>
                                          <p:attrName>style.visibility</p:attrName>
                                        </p:attrNameLst>
                                      </p:cBhvr>
                                      <p:to>
                                        <p:strVal val="visible"/>
                                      </p:to>
                                    </p:set>
                                    <p:animEffect transition="in" filter="fade">
                                      <p:cBhvr>
                                        <p:cTn id="149" dur="500"/>
                                        <p:tgtEl>
                                          <p:spTgt spid="153">
                                            <p:graphicEl>
                                              <a:dgm id="{AAD82981-8106-449A-BB2D-766B16179B93}"/>
                                            </p:graphicEl>
                                          </p:spTgt>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53">
                                            <p:graphicEl>
                                              <a:dgm id="{1B23234D-C620-49E9-A28C-77C56C47CACA}"/>
                                            </p:graphicEl>
                                          </p:spTgt>
                                        </p:tgtEl>
                                        <p:attrNameLst>
                                          <p:attrName>style.visibility</p:attrName>
                                        </p:attrNameLst>
                                      </p:cBhvr>
                                      <p:to>
                                        <p:strVal val="visible"/>
                                      </p:to>
                                    </p:set>
                                    <p:animEffect transition="in" filter="fade">
                                      <p:cBhvr>
                                        <p:cTn id="152" dur="500"/>
                                        <p:tgtEl>
                                          <p:spTgt spid="153">
                                            <p:graphicEl>
                                              <a:dgm id="{1B23234D-C620-49E9-A28C-77C56C47CACA}"/>
                                            </p:graphicEl>
                                          </p:spTgt>
                                        </p:tgtEl>
                                      </p:cBhvr>
                                    </p:animEffect>
                                  </p:childTnLst>
                                </p:cTn>
                              </p:par>
                            </p:childTnLst>
                          </p:cTn>
                        </p:par>
                        <p:par>
                          <p:cTn id="153" fill="hold">
                            <p:stCondLst>
                              <p:cond delay="2000"/>
                            </p:stCondLst>
                            <p:childTnLst>
                              <p:par>
                                <p:cTn id="154" presetID="10" presetClass="entr" presetSubtype="0" fill="hold" grpId="0" nodeType="afterEffect">
                                  <p:stCondLst>
                                    <p:cond delay="0"/>
                                  </p:stCondLst>
                                  <p:childTnLst>
                                    <p:set>
                                      <p:cBhvr>
                                        <p:cTn id="155" dur="1" fill="hold">
                                          <p:stCondLst>
                                            <p:cond delay="0"/>
                                          </p:stCondLst>
                                        </p:cTn>
                                        <p:tgtEl>
                                          <p:spTgt spid="153">
                                            <p:graphicEl>
                                              <a:dgm id="{F20D35F3-7A14-445E-A385-795B572C4F60}"/>
                                            </p:graphicEl>
                                          </p:spTgt>
                                        </p:tgtEl>
                                        <p:attrNameLst>
                                          <p:attrName>style.visibility</p:attrName>
                                        </p:attrNameLst>
                                      </p:cBhvr>
                                      <p:to>
                                        <p:strVal val="visible"/>
                                      </p:to>
                                    </p:set>
                                    <p:animEffect transition="in" filter="fade">
                                      <p:cBhvr>
                                        <p:cTn id="156" dur="500"/>
                                        <p:tgtEl>
                                          <p:spTgt spid="153">
                                            <p:graphicEl>
                                              <a:dgm id="{F20D35F3-7A14-445E-A385-795B572C4F60}"/>
                                            </p:graphicEl>
                                          </p:spTgt>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153">
                                            <p:graphicEl>
                                              <a:dgm id="{3DAAA680-B383-4656-8C93-44C4737A339D}"/>
                                            </p:graphicEl>
                                          </p:spTgt>
                                        </p:tgtEl>
                                        <p:attrNameLst>
                                          <p:attrName>style.visibility</p:attrName>
                                        </p:attrNameLst>
                                      </p:cBhvr>
                                      <p:to>
                                        <p:strVal val="visible"/>
                                      </p:to>
                                    </p:set>
                                    <p:animEffect transition="in" filter="fade">
                                      <p:cBhvr>
                                        <p:cTn id="159" dur="500"/>
                                        <p:tgtEl>
                                          <p:spTgt spid="153">
                                            <p:graphicEl>
                                              <a:dgm id="{3DAAA680-B383-4656-8C93-44C4737A339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2" grpId="0">
        <p:bldSub>
          <a:bldDgm bld="one"/>
        </p:bldSub>
      </p:bldGraphic>
      <p:bldP spid="4" grpId="0"/>
      <p:bldP spid="149" grpId="0" animBg="1"/>
      <p:bldGraphic spid="150" grpId="0" uiExpand="1">
        <p:bldSub>
          <a:bldDgm bld="one" rev="1"/>
        </p:bldSub>
      </p:bldGraphic>
      <p:bldP spid="152" grpId="0" animBg="1"/>
      <p:bldGraphic spid="153" grpId="0" uiExpand="1">
        <p:bldSub>
          <a:bldDgm bld="one" rev="1"/>
        </p:bldSub>
      </p:bldGraphic>
      <p:bldP spid="155" grpId="0"/>
      <p:bldP spid="156" grpId="0" animBg="1"/>
      <p:bldGraphic spid="157" grpId="0">
        <p:bldSub>
          <a:bldDgm bld="one"/>
        </p:bldSub>
      </p:bldGraphic>
      <p:bldP spid="158" grpId="0"/>
      <p:bldP spid="15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Automation Runbook Type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10" name="TextBox 9">
            <a:extLst>
              <a:ext uri="{FF2B5EF4-FFF2-40B4-BE49-F238E27FC236}">
                <a16:creationId xmlns:a16="http://schemas.microsoft.com/office/drawing/2014/main" id="{EAD891C8-BDE0-4D44-8637-6B3A9FEE74F7}"/>
              </a:ext>
            </a:extLst>
          </p:cNvPr>
          <p:cNvSpPr txBox="1"/>
          <p:nvPr/>
        </p:nvSpPr>
        <p:spPr>
          <a:xfrm>
            <a:off x="0" y="1289717"/>
            <a:ext cx="12382368"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raphic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Include other runbooks as child runbooks for more modular programming</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outside of Azure porta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edit PowerShell code directly</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uns faster than 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than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t use parallel processing or checkpoint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owerShell Workflow</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ore complex coding required</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an be used with PowerShell or Graphical runbook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s parallel processing</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Pyth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Must be familiar with Python</a:t>
            </a:r>
          </a:p>
        </p:txBody>
      </p:sp>
    </p:spTree>
    <p:extLst>
      <p:ext uri="{BB962C8B-B14F-4D97-AF65-F5344CB8AC3E}">
        <p14:creationId xmlns:p14="http://schemas.microsoft.com/office/powerpoint/2010/main" val="315806636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Automation Graphical Runbook</a:t>
            </a:r>
          </a:p>
        </p:txBody>
      </p:sp>
      <p:pic>
        <p:nvPicPr>
          <p:cNvPr id="5" name="Picture 4">
            <a:extLst>
              <a:ext uri="{FF2B5EF4-FFF2-40B4-BE49-F238E27FC236}">
                <a16:creationId xmlns:a16="http://schemas.microsoft.com/office/drawing/2014/main" id="{4A5204DD-3FB6-41F4-B603-9F786559C12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143" y="1495538"/>
            <a:ext cx="9994913" cy="5293166"/>
          </a:xfrm>
          <a:prstGeom prst="rect">
            <a:avLst/>
          </a:prstGeom>
          <a:ln>
            <a:solidFill>
              <a:schemeClr val="tx1"/>
            </a:solidFill>
          </a:ln>
        </p:spPr>
      </p:pic>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amples</a:t>
            </a:r>
          </a:p>
        </p:txBody>
      </p:sp>
    </p:spTree>
    <p:extLst>
      <p:ext uri="{BB962C8B-B14F-4D97-AF65-F5344CB8AC3E}">
        <p14:creationId xmlns:p14="http://schemas.microsoft.com/office/powerpoint/2010/main" val="2500987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4294967295"/>
          </p:nvPr>
        </p:nvSpPr>
        <p:spPr>
          <a:xfrm>
            <a:off x="0" y="931863"/>
            <a:ext cx="9705975" cy="5834062"/>
          </a:xfrm>
          <a:prstGeom prst="rect">
            <a:avLst/>
          </a:prstGeom>
        </p:spPr>
        <p:txBody>
          <a:bodyPr/>
          <a:lstStyle/>
          <a:p>
            <a:pPr marL="0" indent="0">
              <a:buNone/>
            </a:pPr>
            <a:r>
              <a:rPr lang="en-US" sz="2800" dirty="0">
                <a:latin typeface="+mj-lt"/>
                <a:hlinkClick r:id="rId3"/>
              </a:rPr>
              <a:t>https://www.chef.io/solutions</a:t>
            </a:r>
            <a:r>
              <a:rPr lang="en-US" sz="2800" dirty="0">
                <a:latin typeface="+mj-lt"/>
              </a:rPr>
              <a:t> </a:t>
            </a:r>
          </a:p>
          <a:p>
            <a:pPr marL="0" lvl="1" indent="0">
              <a:spcBef>
                <a:spcPts val="765"/>
              </a:spcBef>
              <a:buNone/>
            </a:pPr>
            <a:endParaRPr lang="en-US" sz="2800" dirty="0">
              <a:latin typeface="+mj-lt"/>
            </a:endParaRPr>
          </a:p>
          <a:p>
            <a:pPr marL="257175" indent="-257175">
              <a:spcBef>
                <a:spcPts val="900"/>
              </a:spcBef>
            </a:pPr>
            <a:r>
              <a:rPr lang="en-US" sz="2800" dirty="0">
                <a:solidFill>
                  <a:srgbClr val="000000"/>
                </a:solidFill>
                <a:latin typeface="+mj-lt"/>
                <a:cs typeface="Calibri" panose="020F0502020204030204" pitchFamily="34" charset="0"/>
              </a:rPr>
              <a:t>Cross-OS systems management, automation, and analytics output</a:t>
            </a:r>
          </a:p>
          <a:p>
            <a:pPr marL="257175" indent="-257175">
              <a:spcBef>
                <a:spcPts val="900"/>
              </a:spcBef>
            </a:pPr>
            <a:r>
              <a:rPr lang="en-US" sz="2800" dirty="0">
                <a:solidFill>
                  <a:srgbClr val="000000"/>
                </a:solidFill>
                <a:latin typeface="+mj-lt"/>
                <a:cs typeface="Calibri" panose="020F0502020204030204" pitchFamily="34" charset="0"/>
              </a:rPr>
              <a:t>Ruby and Git are required + agent is on target machine</a:t>
            </a:r>
          </a:p>
          <a:p>
            <a:pPr marL="257175" indent="-257175">
              <a:spcBef>
                <a:spcPts val="900"/>
              </a:spcBef>
            </a:pPr>
            <a:r>
              <a:rPr lang="en-US" sz="2800" dirty="0">
                <a:solidFill>
                  <a:srgbClr val="000000"/>
                </a:solidFill>
                <a:latin typeface="+mj-lt"/>
                <a:cs typeface="Calibri" panose="020F0502020204030204" pitchFamily="34" charset="0"/>
              </a:rPr>
              <a:t>Good for dev/ops teams (code-driven approach to configuration)</a:t>
            </a:r>
          </a:p>
          <a:p>
            <a:pPr marL="257175" indent="-257175">
              <a:spcBef>
                <a:spcPts val="900"/>
              </a:spcBef>
            </a:pPr>
            <a:endParaRPr lang="en-US" sz="2800" dirty="0">
              <a:solidFill>
                <a:srgbClr val="000000"/>
              </a:solidFill>
              <a:latin typeface="+mj-lt"/>
              <a:cs typeface="Calibri" panose="020F0502020204030204" pitchFamily="34" charset="0"/>
            </a:endParaRPr>
          </a:p>
          <a:p>
            <a:pPr marL="0" lvl="1" indent="0">
              <a:spcBef>
                <a:spcPts val="900"/>
              </a:spcBef>
              <a:buNone/>
            </a:pPr>
            <a:r>
              <a:rPr lang="en-US" sz="2800" dirty="0">
                <a:solidFill>
                  <a:srgbClr val="000000"/>
                </a:solidFill>
                <a:latin typeface="+mj-lt"/>
                <a:cs typeface="Calibri" panose="020F0502020204030204" pitchFamily="34" charset="0"/>
              </a:rPr>
              <a:t>Use if:</a:t>
            </a:r>
          </a:p>
          <a:p>
            <a:pPr marL="257175" lvl="1" indent="-257175">
              <a:spcBef>
                <a:spcPts val="900"/>
              </a:spcBef>
            </a:pPr>
            <a:r>
              <a:rPr lang="en-US" sz="2800" dirty="0">
                <a:solidFill>
                  <a:srgbClr val="000000"/>
                </a:solidFill>
                <a:latin typeface="+mj-lt"/>
                <a:cs typeface="Calibri" panose="020F0502020204030204" pitchFamily="34" charset="0"/>
              </a:rPr>
              <a:t>You already use Chef to manage infrastructure</a:t>
            </a:r>
          </a:p>
          <a:p>
            <a:pPr marL="257175" lvl="1" indent="-257175">
              <a:spcBef>
                <a:spcPts val="900"/>
              </a:spcBef>
            </a:pPr>
            <a:r>
              <a:rPr lang="en-US" sz="2800" dirty="0">
                <a:solidFill>
                  <a:srgbClr val="000000"/>
                </a:solidFill>
                <a:latin typeface="+mj-lt"/>
                <a:cs typeface="Calibri" panose="020F0502020204030204" pitchFamily="34" charset="0"/>
              </a:rPr>
              <a:t>Your primary use case is managing Linux machines</a:t>
            </a:r>
          </a:p>
        </p:txBody>
      </p:sp>
      <p:pic>
        <p:nvPicPr>
          <p:cNvPr id="7" name="Picture 6"/>
          <p:cNvPicPr>
            <a:picLocks noChangeAspect="1"/>
          </p:cNvPicPr>
          <p:nvPr/>
        </p:nvPicPr>
        <p:blipFill>
          <a:blip r:embed="rId4"/>
          <a:stretch>
            <a:fillRect/>
          </a:stretch>
        </p:blipFill>
        <p:spPr>
          <a:xfrm>
            <a:off x="10600357" y="1431636"/>
            <a:ext cx="1136118" cy="1243467"/>
          </a:xfrm>
          <a:prstGeom prst="rect">
            <a:avLst/>
          </a:prstGeom>
        </p:spPr>
      </p:pic>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Chef</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7971794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4294967295"/>
          </p:nvPr>
        </p:nvSpPr>
        <p:spPr>
          <a:xfrm>
            <a:off x="0" y="931863"/>
            <a:ext cx="11183938" cy="6354762"/>
          </a:xfrm>
          <a:prstGeom prst="rect">
            <a:avLst/>
          </a:prstGeom>
        </p:spPr>
        <p:txBody>
          <a:bodyPr/>
          <a:lstStyle/>
          <a:p>
            <a:pPr marL="0" indent="0">
              <a:buNone/>
            </a:pPr>
            <a:r>
              <a:rPr lang="en-US" sz="2800" dirty="0">
                <a:latin typeface="+mj-lt"/>
                <a:hlinkClick r:id="rId3"/>
              </a:rPr>
              <a:t>https://puppet.com/solutions/configuration-management</a:t>
            </a:r>
            <a:endParaRPr lang="en-US" sz="2800" dirty="0">
              <a:latin typeface="+mj-lt"/>
            </a:endParaRPr>
          </a:p>
          <a:p>
            <a:pPr marL="0" indent="0">
              <a:buNone/>
            </a:pPr>
            <a:endParaRPr lang="en-US" sz="2800" dirty="0">
              <a:latin typeface="+mj-lt"/>
            </a:endParaRPr>
          </a:p>
          <a:p>
            <a:pPr marL="257175" indent="-257175">
              <a:spcBef>
                <a:spcPts val="900"/>
              </a:spcBef>
            </a:pPr>
            <a:r>
              <a:rPr lang="en-US" sz="2800" dirty="0">
                <a:solidFill>
                  <a:srgbClr val="000000"/>
                </a:solidFill>
                <a:latin typeface="+mj-lt"/>
                <a:cs typeface="Calibri" panose="020F0502020204030204" pitchFamily="34" charset="0"/>
              </a:rPr>
              <a:t>Stable and mature, so good for managing large, heterogeneous enterprise environments</a:t>
            </a:r>
          </a:p>
          <a:p>
            <a:pPr marL="257175" indent="-257175">
              <a:spcBef>
                <a:spcPts val="900"/>
              </a:spcBef>
            </a:pPr>
            <a:r>
              <a:rPr lang="en-US" sz="2800" dirty="0">
                <a:solidFill>
                  <a:srgbClr val="000000"/>
                </a:solidFill>
                <a:latin typeface="+mj-lt"/>
                <a:cs typeface="Calibri" panose="020F0502020204030204" pitchFamily="34" charset="0"/>
              </a:rPr>
              <a:t>Automate systems configuration &amp; enforce consistency</a:t>
            </a:r>
          </a:p>
          <a:p>
            <a:pPr marL="257175" indent="-257175">
              <a:spcBef>
                <a:spcPts val="900"/>
              </a:spcBef>
            </a:pPr>
            <a:r>
              <a:rPr lang="en-US" sz="2800" dirty="0">
                <a:solidFill>
                  <a:srgbClr val="000000"/>
                </a:solidFill>
                <a:latin typeface="+mj-lt"/>
                <a:cs typeface="Calibri" panose="020F0502020204030204" pitchFamily="34" charset="0"/>
              </a:rPr>
              <a:t>Large Open Source catalog of modules and runs on nearly every OS (cross platform)</a:t>
            </a:r>
          </a:p>
          <a:p>
            <a:pPr marL="257175" lvl="0" indent="-257175">
              <a:spcBef>
                <a:spcPts val="900"/>
              </a:spcBef>
            </a:pPr>
            <a:endParaRPr lang="en-US" sz="2800" dirty="0">
              <a:solidFill>
                <a:srgbClr val="000000"/>
              </a:solidFill>
              <a:latin typeface="Segoe UI Light"/>
              <a:cs typeface="Calibri" panose="020F0502020204030204" pitchFamily="34" charset="0"/>
            </a:endParaRPr>
          </a:p>
          <a:p>
            <a:pPr marL="0" lvl="1" indent="0">
              <a:spcBef>
                <a:spcPts val="900"/>
              </a:spcBef>
              <a:buNone/>
            </a:pPr>
            <a:r>
              <a:rPr lang="en-US" sz="2800" dirty="0">
                <a:solidFill>
                  <a:srgbClr val="000000"/>
                </a:solidFill>
                <a:latin typeface="Segoe UI Light"/>
                <a:cs typeface="Calibri" panose="020F0502020204030204" pitchFamily="34" charset="0"/>
              </a:rPr>
              <a:t>Use if:</a:t>
            </a:r>
          </a:p>
          <a:p>
            <a:pPr marL="257175" lvl="1" indent="-257175">
              <a:spcBef>
                <a:spcPts val="900"/>
              </a:spcBef>
            </a:pPr>
            <a:r>
              <a:rPr lang="en-US" sz="2800" dirty="0">
                <a:solidFill>
                  <a:srgbClr val="000000"/>
                </a:solidFill>
                <a:latin typeface="Segoe UI Light"/>
                <a:cs typeface="Calibri" panose="020F0502020204030204" pitchFamily="34" charset="0"/>
              </a:rPr>
              <a:t>You already use Puppet to manage infrastructure</a:t>
            </a:r>
          </a:p>
          <a:p>
            <a:pPr marL="257175" lvl="1" indent="-257175">
              <a:spcBef>
                <a:spcPts val="900"/>
              </a:spcBef>
            </a:pPr>
            <a:r>
              <a:rPr lang="en-US" sz="2800" dirty="0">
                <a:solidFill>
                  <a:srgbClr val="000000"/>
                </a:solidFill>
                <a:latin typeface="Segoe UI Light"/>
                <a:cs typeface="Calibri" panose="020F0502020204030204" pitchFamily="34" charset="0"/>
              </a:rPr>
              <a:t>Your primary use case is managing Linux machines</a:t>
            </a:r>
          </a:p>
          <a:p>
            <a:pPr marL="0" indent="0">
              <a:spcBef>
                <a:spcPts val="900"/>
              </a:spcBef>
              <a:buNone/>
            </a:pPr>
            <a:endParaRPr lang="en-US" sz="2800" dirty="0">
              <a:solidFill>
                <a:srgbClr val="000000"/>
              </a:solidFill>
              <a:latin typeface="+mj-lt"/>
              <a:cs typeface="Calibri" panose="020F0502020204030204" pitchFamily="34" charset="0"/>
            </a:endParaRPr>
          </a:p>
        </p:txBody>
      </p:sp>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uppet</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pic>
        <p:nvPicPr>
          <p:cNvPr id="5" name="Puppet Logo" descr="http://www.devopsdays.org/events/2013-tokyo/logos/puppetlabs.png">
            <a:extLst>
              <a:ext uri="{FF2B5EF4-FFF2-40B4-BE49-F238E27FC236}">
                <a16:creationId xmlns:a16="http://schemas.microsoft.com/office/drawing/2014/main" id="{2172DF29-9923-4397-A756-8C7BA17CD7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592" t="14109" r="19214" b="13633"/>
          <a:stretch/>
        </p:blipFill>
        <p:spPr bwMode="auto">
          <a:xfrm>
            <a:off x="10876174" y="1378967"/>
            <a:ext cx="950736" cy="1267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30041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4294967295"/>
          </p:nvPr>
        </p:nvSpPr>
        <p:spPr>
          <a:xfrm>
            <a:off x="0" y="931863"/>
            <a:ext cx="12436475" cy="6062662"/>
          </a:xfrm>
          <a:prstGeom prst="rect">
            <a:avLst/>
          </a:prstGeom>
        </p:spPr>
        <p:txBody>
          <a:bodyPr/>
          <a:lstStyle/>
          <a:p>
            <a:pPr marL="0" indent="0">
              <a:buNone/>
            </a:pPr>
            <a:r>
              <a:rPr lang="en-US" sz="2400" dirty="0">
                <a:latin typeface="+mj-lt"/>
              </a:rPr>
              <a:t>DSC “by itself”: </a:t>
            </a:r>
            <a:r>
              <a:rPr lang="en-US" sz="2400" dirty="0" err="1">
                <a:latin typeface="+mj-lt"/>
              </a:rPr>
              <a:t>Powershell</a:t>
            </a:r>
            <a:r>
              <a:rPr lang="en-US" sz="2400" dirty="0">
                <a:latin typeface="+mj-lt"/>
              </a:rPr>
              <a:t> management platform for Windows, Linux</a:t>
            </a:r>
          </a:p>
          <a:p>
            <a:pPr marL="0" indent="0">
              <a:buNone/>
            </a:pPr>
            <a:r>
              <a:rPr lang="en-US" sz="2000" dirty="0">
                <a:latin typeface="+mj-lt"/>
                <a:hlinkClick r:id="rId3"/>
              </a:rPr>
              <a:t>https://docs.microsoft.com/powershell/dsc/overview</a:t>
            </a:r>
            <a:r>
              <a:rPr lang="en-US" sz="2000" dirty="0">
                <a:latin typeface="+mj-lt"/>
              </a:rPr>
              <a:t> </a:t>
            </a:r>
          </a:p>
          <a:p>
            <a:pPr marL="0" indent="0">
              <a:buNone/>
            </a:pPr>
            <a:endParaRPr lang="en-US" sz="2400" dirty="0">
              <a:latin typeface="+mj-lt"/>
            </a:endParaRPr>
          </a:p>
          <a:p>
            <a:pPr marL="0" indent="0">
              <a:buNone/>
            </a:pPr>
            <a:r>
              <a:rPr lang="en-US" sz="2400" dirty="0">
                <a:latin typeface="+mj-lt"/>
              </a:rPr>
              <a:t>Azure Automation DSC: adds capabilities</a:t>
            </a:r>
          </a:p>
          <a:p>
            <a:r>
              <a:rPr lang="en-US" sz="2400" dirty="0">
                <a:latin typeface="+mj-lt"/>
              </a:rPr>
              <a:t>Built-in pull server – no need to deploy your own</a:t>
            </a:r>
          </a:p>
          <a:p>
            <a:r>
              <a:rPr lang="en-US" sz="2400" dirty="0">
                <a:latin typeface="+mj-lt"/>
              </a:rPr>
              <a:t>Azure Automation management with other resources</a:t>
            </a:r>
          </a:p>
          <a:p>
            <a:r>
              <a:rPr lang="en-US" sz="2400" dirty="0">
                <a:latin typeface="+mj-lt"/>
              </a:rPr>
              <a:t>Can send status data to Log Analytics</a:t>
            </a:r>
            <a:endParaRPr lang="en-US" sz="2400" dirty="0">
              <a:latin typeface="+mj-lt"/>
              <a:hlinkClick r:id="rId4"/>
            </a:endParaRPr>
          </a:p>
          <a:p>
            <a:pPr marL="0" indent="0">
              <a:buNone/>
            </a:pPr>
            <a:r>
              <a:rPr lang="en-US" sz="2000" dirty="0">
                <a:latin typeface="+mj-lt"/>
                <a:hlinkClick r:id="rId4"/>
              </a:rPr>
              <a:t>https://docs.microsoft.com/en-us/azure/automation/automation-dsc-overview</a:t>
            </a:r>
            <a:endParaRPr lang="en-US" sz="2000" dirty="0">
              <a:latin typeface="+mj-lt"/>
            </a:endParaRPr>
          </a:p>
          <a:p>
            <a:pPr marL="0" lvl="0" indent="0">
              <a:spcBef>
                <a:spcPts val="900"/>
              </a:spcBef>
              <a:buNone/>
            </a:pPr>
            <a:endParaRPr lang="en-US" sz="1200" dirty="0">
              <a:solidFill>
                <a:srgbClr val="000000"/>
              </a:solidFill>
              <a:latin typeface="+mj-lt"/>
              <a:cs typeface="Calibri" panose="020F0502020204030204" pitchFamily="34" charset="0"/>
            </a:endParaRPr>
          </a:p>
          <a:p>
            <a:pPr marL="15873" lvl="1" indent="0">
              <a:buNone/>
            </a:pPr>
            <a:r>
              <a:rPr lang="en-US" sz="2400" dirty="0">
                <a:latin typeface="+mj-lt"/>
              </a:rPr>
              <a:t>Use if:</a:t>
            </a:r>
          </a:p>
          <a:p>
            <a:pPr marL="301623" lvl="1" indent="-285750"/>
            <a:r>
              <a:rPr lang="en-US" sz="2400" dirty="0">
                <a:latin typeface="+mj-lt"/>
              </a:rPr>
              <a:t>You do not already have a Configuration Management solution</a:t>
            </a:r>
          </a:p>
          <a:p>
            <a:pPr marL="301623" lvl="1" indent="-285750"/>
            <a:r>
              <a:rPr lang="en-US" sz="2400" dirty="0">
                <a:latin typeface="+mj-lt"/>
              </a:rPr>
              <a:t>Your primary experience is managing Windows machines</a:t>
            </a:r>
          </a:p>
          <a:p>
            <a:pPr marL="301623" lvl="1" indent="-285750"/>
            <a:r>
              <a:rPr lang="en-US" sz="2400" dirty="0">
                <a:latin typeface="+mj-lt"/>
              </a:rPr>
              <a:t>You use vendor-neutral configuration files (MOF)</a:t>
            </a:r>
          </a:p>
          <a:p>
            <a:pPr marL="301623" lvl="1" indent="-285750"/>
            <a:r>
              <a:rPr lang="en-US" sz="2400" dirty="0">
                <a:latin typeface="+mj-lt"/>
              </a:rPr>
              <a:t>You already have </a:t>
            </a:r>
            <a:r>
              <a:rPr lang="en-US" sz="2400" dirty="0" err="1">
                <a:latin typeface="+mj-lt"/>
              </a:rPr>
              <a:t>Powershell</a:t>
            </a:r>
            <a:r>
              <a:rPr lang="en-US" sz="2400" dirty="0">
                <a:latin typeface="+mj-lt"/>
              </a:rPr>
              <a:t> expertise</a:t>
            </a:r>
          </a:p>
        </p:txBody>
      </p:sp>
      <p:sp>
        <p:nvSpPr>
          <p:cNvPr id="10" name="Title 1">
            <a:extLst>
              <a:ext uri="{FF2B5EF4-FFF2-40B4-BE49-F238E27FC236}">
                <a16:creationId xmlns:a16="http://schemas.microsoft.com/office/drawing/2014/main" id="{68810728-1CC7-47AF-9142-19F123DBAEE5}"/>
              </a:ext>
            </a:extLst>
          </p:cNvPr>
          <p:cNvSpPr txBox="1">
            <a:spLocks/>
          </p:cNvSpPr>
          <p:nvPr/>
        </p:nvSpPr>
        <p:spPr>
          <a:xfrm>
            <a:off x="0" y="-4323"/>
            <a:ext cx="12434711" cy="927221"/>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red State Configuration (DSC)</a:t>
            </a:r>
          </a:p>
        </p:txBody>
      </p:sp>
    </p:spTree>
    <p:extLst>
      <p:ext uri="{BB962C8B-B14F-4D97-AF65-F5344CB8AC3E}">
        <p14:creationId xmlns:p14="http://schemas.microsoft.com/office/powerpoint/2010/main" val="2638768700"/>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F072B36-7D30-4840-89F7-283616241575}"/>
              </a:ext>
            </a:extLst>
          </p:cNvPr>
          <p:cNvSpPr>
            <a:spLocks noGrp="1"/>
          </p:cNvSpPr>
          <p:nvPr>
            <p:ph type="title"/>
          </p:nvPr>
        </p:nvSpPr>
        <p:spPr>
          <a:xfrm>
            <a:off x="3949776" y="354799"/>
            <a:ext cx="8486700" cy="941711"/>
          </a:xfrm>
        </p:spPr>
        <p:txBody>
          <a:bodyPr>
            <a:normAutofit fontScale="90000"/>
          </a:bodyPr>
          <a:lstStyle/>
          <a:p>
            <a:pPr algn="r"/>
            <a:r>
              <a:rPr lang="en-US" dirty="0"/>
              <a:t>Hybrid Azure Automation - DSC</a:t>
            </a:r>
          </a:p>
        </p:txBody>
      </p:sp>
      <p:sp>
        <p:nvSpPr>
          <p:cNvPr id="10" name="Text Placeholder 9">
            <a:extLst>
              <a:ext uri="{FF2B5EF4-FFF2-40B4-BE49-F238E27FC236}">
                <a16:creationId xmlns:a16="http://schemas.microsoft.com/office/drawing/2014/main" id="{0713C4AD-8562-4073-A080-B150E938A93B}"/>
              </a:ext>
            </a:extLst>
          </p:cNvPr>
          <p:cNvSpPr>
            <a:spLocks noGrp="1"/>
          </p:cNvSpPr>
          <p:nvPr>
            <p:ph type="body" sz="quarter" idx="11"/>
          </p:nvPr>
        </p:nvSpPr>
        <p:spPr>
          <a:xfrm>
            <a:off x="273456" y="1296510"/>
            <a:ext cx="6798265" cy="4734325"/>
          </a:xfrm>
        </p:spPr>
        <p:txBody>
          <a:bodyPr/>
          <a:lstStyle/>
          <a:p>
            <a:r>
              <a:rPr lang="en-US" sz="2448" dirty="0"/>
              <a:t>DSC configurations stored in Azure Automation can be directly applied to Azure virtual machines. </a:t>
            </a:r>
          </a:p>
          <a:p>
            <a:r>
              <a:rPr lang="en-US" sz="2448" dirty="0"/>
              <a:t>Other physical and virtual machines can request configurations from the Azure Automation DSC pull server.</a:t>
            </a:r>
          </a:p>
          <a:p>
            <a:endParaRPr lang="en-US" sz="2448" dirty="0"/>
          </a:p>
          <a:p>
            <a:r>
              <a:rPr lang="en-US" sz="2448" dirty="0"/>
              <a:t>Note </a:t>
            </a:r>
          </a:p>
          <a:p>
            <a:pPr marL="349724" indent="-349724">
              <a:buFont typeface="Arial" panose="020B0604020202020204" pitchFamily="34" charset="0"/>
              <a:buChar char="•"/>
            </a:pPr>
            <a:r>
              <a:rPr lang="en-US" sz="2040" dirty="0"/>
              <a:t>TCP 443 from local to Azure</a:t>
            </a:r>
          </a:p>
          <a:p>
            <a:pPr marL="349724" indent="-349724">
              <a:buFont typeface="Arial" panose="020B0604020202020204" pitchFamily="34" charset="0"/>
              <a:buChar char="•"/>
            </a:pPr>
            <a:r>
              <a:rPr lang="en-US" sz="2040" dirty="0"/>
              <a:t>TCP 5985/5986 Hybrid Runbook Worker to local machines and resources</a:t>
            </a:r>
          </a:p>
          <a:p>
            <a:pPr marL="349724" indent="-349724">
              <a:buFont typeface="Arial" panose="020B0604020202020204" pitchFamily="34" charset="0"/>
              <a:buChar char="•"/>
            </a:pPr>
            <a:r>
              <a:rPr lang="en-US" sz="2040" dirty="0"/>
              <a:t>Hybrid Runbook worker is running locally and managing local resources</a:t>
            </a:r>
            <a:endParaRPr lang="en-US" sz="3672" dirty="0"/>
          </a:p>
        </p:txBody>
      </p:sp>
      <p:sp>
        <p:nvSpPr>
          <p:cNvPr id="8" name="Text Placeholder 7">
            <a:extLst>
              <a:ext uri="{FF2B5EF4-FFF2-40B4-BE49-F238E27FC236}">
                <a16:creationId xmlns:a16="http://schemas.microsoft.com/office/drawing/2014/main" id="{B41E7C49-A395-4F83-9DD7-4912E40D972D}"/>
              </a:ext>
            </a:extLst>
          </p:cNvPr>
          <p:cNvSpPr>
            <a:spLocks noGrp="1"/>
          </p:cNvSpPr>
          <p:nvPr>
            <p:ph type="body" sz="quarter" idx="10"/>
          </p:nvPr>
        </p:nvSpPr>
        <p:spPr/>
        <p:txBody>
          <a:bodyPr/>
          <a:lstStyle/>
          <a:p>
            <a:r>
              <a:rPr lang="en-US" dirty="0"/>
              <a:t>https://docs.microsoft.com/en-us/azure/automation/automation-offering-get-started</a:t>
            </a:r>
          </a:p>
        </p:txBody>
      </p:sp>
      <p:pic>
        <p:nvPicPr>
          <p:cNvPr id="6" name="Content Placeholder 5">
            <a:extLst>
              <a:ext uri="{FF2B5EF4-FFF2-40B4-BE49-F238E27FC236}">
                <a16:creationId xmlns:a16="http://schemas.microsoft.com/office/drawing/2014/main" id="{31E2352B-5EFA-4989-8488-C80C9084BB0B}"/>
              </a:ext>
            </a:extLst>
          </p:cNvPr>
          <p:cNvPicPr>
            <a:picLocks noGrp="1" noChangeAspect="1"/>
          </p:cNvPicPr>
          <p:nvPr>
            <p:ph type="pic" idx="4294967295"/>
          </p:nvPr>
        </p:nvPicPr>
        <p:blipFill>
          <a:blip r:embed="rId3"/>
          <a:srcRect l="749" r="749"/>
          <a:stretch>
            <a:fillRect/>
          </a:stretch>
        </p:blipFill>
        <p:spPr>
          <a:xfrm>
            <a:off x="7131050" y="1484313"/>
            <a:ext cx="5305425" cy="4187825"/>
          </a:xfrm>
        </p:spPr>
      </p:pic>
    </p:spTree>
    <p:extLst>
      <p:ext uri="{BB962C8B-B14F-4D97-AF65-F5344CB8AC3E}">
        <p14:creationId xmlns:p14="http://schemas.microsoft.com/office/powerpoint/2010/main" val="97005478"/>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a:xfrm>
            <a:off x="-1" y="0"/>
            <a:ext cx="12434075" cy="1014879"/>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Azure Event Grid</a:t>
            </a:r>
          </a:p>
        </p:txBody>
      </p:sp>
      <p:sp>
        <p:nvSpPr>
          <p:cNvPr id="13" name="TextBox 12"/>
          <p:cNvSpPr txBox="1"/>
          <p:nvPr/>
        </p:nvSpPr>
        <p:spPr>
          <a:xfrm>
            <a:off x="8535553"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Broad coverage within Azure and beyond</a:t>
            </a:r>
          </a:p>
        </p:txBody>
      </p:sp>
      <p:sp>
        <p:nvSpPr>
          <p:cNvPr id="10" name="TextBox 9"/>
          <p:cNvSpPr txBox="1"/>
          <p:nvPr/>
        </p:nvSpPr>
        <p:spPr>
          <a:xfrm>
            <a:off x="609548"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Fully-managed </a:t>
            </a:r>
            <a:br>
              <a:rPr lang="en-US" sz="2244" kern="0">
                <a:gradFill>
                  <a:gsLst>
                    <a:gs pos="13483">
                      <a:schemeClr val="tx1"/>
                    </a:gs>
                    <a:gs pos="62000">
                      <a:schemeClr val="tx1"/>
                    </a:gs>
                  </a:gsLst>
                  <a:lin ang="5400000" scaled="0"/>
                </a:gradFill>
                <a:latin typeface="Segoe UI Semilight"/>
                <a:cs typeface="Segoe UI"/>
              </a:rPr>
            </a:br>
            <a:r>
              <a:rPr lang="en-US" sz="2244" kern="0">
                <a:gradFill>
                  <a:gsLst>
                    <a:gs pos="13483">
                      <a:schemeClr val="tx1"/>
                    </a:gs>
                    <a:gs pos="62000">
                      <a:schemeClr val="tx1"/>
                    </a:gs>
                  </a:gsLst>
                  <a:lin ang="5400000" scaled="0"/>
                </a:gradFill>
                <a:latin typeface="Segoe UI Semilight"/>
                <a:cs typeface="Segoe UI"/>
              </a:rPr>
              <a:t>event routing</a:t>
            </a:r>
          </a:p>
        </p:txBody>
      </p:sp>
      <p:sp>
        <p:nvSpPr>
          <p:cNvPr id="7" name="TextBox 6"/>
          <p:cNvSpPr txBox="1"/>
          <p:nvPr/>
        </p:nvSpPr>
        <p:spPr>
          <a:xfrm>
            <a:off x="4572551" y="3863018"/>
            <a:ext cx="3291373" cy="935205"/>
          </a:xfrm>
          <a:prstGeom prst="rect">
            <a:avLst/>
          </a:prstGeom>
          <a:noFill/>
        </p:spPr>
        <p:txBody>
          <a:bodyPr wrap="square" lIns="93230" tIns="149169" rIns="186459" bIns="149169" rtlCol="0">
            <a:spAutoFit/>
          </a:bodyPr>
          <a:lstStyle/>
          <a:p>
            <a:pPr algn="ctr" defTabSz="1242953">
              <a:lnSpc>
                <a:spcPct val="90000"/>
              </a:lnSpc>
              <a:defRPr/>
            </a:pPr>
            <a:r>
              <a:rPr lang="en-US" sz="2244" kern="0">
                <a:gradFill>
                  <a:gsLst>
                    <a:gs pos="13483">
                      <a:schemeClr val="tx1"/>
                    </a:gs>
                    <a:gs pos="62000">
                      <a:schemeClr val="tx1"/>
                    </a:gs>
                  </a:gsLst>
                  <a:lin ang="5400000" scaled="0"/>
                </a:gradFill>
                <a:latin typeface="Segoe UI Semilight"/>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75141" y="5600359"/>
            <a:ext cx="11886192" cy="807810"/>
          </a:xfrm>
          <a:prstGeom prst="rect">
            <a:avLst/>
          </a:prstGeom>
        </p:spPr>
        <p:txBody>
          <a:bodyPr vert="horz" wrap="square" lIns="149189" tIns="93243" rIns="149189" bIns="93243"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spcBef>
                <a:spcPts val="0"/>
              </a:spcBef>
              <a:defRPr/>
            </a:pPr>
            <a:r>
              <a:rPr lang="en-US" sz="4386" dirty="0">
                <a:gradFill>
                  <a:gsLst>
                    <a:gs pos="92135">
                      <a:schemeClr val="accent1"/>
                    </a:gs>
                    <a:gs pos="84831">
                      <a:schemeClr val="accent1"/>
                    </a:gs>
                  </a:gsLst>
                  <a:lin ang="5400000" scaled="0"/>
                </a:gradFill>
                <a:latin typeface="Segoe UI Light"/>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881" y="5143163"/>
            <a:ext cx="12434076"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266968" y="1851360"/>
            <a:ext cx="1828541" cy="182880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40964" y="1851360"/>
            <a:ext cx="1828541" cy="182880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303967" y="1851360"/>
            <a:ext cx="1828541" cy="182880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14" fontAlgn="base">
                <a:lnSpc>
                  <a:spcPct val="90000"/>
                </a:lnSpc>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sp>
        <p:nvSpPr>
          <p:cNvPr id="9" name="Rectangle 8">
            <a:extLst>
              <a:ext uri="{FF2B5EF4-FFF2-40B4-BE49-F238E27FC236}">
                <a16:creationId xmlns:a16="http://schemas.microsoft.com/office/drawing/2014/main" id="{974B2910-0090-48BB-AA5E-5C031258E909}"/>
              </a:ext>
            </a:extLst>
          </p:cNvPr>
          <p:cNvSpPr/>
          <p:nvPr/>
        </p:nvSpPr>
        <p:spPr>
          <a:xfrm>
            <a:off x="2910469" y="6292842"/>
            <a:ext cx="6435801" cy="469039"/>
          </a:xfrm>
          <a:prstGeom prst="rect">
            <a:avLst/>
          </a:prstGeom>
        </p:spPr>
        <p:txBody>
          <a:bodyPr wrap="none">
            <a:spAutoFit/>
          </a:bodyPr>
          <a:lstStyle/>
          <a:p>
            <a:r>
              <a:rPr lang="en-US" sz="2448" dirty="0">
                <a:hlinkClick r:id="rId3"/>
              </a:rPr>
              <a:t>https://docs.microsoft.com/azure/event-grid</a:t>
            </a:r>
            <a:r>
              <a:rPr lang="en-US" sz="2448" dirty="0"/>
              <a:t> </a:t>
            </a:r>
          </a:p>
        </p:txBody>
      </p:sp>
    </p:spTree>
    <p:extLst>
      <p:ext uri="{BB962C8B-B14F-4D97-AF65-F5344CB8AC3E}">
        <p14:creationId xmlns:p14="http://schemas.microsoft.com/office/powerpoint/2010/main" val="23868630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941CF7A-DBC1-4493-BD33-5A2C16C7EC7B}"/>
              </a:ext>
            </a:extLst>
          </p:cNvPr>
          <p:cNvSpPr/>
          <p:nvPr/>
        </p:nvSpPr>
        <p:spPr bwMode="auto">
          <a:xfrm flipH="1">
            <a:off x="5482151" y="1394107"/>
            <a:ext cx="3108485" cy="5303520"/>
          </a:xfrm>
          <a:prstGeom prst="rect">
            <a:avLst/>
          </a:prstGeom>
          <a:solidFill>
            <a:srgbClr val="2525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a:extLst>
              <a:ext uri="{FF2B5EF4-FFF2-40B4-BE49-F238E27FC236}">
                <a16:creationId xmlns:a16="http://schemas.microsoft.com/office/drawing/2014/main" id="{4AFB9AC3-C92C-479D-9DC3-D1B4DEFEB372}"/>
              </a:ext>
            </a:extLst>
          </p:cNvPr>
          <p:cNvPicPr>
            <a:picLocks noChangeAspect="1"/>
          </p:cNvPicPr>
          <p:nvPr/>
        </p:nvPicPr>
        <p:blipFill rotWithShape="1">
          <a:blip r:embed="rId3">
            <a:extLst>
              <a:ext uri="{28A0092B-C50C-407E-A947-70E740481C1C}">
                <a14:useLocalDpi xmlns:a14="http://schemas.microsoft.com/office/drawing/2010/main" val="0"/>
              </a:ext>
            </a:extLst>
          </a:blip>
          <a:srcRect r="3369"/>
          <a:stretch/>
        </p:blipFill>
        <p:spPr>
          <a:xfrm>
            <a:off x="5482151" y="1394107"/>
            <a:ext cx="3108485" cy="5303520"/>
          </a:xfrm>
          <a:prstGeom prst="rect">
            <a:avLst/>
          </a:prstGeom>
          <a:solidFill>
            <a:schemeClr val="bg1"/>
          </a:solidFill>
          <a:ln w="6350">
            <a:solidFill>
              <a:schemeClr val="bg1">
                <a:lumMod val="85000"/>
              </a:schemeClr>
            </a:solidFill>
          </a:ln>
        </p:spPr>
      </p:pic>
      <p:sp>
        <p:nvSpPr>
          <p:cNvPr id="7" name="Title 6">
            <a:extLst>
              <a:ext uri="{FF2B5EF4-FFF2-40B4-BE49-F238E27FC236}">
                <a16:creationId xmlns:a16="http://schemas.microsoft.com/office/drawing/2014/main" id="{0ACFA053-2FCC-4C69-B579-FE2A1EE26422}"/>
              </a:ext>
            </a:extLst>
          </p:cNvPr>
          <p:cNvSpPr>
            <a:spLocks noGrp="1"/>
          </p:cNvSpPr>
          <p:nvPr>
            <p:ph type="title"/>
          </p:nvPr>
        </p:nvSpPr>
        <p:spPr>
          <a:xfrm>
            <a:off x="-1" y="-8849"/>
            <a:ext cx="12436475" cy="1049867"/>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Manage all events in one place</a:t>
            </a:r>
          </a:p>
        </p:txBody>
      </p:sp>
      <p:grpSp>
        <p:nvGrpSpPr>
          <p:cNvPr id="16" name="Group 15">
            <a:extLst>
              <a:ext uri="{FF2B5EF4-FFF2-40B4-BE49-F238E27FC236}">
                <a16:creationId xmlns:a16="http://schemas.microsoft.com/office/drawing/2014/main" id="{E3590C2C-1860-4F5E-A436-3DFB980AC3FB}"/>
              </a:ext>
            </a:extLst>
          </p:cNvPr>
          <p:cNvGrpSpPr/>
          <p:nvPr/>
        </p:nvGrpSpPr>
        <p:grpSpPr>
          <a:xfrm>
            <a:off x="8724405" y="2912948"/>
            <a:ext cx="661046" cy="2468880"/>
            <a:chOff x="9010077" y="2912948"/>
            <a:chExt cx="661140" cy="2468880"/>
          </a:xfrm>
        </p:grpSpPr>
        <p:sp>
          <p:nvSpPr>
            <p:cNvPr id="57" name="Freeform 5">
              <a:extLst>
                <a:ext uri="{FF2B5EF4-FFF2-40B4-BE49-F238E27FC236}">
                  <a16:creationId xmlns:a16="http://schemas.microsoft.com/office/drawing/2014/main" id="{36F42455-FAFB-4E72-BE9F-884620B09793}"/>
                </a:ext>
              </a:extLst>
            </p:cNvPr>
            <p:cNvSpPr>
              <a:spLocks/>
            </p:cNvSpPr>
            <p:nvPr/>
          </p:nvSpPr>
          <p:spPr bwMode="auto">
            <a:xfrm rot="10800000">
              <a:off x="9010077" y="2912948"/>
              <a:ext cx="228600" cy="24688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58" name="arrow">
              <a:extLst>
                <a:ext uri="{FF2B5EF4-FFF2-40B4-BE49-F238E27FC236}">
                  <a16:creationId xmlns:a16="http://schemas.microsoft.com/office/drawing/2014/main" id="{7AEC3121-3761-4D31-8522-828FC7FB9FF6}"/>
                </a:ext>
              </a:extLst>
            </p:cNvPr>
            <p:cNvSpPr>
              <a:spLocks noChangeAspect="1" noEditPoints="1"/>
            </p:cNvSpPr>
            <p:nvPr/>
          </p:nvSpPr>
          <p:spPr bwMode="auto">
            <a:xfrm>
              <a:off x="9400487"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6" name="Group 5">
            <a:extLst>
              <a:ext uri="{FF2B5EF4-FFF2-40B4-BE49-F238E27FC236}">
                <a16:creationId xmlns:a16="http://schemas.microsoft.com/office/drawing/2014/main" id="{2BC39D91-CE38-4273-BC16-1131F9248D7F}"/>
              </a:ext>
            </a:extLst>
          </p:cNvPr>
          <p:cNvGrpSpPr/>
          <p:nvPr/>
        </p:nvGrpSpPr>
        <p:grpSpPr>
          <a:xfrm>
            <a:off x="3519518" y="3230642"/>
            <a:ext cx="2066249" cy="1102586"/>
            <a:chOff x="3584978" y="3230643"/>
            <a:chExt cx="2066542" cy="1102587"/>
          </a:xfrm>
        </p:grpSpPr>
        <p:sp>
          <p:nvSpPr>
            <p:cNvPr id="4" name="Rectangle 3">
              <a:extLst>
                <a:ext uri="{FF2B5EF4-FFF2-40B4-BE49-F238E27FC236}">
                  <a16:creationId xmlns:a16="http://schemas.microsoft.com/office/drawing/2014/main" id="{79CE8D52-3DAB-4A5B-94AF-6C8669C74452}"/>
                </a:ext>
              </a:extLst>
            </p:cNvPr>
            <p:cNvSpPr/>
            <p:nvPr/>
          </p:nvSpPr>
          <p:spPr>
            <a:xfrm>
              <a:off x="3584978" y="3230643"/>
              <a:ext cx="1828800" cy="1102587"/>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Subscribe to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pre-defined system events in Azure or create your own custom topics</a:t>
              </a:r>
            </a:p>
          </p:txBody>
        </p:sp>
        <p:cxnSp>
          <p:nvCxnSpPr>
            <p:cNvPr id="53" name="Straight Arrow Connector 52">
              <a:extLst>
                <a:ext uri="{FF2B5EF4-FFF2-40B4-BE49-F238E27FC236}">
                  <a16:creationId xmlns:a16="http://schemas.microsoft.com/office/drawing/2014/main" id="{A94657BE-9D37-4A80-A49D-96FF84E31D21}"/>
                </a:ext>
              </a:extLst>
            </p:cNvPr>
            <p:cNvCxnSpPr>
              <a:cxnSpLocks/>
            </p:cNvCxnSpPr>
            <p:nvPr/>
          </p:nvCxnSpPr>
          <p:spPr>
            <a:xfrm>
              <a:off x="5375275" y="3768467"/>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4A31C1D-D264-43F2-9BD4-1A24689F7281}"/>
              </a:ext>
            </a:extLst>
          </p:cNvPr>
          <p:cNvGrpSpPr/>
          <p:nvPr/>
        </p:nvGrpSpPr>
        <p:grpSpPr>
          <a:xfrm>
            <a:off x="3519518" y="4386995"/>
            <a:ext cx="2066249" cy="699220"/>
            <a:chOff x="3584978" y="4386998"/>
            <a:chExt cx="2066542" cy="699220"/>
          </a:xfrm>
        </p:grpSpPr>
        <p:sp>
          <p:nvSpPr>
            <p:cNvPr id="51" name="Rectangle 50">
              <a:extLst>
                <a:ext uri="{FF2B5EF4-FFF2-40B4-BE49-F238E27FC236}">
                  <a16:creationId xmlns:a16="http://schemas.microsoft.com/office/drawing/2014/main" id="{7CDDF4E3-8B59-4724-AB4B-19B7CBE26E00}"/>
                </a:ext>
              </a:extLst>
            </p:cNvPr>
            <p:cNvSpPr/>
            <p:nvPr/>
          </p:nvSpPr>
          <p:spPr>
            <a:xfrm>
              <a:off x="3584978" y="4386998"/>
              <a:ext cx="1828800" cy="699220"/>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e events to any end-points, Azure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or even beyond</a:t>
              </a:r>
            </a:p>
          </p:txBody>
        </p:sp>
        <p:cxnSp>
          <p:nvCxnSpPr>
            <p:cNvPr id="56" name="Straight Arrow Connector 55">
              <a:extLst>
                <a:ext uri="{FF2B5EF4-FFF2-40B4-BE49-F238E27FC236}">
                  <a16:creationId xmlns:a16="http://schemas.microsoft.com/office/drawing/2014/main" id="{D7DD8F2C-2DB7-418A-8397-2A1AE0DBF2EF}"/>
                </a:ext>
              </a:extLst>
            </p:cNvPr>
            <p:cNvCxnSpPr>
              <a:cxnSpLocks/>
            </p:cNvCxnSpPr>
            <p:nvPr/>
          </p:nvCxnSpPr>
          <p:spPr>
            <a:xfrm>
              <a:off x="5375275" y="4712638"/>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A3515DE-ADF6-4D43-840A-E77962C1681C}"/>
              </a:ext>
            </a:extLst>
          </p:cNvPr>
          <p:cNvGrpSpPr/>
          <p:nvPr/>
        </p:nvGrpSpPr>
        <p:grpSpPr>
          <a:xfrm>
            <a:off x="3519518" y="5577311"/>
            <a:ext cx="2066249" cy="699220"/>
            <a:chOff x="3584978" y="5577314"/>
            <a:chExt cx="2066542" cy="699220"/>
          </a:xfrm>
        </p:grpSpPr>
        <p:sp>
          <p:nvSpPr>
            <p:cNvPr id="52" name="Rectangle 51">
              <a:extLst>
                <a:ext uri="{FF2B5EF4-FFF2-40B4-BE49-F238E27FC236}">
                  <a16:creationId xmlns:a16="http://schemas.microsoft.com/office/drawing/2014/main" id="{B70C7454-7E7B-4D53-ADCA-CF9B9331B81E}"/>
                </a:ext>
              </a:extLst>
            </p:cNvPr>
            <p:cNvSpPr/>
            <p:nvPr/>
          </p:nvSpPr>
          <p:spPr>
            <a:xfrm>
              <a:off x="3584978" y="5577314"/>
              <a:ext cx="1828800" cy="699220"/>
            </a:xfrm>
            <a:prstGeom prst="rect">
              <a:avLst/>
            </a:prstGeom>
          </p:spPr>
          <p:txBody>
            <a:bodyPr wrap="square">
              <a:spAutoFit/>
            </a:bodyPr>
            <a:lstStyle/>
            <a:p>
              <a:pPr>
                <a:lnSpc>
                  <a:spcPct val="90000"/>
                </a:lnSpc>
              </a:pP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Enable filtering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nd efficient </a:t>
              </a:r>
              <a:b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br>
              <a:r>
                <a:rPr lang="en-US" sz="1428">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routing of events</a:t>
              </a:r>
            </a:p>
          </p:txBody>
        </p:sp>
        <p:cxnSp>
          <p:nvCxnSpPr>
            <p:cNvPr id="60" name="Straight Arrow Connector 59">
              <a:extLst>
                <a:ext uri="{FF2B5EF4-FFF2-40B4-BE49-F238E27FC236}">
                  <a16:creationId xmlns:a16="http://schemas.microsoft.com/office/drawing/2014/main" id="{DC5C931D-A066-469D-B3C6-26BD5DA71B43}"/>
                </a:ext>
              </a:extLst>
            </p:cNvPr>
            <p:cNvCxnSpPr>
              <a:cxnSpLocks/>
            </p:cNvCxnSpPr>
            <p:nvPr/>
          </p:nvCxnSpPr>
          <p:spPr>
            <a:xfrm>
              <a:off x="5375275" y="5923444"/>
              <a:ext cx="276245" cy="0"/>
            </a:xfrm>
            <a:prstGeom prst="straightConnector1">
              <a:avLst/>
            </a:prstGeom>
            <a:ln w="28575" cap="rnd">
              <a:solidFill>
                <a:schemeClr val="accent1"/>
              </a:solidFill>
              <a:tailEnd type="arrow" w="lg" len="sm"/>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231530" y="1577042"/>
            <a:ext cx="2742810" cy="655564"/>
          </a:xfrm>
          <a:prstGeom prst="rect">
            <a:avLst/>
          </a:prstGeom>
          <a:noFill/>
          <a:ln>
            <a:noFill/>
          </a:ln>
        </p:spPr>
        <p:txBody>
          <a:bodyPr wrap="square" lIns="182846" tIns="146277" rIns="182846" bIns="146277" rtlCol="0">
            <a:spAutoFit/>
          </a:bodyPr>
          <a:lstStyle/>
          <a:p>
            <a:pPr algn="ctr" defTabSz="1242953">
              <a:lnSpc>
                <a:spcPct val="90000"/>
              </a:lnSpc>
              <a:spcAft>
                <a:spcPts val="1224"/>
              </a:spcAft>
              <a:defRPr/>
            </a:pPr>
            <a:r>
              <a:rPr lang="en-US" sz="2550" kern="0">
                <a:gradFill>
                  <a:gsLst>
                    <a:gs pos="1250">
                      <a:srgbClr val="353535"/>
                    </a:gs>
                    <a:gs pos="100000">
                      <a:srgbClr val="353535"/>
                    </a:gs>
                  </a:gsLst>
                  <a:lin ang="5400000" scaled="0"/>
                </a:gradFill>
                <a:latin typeface="Segoe UI Semilight"/>
                <a:cs typeface="Segoe UI"/>
              </a:rPr>
              <a:t>Event publishers</a:t>
            </a:r>
          </a:p>
        </p:txBody>
      </p:sp>
      <p:grpSp>
        <p:nvGrpSpPr>
          <p:cNvPr id="44" name="Group 43">
            <a:extLst>
              <a:ext uri="{FF2B5EF4-FFF2-40B4-BE49-F238E27FC236}">
                <a16:creationId xmlns:a16="http://schemas.microsoft.com/office/drawing/2014/main" id="{0FEFE59A-A912-413A-B282-19A791EE6F48}"/>
              </a:ext>
            </a:extLst>
          </p:cNvPr>
          <p:cNvGrpSpPr/>
          <p:nvPr/>
        </p:nvGrpSpPr>
        <p:grpSpPr>
          <a:xfrm>
            <a:off x="2824893" y="2227145"/>
            <a:ext cx="656206" cy="3840480"/>
            <a:chOff x="4261969" y="2227145"/>
            <a:chExt cx="656299" cy="3840480"/>
          </a:xfrm>
        </p:grpSpPr>
        <p:sp>
          <p:nvSpPr>
            <p:cNvPr id="45" name="Freeform 5">
              <a:extLst>
                <a:ext uri="{FF2B5EF4-FFF2-40B4-BE49-F238E27FC236}">
                  <a16:creationId xmlns:a16="http://schemas.microsoft.com/office/drawing/2014/main" id="{5352CC2B-B969-4202-863D-AD50CA17D694}"/>
                </a:ext>
              </a:extLst>
            </p:cNvPr>
            <p:cNvSpPr>
              <a:spLocks/>
            </p:cNvSpPr>
            <p:nvPr/>
          </p:nvSpPr>
          <p:spPr bwMode="auto">
            <a:xfrm rot="10800000">
              <a:off x="4261969" y="2227145"/>
              <a:ext cx="228600" cy="3840480"/>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sp>
          <p:nvSpPr>
            <p:cNvPr id="46" name="arrow">
              <a:extLst>
                <a:ext uri="{FF2B5EF4-FFF2-40B4-BE49-F238E27FC236}">
                  <a16:creationId xmlns:a16="http://schemas.microsoft.com/office/drawing/2014/main" id="{D26BEF4C-17CB-43F0-B578-A566D8937FD4}"/>
                </a:ext>
              </a:extLst>
            </p:cNvPr>
            <p:cNvSpPr>
              <a:spLocks noChangeAspect="1" noEditPoints="1"/>
            </p:cNvSpPr>
            <p:nvPr/>
          </p:nvSpPr>
          <p:spPr bwMode="auto">
            <a:xfrm>
              <a:off x="4647538" y="4022479"/>
              <a:ext cx="270730" cy="24981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a:gradFill>
                  <a:gsLst>
                    <a:gs pos="0">
                      <a:srgbClr val="505050"/>
                    </a:gs>
                    <a:gs pos="100000">
                      <a:srgbClr val="505050"/>
                    </a:gs>
                  </a:gsLst>
                  <a:lin ang="5400000" scaled="1"/>
                </a:gradFill>
              </a:endParaRPr>
            </a:p>
          </p:txBody>
        </p:sp>
      </p:grpSp>
      <p:grpSp>
        <p:nvGrpSpPr>
          <p:cNvPr id="47" name="Group 46">
            <a:extLst>
              <a:ext uri="{FF2B5EF4-FFF2-40B4-BE49-F238E27FC236}">
                <a16:creationId xmlns:a16="http://schemas.microsoft.com/office/drawing/2014/main" id="{D932B88A-9652-4DC4-82A3-6C9565AC5CCC}"/>
              </a:ext>
            </a:extLst>
          </p:cNvPr>
          <p:cNvGrpSpPr/>
          <p:nvPr/>
        </p:nvGrpSpPr>
        <p:grpSpPr>
          <a:xfrm>
            <a:off x="231530" y="2327742"/>
            <a:ext cx="2742810" cy="3639288"/>
            <a:chOff x="1646290" y="2327742"/>
            <a:chExt cx="2743200" cy="3639288"/>
          </a:xfrm>
        </p:grpSpPr>
        <p:sp>
          <p:nvSpPr>
            <p:cNvPr id="48" name="Rectangle 47">
              <a:extLst>
                <a:ext uri="{FF2B5EF4-FFF2-40B4-BE49-F238E27FC236}">
                  <a16:creationId xmlns:a16="http://schemas.microsoft.com/office/drawing/2014/main" id="{C4C1B0A2-A315-4563-AA64-C374A5ECF32C}"/>
                </a:ext>
              </a:extLst>
            </p:cNvPr>
            <p:cNvSpPr/>
            <p:nvPr/>
          </p:nvSpPr>
          <p:spPr bwMode="auto">
            <a:xfrm>
              <a:off x="1646290" y="23277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7D62C885-950A-4FEE-84B3-A4EB7E8433FA}"/>
                </a:ext>
              </a:extLst>
            </p:cNvPr>
            <p:cNvSpPr/>
            <p:nvPr/>
          </p:nvSpPr>
          <p:spPr bwMode="auto">
            <a:xfrm>
              <a:off x="1646290" y="305926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D91401D8-6628-4D5F-8BE0-43ADB2FE205D}"/>
                </a:ext>
              </a:extLst>
            </p:cNvPr>
            <p:cNvSpPr/>
            <p:nvPr/>
          </p:nvSpPr>
          <p:spPr bwMode="auto">
            <a:xfrm>
              <a:off x="1646290" y="3790774"/>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18A92E95-6C4E-47E7-80A5-B8E8F54E28C1}"/>
                </a:ext>
              </a:extLst>
            </p:cNvPr>
            <p:cNvSpPr/>
            <p:nvPr/>
          </p:nvSpPr>
          <p:spPr bwMode="auto">
            <a:xfrm>
              <a:off x="1646290" y="4522286"/>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52F8D129-625B-450C-8B9B-A79D7DD04708}"/>
                </a:ext>
              </a:extLst>
            </p:cNvPr>
            <p:cNvSpPr/>
            <p:nvPr/>
          </p:nvSpPr>
          <p:spPr bwMode="auto">
            <a:xfrm>
              <a:off x="1646290" y="52537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1" name="Group 60">
            <a:extLst>
              <a:ext uri="{FF2B5EF4-FFF2-40B4-BE49-F238E27FC236}">
                <a16:creationId xmlns:a16="http://schemas.microsoft.com/office/drawing/2014/main" id="{765B14C9-3992-4098-89C2-40174474D10C}"/>
              </a:ext>
            </a:extLst>
          </p:cNvPr>
          <p:cNvGrpSpPr/>
          <p:nvPr/>
        </p:nvGrpSpPr>
        <p:grpSpPr>
          <a:xfrm>
            <a:off x="231526" y="2569098"/>
            <a:ext cx="2468533" cy="3156579"/>
            <a:chOff x="1646287" y="2569098"/>
            <a:chExt cx="2468883" cy="3156579"/>
          </a:xfrm>
        </p:grpSpPr>
        <p:sp>
          <p:nvSpPr>
            <p:cNvPr id="63" name="TextBox 62"/>
            <p:cNvSpPr txBox="1"/>
            <p:nvPr/>
          </p:nvSpPr>
          <p:spPr>
            <a:xfrm>
              <a:off x="1646289" y="3300617"/>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Resource Groups</a:t>
              </a:r>
            </a:p>
          </p:txBody>
        </p:sp>
        <p:sp>
          <p:nvSpPr>
            <p:cNvPr id="64" name="TextBox 63"/>
            <p:cNvSpPr txBox="1"/>
            <p:nvPr/>
          </p:nvSpPr>
          <p:spPr>
            <a:xfrm>
              <a:off x="1646290" y="4763642"/>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Event Hubs</a:t>
              </a:r>
            </a:p>
          </p:txBody>
        </p:sp>
        <p:sp>
          <p:nvSpPr>
            <p:cNvPr id="67" name="TextBox 66"/>
            <p:cNvSpPr txBox="1"/>
            <p:nvPr/>
          </p:nvSpPr>
          <p:spPr>
            <a:xfrm>
              <a:off x="1646290" y="4034379"/>
              <a:ext cx="2468880" cy="2260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Subscriptions</a:t>
              </a:r>
            </a:p>
          </p:txBody>
        </p:sp>
        <p:sp>
          <p:nvSpPr>
            <p:cNvPr id="71" name="TextBox 70"/>
            <p:cNvSpPr txBox="1"/>
            <p:nvPr/>
          </p:nvSpPr>
          <p:spPr>
            <a:xfrm>
              <a:off x="1646287" y="5495153"/>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Custom Events</a:t>
              </a:r>
            </a:p>
          </p:txBody>
        </p:sp>
        <p:sp>
          <p:nvSpPr>
            <p:cNvPr id="74" name="TextBox 73"/>
            <p:cNvSpPr txBox="1"/>
            <p:nvPr/>
          </p:nvSpPr>
          <p:spPr>
            <a:xfrm>
              <a:off x="1646290" y="2569098"/>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Blob Storage</a:t>
              </a:r>
            </a:p>
          </p:txBody>
        </p:sp>
      </p:grpSp>
      <p:grpSp>
        <p:nvGrpSpPr>
          <p:cNvPr id="75" name="Group 74">
            <a:extLst>
              <a:ext uri="{FF2B5EF4-FFF2-40B4-BE49-F238E27FC236}">
                <a16:creationId xmlns:a16="http://schemas.microsoft.com/office/drawing/2014/main" id="{393536B3-83E9-4175-A7C3-A24CC551DC03}"/>
              </a:ext>
            </a:extLst>
          </p:cNvPr>
          <p:cNvGrpSpPr/>
          <p:nvPr/>
        </p:nvGrpSpPr>
        <p:grpSpPr>
          <a:xfrm>
            <a:off x="397675" y="2525345"/>
            <a:ext cx="317982" cy="3230454"/>
            <a:chOff x="1812459" y="2525345"/>
            <a:chExt cx="318027" cy="3230454"/>
          </a:xfrm>
        </p:grpSpPr>
        <p:pic>
          <p:nvPicPr>
            <p:cNvPr id="76" name="Picture 75"/>
            <p:cNvPicPr>
              <a:picLocks noChangeAspect="1"/>
            </p:cNvPicPr>
            <p:nvPr/>
          </p:nvPicPr>
          <p:blipFill rotWithShape="1">
            <a:blip r:embed="rId4"/>
            <a:srcRect b="32970"/>
            <a:stretch/>
          </p:blipFill>
          <p:spPr>
            <a:xfrm>
              <a:off x="1812459" y="4718545"/>
              <a:ext cx="318027" cy="320715"/>
            </a:xfrm>
            <a:prstGeom prst="rect">
              <a:avLst/>
            </a:prstGeom>
            <a:ln>
              <a:noFill/>
            </a:ln>
          </p:spPr>
        </p:pic>
        <p:pic>
          <p:nvPicPr>
            <p:cNvPr id="79" name="Picture 78"/>
            <p:cNvPicPr>
              <a:picLocks noChangeAspect="1"/>
            </p:cNvPicPr>
            <p:nvPr/>
          </p:nvPicPr>
          <p:blipFill>
            <a:blip r:embed="rId5"/>
            <a:stretch>
              <a:fillRect/>
            </a:stretch>
          </p:blipFill>
          <p:spPr>
            <a:xfrm>
              <a:off x="1812459" y="3256865"/>
              <a:ext cx="318027" cy="318027"/>
            </a:xfrm>
            <a:prstGeom prst="rect">
              <a:avLst/>
            </a:prstGeom>
            <a:ln>
              <a:noFill/>
            </a:ln>
          </p:spPr>
        </p:pic>
        <p:pic>
          <p:nvPicPr>
            <p:cNvPr id="80" name="Picture 79"/>
            <p:cNvPicPr>
              <a:picLocks noChangeAspect="1"/>
            </p:cNvPicPr>
            <p:nvPr/>
          </p:nvPicPr>
          <p:blipFill>
            <a:blip r:embed="rId6"/>
            <a:stretch>
              <a:fillRect/>
            </a:stretch>
          </p:blipFill>
          <p:spPr>
            <a:xfrm>
              <a:off x="1819273" y="3995191"/>
              <a:ext cx="304398" cy="304398"/>
            </a:xfrm>
            <a:prstGeom prst="rect">
              <a:avLst/>
            </a:prstGeom>
            <a:ln>
              <a:noFill/>
            </a:ln>
          </p:spPr>
        </p:pic>
        <p:pic>
          <p:nvPicPr>
            <p:cNvPr id="81" name="Picture 80"/>
            <p:cNvPicPr>
              <a:picLocks noChangeAspect="1"/>
            </p:cNvPicPr>
            <p:nvPr/>
          </p:nvPicPr>
          <p:blipFill>
            <a:blip r:embed="rId7"/>
            <a:stretch>
              <a:fillRect/>
            </a:stretch>
          </p:blipFill>
          <p:spPr>
            <a:xfrm>
              <a:off x="1826087" y="5465029"/>
              <a:ext cx="290770" cy="290770"/>
            </a:xfrm>
            <a:prstGeom prst="rect">
              <a:avLst/>
            </a:prstGeom>
            <a:ln>
              <a:noFill/>
            </a:ln>
          </p:spPr>
        </p:pic>
        <p:pic>
          <p:nvPicPr>
            <p:cNvPr id="82" name="Picture 81"/>
            <p:cNvPicPr>
              <a:picLocks noChangeAspect="1"/>
            </p:cNvPicPr>
            <p:nvPr/>
          </p:nvPicPr>
          <p:blipFill>
            <a:blip r:embed="rId8"/>
            <a:stretch>
              <a:fillRect/>
            </a:stretch>
          </p:blipFill>
          <p:spPr>
            <a:xfrm>
              <a:off x="1812459" y="2525345"/>
              <a:ext cx="318027" cy="318027"/>
            </a:xfrm>
            <a:prstGeom prst="rect">
              <a:avLst/>
            </a:prstGeom>
            <a:ln>
              <a:noFill/>
            </a:ln>
          </p:spPr>
        </p:pic>
      </p:grpSp>
      <p:sp>
        <p:nvSpPr>
          <p:cNvPr id="83" name="TextBox 82"/>
          <p:cNvSpPr txBox="1"/>
          <p:nvPr/>
        </p:nvSpPr>
        <p:spPr>
          <a:xfrm>
            <a:off x="9602320" y="1844049"/>
            <a:ext cx="2462504" cy="655564"/>
          </a:xfrm>
          <a:prstGeom prst="rect">
            <a:avLst/>
          </a:prstGeom>
          <a:noFill/>
          <a:ln>
            <a:noFill/>
          </a:ln>
        </p:spPr>
        <p:txBody>
          <a:bodyPr wrap="none" lIns="182846" tIns="146277" rIns="182846" bIns="146277" rtlCol="0">
            <a:spAutoFit/>
          </a:bodyPr>
          <a:lstStyle/>
          <a:p>
            <a:pPr algn="ctr" defTabSz="1242953">
              <a:lnSpc>
                <a:spcPct val="90000"/>
              </a:lnSpc>
              <a:spcAft>
                <a:spcPts val="1224"/>
              </a:spcAft>
              <a:defRPr/>
            </a:pPr>
            <a:r>
              <a:rPr lang="en-US" sz="2550" kern="0">
                <a:gradFill>
                  <a:gsLst>
                    <a:gs pos="1250">
                      <a:srgbClr val="353535"/>
                    </a:gs>
                    <a:gs pos="100000">
                      <a:srgbClr val="353535"/>
                    </a:gs>
                  </a:gsLst>
                  <a:lin ang="5400000" scaled="0"/>
                </a:gradFill>
                <a:latin typeface="Segoe UI Semilight"/>
                <a:cs typeface="Segoe UI"/>
              </a:rPr>
              <a:t>Event handlers</a:t>
            </a:r>
          </a:p>
        </p:txBody>
      </p:sp>
      <p:grpSp>
        <p:nvGrpSpPr>
          <p:cNvPr id="84" name="Group 83">
            <a:extLst>
              <a:ext uri="{FF2B5EF4-FFF2-40B4-BE49-F238E27FC236}">
                <a16:creationId xmlns:a16="http://schemas.microsoft.com/office/drawing/2014/main" id="{85352EA2-E345-47A8-B979-D2F2D70F5AF4}"/>
              </a:ext>
            </a:extLst>
          </p:cNvPr>
          <p:cNvGrpSpPr/>
          <p:nvPr/>
        </p:nvGrpSpPr>
        <p:grpSpPr>
          <a:xfrm>
            <a:off x="9462167" y="2594748"/>
            <a:ext cx="2742810" cy="2907776"/>
            <a:chOff x="8047017" y="2693498"/>
            <a:chExt cx="2743200" cy="2907776"/>
          </a:xfrm>
        </p:grpSpPr>
        <p:sp>
          <p:nvSpPr>
            <p:cNvPr id="85" name="Rectangle 84">
              <a:extLst>
                <a:ext uri="{FF2B5EF4-FFF2-40B4-BE49-F238E27FC236}">
                  <a16:creationId xmlns:a16="http://schemas.microsoft.com/office/drawing/2014/main" id="{5088C66C-6F39-40B2-95FB-F1A545E6C60D}"/>
                </a:ext>
              </a:extLst>
            </p:cNvPr>
            <p:cNvSpPr/>
            <p:nvPr/>
          </p:nvSpPr>
          <p:spPr bwMode="auto">
            <a:xfrm>
              <a:off x="8047017" y="269349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4F3D54C8-E82F-4769-94D4-30351411D36E}"/>
                </a:ext>
              </a:extLst>
            </p:cNvPr>
            <p:cNvSpPr/>
            <p:nvPr/>
          </p:nvSpPr>
          <p:spPr bwMode="auto">
            <a:xfrm>
              <a:off x="8047017" y="3425018"/>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92B57EAE-A63A-49F0-AC99-9950DE11059A}"/>
                </a:ext>
              </a:extLst>
            </p:cNvPr>
            <p:cNvSpPr/>
            <p:nvPr/>
          </p:nvSpPr>
          <p:spPr bwMode="auto">
            <a:xfrm>
              <a:off x="8047017" y="4156530"/>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9B9AF45E-BB62-40C9-B30A-FA601FD745A7}"/>
                </a:ext>
              </a:extLst>
            </p:cNvPr>
            <p:cNvSpPr/>
            <p:nvPr/>
          </p:nvSpPr>
          <p:spPr bwMode="auto">
            <a:xfrm>
              <a:off x="8047017" y="4888042"/>
              <a:ext cx="2743200" cy="7132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9" name="Group 88">
            <a:extLst>
              <a:ext uri="{FF2B5EF4-FFF2-40B4-BE49-F238E27FC236}">
                <a16:creationId xmlns:a16="http://schemas.microsoft.com/office/drawing/2014/main" id="{E8AD474A-D44D-4068-9AC0-E075C4A15FB1}"/>
              </a:ext>
            </a:extLst>
          </p:cNvPr>
          <p:cNvGrpSpPr/>
          <p:nvPr/>
        </p:nvGrpSpPr>
        <p:grpSpPr>
          <a:xfrm>
            <a:off x="9462167" y="2836104"/>
            <a:ext cx="2468530" cy="2425069"/>
            <a:chOff x="8047017" y="2934854"/>
            <a:chExt cx="2468880" cy="2425068"/>
          </a:xfrm>
        </p:grpSpPr>
        <p:sp>
          <p:nvSpPr>
            <p:cNvPr id="90" name="TextBox 89">
              <a:extLst>
                <a:ext uri="{FF2B5EF4-FFF2-40B4-BE49-F238E27FC236}">
                  <a16:creationId xmlns:a16="http://schemas.microsoft.com/office/drawing/2014/main" id="{FB218A8C-0032-4D10-9AA8-9B7816410325}"/>
                </a:ext>
              </a:extLst>
            </p:cNvPr>
            <p:cNvSpPr txBox="1"/>
            <p:nvPr/>
          </p:nvSpPr>
          <p:spPr>
            <a:xfrm>
              <a:off x="8047017" y="2934854"/>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Functions</a:t>
              </a:r>
            </a:p>
          </p:txBody>
        </p:sp>
        <p:sp>
          <p:nvSpPr>
            <p:cNvPr id="91" name="TextBox 90">
              <a:extLst>
                <a:ext uri="{FF2B5EF4-FFF2-40B4-BE49-F238E27FC236}">
                  <a16:creationId xmlns:a16="http://schemas.microsoft.com/office/drawing/2014/main" id="{ACF3C21B-22D1-474D-B696-373FC1C5250A}"/>
                </a:ext>
              </a:extLst>
            </p:cNvPr>
            <p:cNvSpPr txBox="1"/>
            <p:nvPr/>
          </p:nvSpPr>
          <p:spPr>
            <a:xfrm>
              <a:off x="8047017" y="4397885"/>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Azure Automation</a:t>
              </a:r>
            </a:p>
          </p:txBody>
        </p:sp>
        <p:sp>
          <p:nvSpPr>
            <p:cNvPr id="92" name="TextBox 91">
              <a:extLst>
                <a:ext uri="{FF2B5EF4-FFF2-40B4-BE49-F238E27FC236}">
                  <a16:creationId xmlns:a16="http://schemas.microsoft.com/office/drawing/2014/main" id="{5132851C-5C6B-487F-B36C-5FABED0EBCF8}"/>
                </a:ext>
              </a:extLst>
            </p:cNvPr>
            <p:cNvSpPr txBox="1"/>
            <p:nvPr/>
          </p:nvSpPr>
          <p:spPr>
            <a:xfrm>
              <a:off x="8047017" y="3666374"/>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a:gradFill>
                    <a:gsLst>
                      <a:gs pos="1250">
                        <a:srgbClr val="353535"/>
                      </a:gs>
                      <a:gs pos="100000">
                        <a:srgbClr val="353535"/>
                      </a:gs>
                    </a:gsLst>
                    <a:lin ang="5400000" scaled="0"/>
                  </a:gradFill>
                  <a:latin typeface="Segoe UI"/>
                </a:rPr>
                <a:t>Logic Apps</a:t>
              </a:r>
            </a:p>
          </p:txBody>
        </p:sp>
        <p:sp>
          <p:nvSpPr>
            <p:cNvPr id="93" name="TextBox 92">
              <a:extLst>
                <a:ext uri="{FF2B5EF4-FFF2-40B4-BE49-F238E27FC236}">
                  <a16:creationId xmlns:a16="http://schemas.microsoft.com/office/drawing/2014/main" id="{E6ECB19F-78B2-4F77-83D6-D1CA12618F6D}"/>
                </a:ext>
              </a:extLst>
            </p:cNvPr>
            <p:cNvSpPr txBox="1"/>
            <p:nvPr/>
          </p:nvSpPr>
          <p:spPr>
            <a:xfrm>
              <a:off x="8047017" y="5129398"/>
              <a:ext cx="2468880" cy="230524"/>
            </a:xfrm>
            <a:prstGeom prst="rect">
              <a:avLst/>
            </a:prstGeom>
            <a:noFill/>
            <a:ln>
              <a:noFill/>
            </a:ln>
          </p:spPr>
          <p:txBody>
            <a:bodyPr wrap="square" lIns="652822" tIns="0" rIns="0" bIns="0" rtlCol="0" anchor="ctr" anchorCtr="0">
              <a:spAutoFit/>
            </a:bodyPr>
            <a:lstStyle/>
            <a:p>
              <a:pPr defTabSz="951121">
                <a:lnSpc>
                  <a:spcPct val="90000"/>
                </a:lnSpc>
                <a:defRPr/>
              </a:pPr>
              <a:r>
                <a:rPr lang="en-US" sz="1632" kern="0" err="1">
                  <a:gradFill>
                    <a:gsLst>
                      <a:gs pos="1250">
                        <a:srgbClr val="353535"/>
                      </a:gs>
                      <a:gs pos="100000">
                        <a:srgbClr val="353535"/>
                      </a:gs>
                    </a:gsLst>
                    <a:lin ang="5400000" scaled="0"/>
                  </a:gradFill>
                  <a:latin typeface="Segoe UI"/>
                </a:rPr>
                <a:t>WebHooks</a:t>
              </a:r>
              <a:endParaRPr lang="en-US" sz="1632" kern="0">
                <a:gradFill>
                  <a:gsLst>
                    <a:gs pos="1250">
                      <a:srgbClr val="353535"/>
                    </a:gs>
                    <a:gs pos="100000">
                      <a:srgbClr val="353535"/>
                    </a:gs>
                  </a:gsLst>
                  <a:lin ang="5400000" scaled="0"/>
                </a:gradFill>
                <a:latin typeface="Segoe UI"/>
              </a:endParaRPr>
            </a:p>
          </p:txBody>
        </p:sp>
      </p:grpSp>
      <p:grpSp>
        <p:nvGrpSpPr>
          <p:cNvPr id="94" name="Group 93">
            <a:extLst>
              <a:ext uri="{FF2B5EF4-FFF2-40B4-BE49-F238E27FC236}">
                <a16:creationId xmlns:a16="http://schemas.microsoft.com/office/drawing/2014/main" id="{B45EC93F-AE7A-4524-BFD8-A11B62F34E5B}"/>
              </a:ext>
            </a:extLst>
          </p:cNvPr>
          <p:cNvGrpSpPr/>
          <p:nvPr/>
        </p:nvGrpSpPr>
        <p:grpSpPr>
          <a:xfrm>
            <a:off x="9636737" y="2792120"/>
            <a:ext cx="318446" cy="2513035"/>
            <a:chOff x="8221612" y="2890869"/>
            <a:chExt cx="318491" cy="2513035"/>
          </a:xfrm>
        </p:grpSpPr>
        <p:pic>
          <p:nvPicPr>
            <p:cNvPr id="95" name="Picture 94"/>
            <p:cNvPicPr>
              <a:picLocks noChangeAspect="1"/>
            </p:cNvPicPr>
            <p:nvPr/>
          </p:nvPicPr>
          <p:blipFill>
            <a:blip r:embed="rId9"/>
            <a:stretch>
              <a:fillRect/>
            </a:stretch>
          </p:blipFill>
          <p:spPr>
            <a:xfrm>
              <a:off x="8221612" y="2890869"/>
              <a:ext cx="318491" cy="318491"/>
            </a:xfrm>
            <a:prstGeom prst="rect">
              <a:avLst/>
            </a:prstGeom>
            <a:ln>
              <a:noFill/>
            </a:ln>
          </p:spPr>
        </p:pic>
        <p:pic>
          <p:nvPicPr>
            <p:cNvPr id="96" name="Picture 95"/>
            <p:cNvPicPr>
              <a:picLocks noChangeAspect="1"/>
            </p:cNvPicPr>
            <p:nvPr/>
          </p:nvPicPr>
          <p:blipFill>
            <a:blip r:embed="rId10"/>
            <a:stretch>
              <a:fillRect/>
            </a:stretch>
          </p:blipFill>
          <p:spPr>
            <a:xfrm>
              <a:off x="8221612" y="4353901"/>
              <a:ext cx="318491" cy="318491"/>
            </a:xfrm>
            <a:prstGeom prst="rect">
              <a:avLst/>
            </a:prstGeom>
            <a:ln>
              <a:noFill/>
            </a:ln>
          </p:spPr>
        </p:pic>
        <p:pic>
          <p:nvPicPr>
            <p:cNvPr id="97" name="Picture 96"/>
            <p:cNvPicPr>
              <a:picLocks noChangeAspect="1"/>
            </p:cNvPicPr>
            <p:nvPr/>
          </p:nvPicPr>
          <p:blipFill>
            <a:blip r:embed="rId11"/>
            <a:stretch>
              <a:fillRect/>
            </a:stretch>
          </p:blipFill>
          <p:spPr>
            <a:xfrm>
              <a:off x="8221612" y="5085413"/>
              <a:ext cx="318491" cy="318491"/>
            </a:xfrm>
            <a:prstGeom prst="rect">
              <a:avLst/>
            </a:prstGeom>
            <a:ln>
              <a:noFill/>
            </a:ln>
          </p:spPr>
        </p:pic>
        <p:pic>
          <p:nvPicPr>
            <p:cNvPr id="98" name="Picture 9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Tree>
    <p:extLst>
      <p:ext uri="{BB962C8B-B14F-4D97-AF65-F5344CB8AC3E}">
        <p14:creationId xmlns:p14="http://schemas.microsoft.com/office/powerpoint/2010/main" val="224642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63" presetClass="path" presetSubtype="0" decel="100000" fill="hold" nodeType="withEffect">
                                  <p:stCondLst>
                                    <p:cond delay="0"/>
                                  </p:stCondLst>
                                  <p:childTnLst>
                                    <p:animMotion origin="layout" path="M -9.9566E-8 4.1035E-6 L -0.02578 4.1035E-6 " pathEditMode="relative" rAng="0" ptsTypes="AA">
                                      <p:cBhvr>
                                        <p:cTn id="12" dur="500" spd="-100000" fill="hold"/>
                                        <p:tgtEl>
                                          <p:spTgt spid="6"/>
                                        </p:tgtEl>
                                        <p:attrNameLst>
                                          <p:attrName>ppt_x</p:attrName>
                                          <p:attrName>ppt_y</p:attrName>
                                        </p:attrNameLst>
                                      </p:cBhvr>
                                      <p:rCtr x="-1289" y="0"/>
                                    </p:animMotion>
                                  </p:childTnLst>
                                </p:cTn>
                              </p:par>
                              <p:par>
                                <p:cTn id="13" presetID="10" presetClass="entr" presetSubtype="0" fill="hold" nodeType="withEffect">
                                  <p:stCondLst>
                                    <p:cond delay="1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63" presetClass="path" presetSubtype="0" decel="100000" fill="hold" nodeType="withEffect">
                                  <p:stCondLst>
                                    <p:cond delay="100"/>
                                  </p:stCondLst>
                                  <p:childTnLst>
                                    <p:animMotion origin="layout" path="M -9.9566E-8 4.38493E-6 L -0.02578 4.38493E-6 " pathEditMode="relative" rAng="0" ptsTypes="AA">
                                      <p:cBhvr>
                                        <p:cTn id="17" dur="500" spd="-100000" fill="hold"/>
                                        <p:tgtEl>
                                          <p:spTgt spid="9"/>
                                        </p:tgtEl>
                                        <p:attrNameLst>
                                          <p:attrName>ppt_x</p:attrName>
                                          <p:attrName>ppt_y</p:attrName>
                                        </p:attrNameLst>
                                      </p:cBhvr>
                                      <p:rCtr x="-1289" y="0"/>
                                    </p:animMotion>
                                  </p:childTnLst>
                                </p:cTn>
                              </p:par>
                              <p:par>
                                <p:cTn id="18" presetID="10" presetClass="entr" presetSubtype="0" fill="hold" nodeType="withEffect">
                                  <p:stCondLst>
                                    <p:cond delay="20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63" presetClass="path" presetSubtype="0" decel="100000" fill="hold" nodeType="withEffect">
                                  <p:stCondLst>
                                    <p:cond delay="200"/>
                                  </p:stCondLst>
                                  <p:childTnLst>
                                    <p:animMotion origin="layout" path="M -9.9566E-8 1.96096E-6 L -0.02578 1.96096E-6 " pathEditMode="relative" rAng="0" ptsTypes="AA">
                                      <p:cBhvr>
                                        <p:cTn id="22" dur="500" spd="-100000" fill="hold"/>
                                        <p:tgtEl>
                                          <p:spTgt spid="10"/>
                                        </p:tgtEl>
                                        <p:attrNameLst>
                                          <p:attrName>ppt_x</p:attrName>
                                          <p:attrName>ppt_y</p:attrName>
                                        </p:attrNameLst>
                                      </p:cBhvr>
                                      <p:rCtr x="-1289" y="0"/>
                                    </p:animMotion>
                                  </p:childTnLst>
                                </p:cTn>
                              </p:par>
                              <p:par>
                                <p:cTn id="23" presetID="10"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par>
                                <p:cTn id="26" presetID="63" presetClass="path" presetSubtype="0" decel="100000" fill="hold" grpId="1" nodeType="withEffect">
                                  <p:stCondLst>
                                    <p:cond delay="0"/>
                                  </p:stCondLst>
                                  <p:childTnLst>
                                    <p:animMotion origin="layout" path="M -9.9566E-8 4.1035E-6 L -0.02578 4.1035E-6 " pathEditMode="relative" rAng="0" ptsTypes="AA">
                                      <p:cBhvr>
                                        <p:cTn id="27" dur="500" spd="-100000" fill="hold"/>
                                        <p:tgtEl>
                                          <p:spTgt spid="43"/>
                                        </p:tgtEl>
                                        <p:attrNameLst>
                                          <p:attrName>ppt_x</p:attrName>
                                          <p:attrName>ppt_y</p:attrName>
                                        </p:attrNameLst>
                                      </p:cBhvr>
                                      <p:rCtr x="-1289" y="0"/>
                                    </p:animMotion>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63" presetClass="path" presetSubtype="0" decel="100000" fill="hold" nodeType="withEffect">
                                  <p:stCondLst>
                                    <p:cond delay="0"/>
                                  </p:stCondLst>
                                  <p:childTnLst>
                                    <p:animMotion origin="layout" path="M -9.9566E-8 4.1035E-6 L -0.02578 4.1035E-6 " pathEditMode="relative" rAng="0" ptsTypes="AA">
                                      <p:cBhvr>
                                        <p:cTn id="32" dur="500" spd="-100000" fill="hold"/>
                                        <p:tgtEl>
                                          <p:spTgt spid="47"/>
                                        </p:tgtEl>
                                        <p:attrNameLst>
                                          <p:attrName>ppt_x</p:attrName>
                                          <p:attrName>ppt_y</p:attrName>
                                        </p:attrNameLst>
                                      </p:cBhvr>
                                      <p:rCtr x="-1289" y="0"/>
                                    </p:animMotion>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63" presetClass="path" presetSubtype="0" decel="100000" fill="hold" nodeType="withEffect">
                                  <p:stCondLst>
                                    <p:cond delay="0"/>
                                  </p:stCondLst>
                                  <p:childTnLst>
                                    <p:animMotion origin="layout" path="M -9.9566E-8 4.1035E-6 L -0.02578 4.1035E-6 " pathEditMode="relative" rAng="0" ptsTypes="AA">
                                      <p:cBhvr>
                                        <p:cTn id="37" dur="500" spd="-100000" fill="hold"/>
                                        <p:tgtEl>
                                          <p:spTgt spid="75"/>
                                        </p:tgtEl>
                                        <p:attrNameLst>
                                          <p:attrName>ppt_x</p:attrName>
                                          <p:attrName>ppt_y</p:attrName>
                                        </p:attrNameLst>
                                      </p:cBhvr>
                                      <p:rCtr x="-1289" y="0"/>
                                    </p:animMotion>
                                  </p:childTnLst>
                                </p:cTn>
                              </p:par>
                              <p:par>
                                <p:cTn id="38" presetID="10" presetClass="entr" presetSubtype="0" fill="hold" nodeType="withEffect">
                                  <p:stCondLst>
                                    <p:cond delay="0"/>
                                  </p:stCondLst>
                                  <p:childTnLst>
                                    <p:set>
                                      <p:cBhvr>
                                        <p:cTn id="39" dur="1" fill="hold">
                                          <p:stCondLst>
                                            <p:cond delay="0"/>
                                          </p:stCondLst>
                                        </p:cTn>
                                        <p:tgtEl>
                                          <p:spTgt spid="61"/>
                                        </p:tgtEl>
                                        <p:attrNameLst>
                                          <p:attrName>style.visibility</p:attrName>
                                        </p:attrNameLst>
                                      </p:cBhvr>
                                      <p:to>
                                        <p:strVal val="visible"/>
                                      </p:to>
                                    </p:set>
                                    <p:animEffect transition="in" filter="fade">
                                      <p:cBhvr>
                                        <p:cTn id="40" dur="500"/>
                                        <p:tgtEl>
                                          <p:spTgt spid="61"/>
                                        </p:tgtEl>
                                      </p:cBhvr>
                                    </p:animEffect>
                                  </p:childTnLst>
                                </p:cTn>
                              </p:par>
                              <p:par>
                                <p:cTn id="41" presetID="63" presetClass="path" presetSubtype="0" decel="100000" fill="hold" nodeType="withEffect">
                                  <p:stCondLst>
                                    <p:cond delay="0"/>
                                  </p:stCondLst>
                                  <p:childTnLst>
                                    <p:animMotion origin="layout" path="M -9.9566E-8 4.1035E-6 L -0.02578 4.1035E-6 " pathEditMode="relative" rAng="0" ptsTypes="AA">
                                      <p:cBhvr>
                                        <p:cTn id="42" dur="500" spd="-100000" fill="hold"/>
                                        <p:tgtEl>
                                          <p:spTgt spid="61"/>
                                        </p:tgtEl>
                                        <p:attrNameLst>
                                          <p:attrName>ppt_x</p:attrName>
                                          <p:attrName>ppt_y</p:attrName>
                                        </p:attrNameLst>
                                      </p:cBhvr>
                                      <p:rCtr x="-1289" y="0"/>
                                    </p:animMotion>
                                  </p:childTnLst>
                                </p:cTn>
                              </p:par>
                              <p:par>
                                <p:cTn id="43" presetID="10" presetClass="entr" presetSubtype="0" fill="hold" nodeType="withEffect">
                                  <p:stCondLst>
                                    <p:cond delay="10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63" presetClass="path" presetSubtype="0" decel="100000" fill="hold" nodeType="withEffect">
                                  <p:stCondLst>
                                    <p:cond delay="100"/>
                                  </p:stCondLst>
                                  <p:childTnLst>
                                    <p:animMotion origin="layout" path="M -9.9566E-8 4.1035E-6 L -0.02578 4.1035E-6 " pathEditMode="relative" rAng="0" ptsTypes="AA">
                                      <p:cBhvr>
                                        <p:cTn id="47" dur="500" spd="-100000" fill="hold"/>
                                        <p:tgtEl>
                                          <p:spTgt spid="44"/>
                                        </p:tgtEl>
                                        <p:attrNameLst>
                                          <p:attrName>ppt_x</p:attrName>
                                          <p:attrName>ppt_y</p:attrName>
                                        </p:attrNameLst>
                                      </p:cBhvr>
                                      <p:rCtr x="-1289" y="0"/>
                                    </p:animMotion>
                                  </p:childTnLst>
                                </p:cTn>
                              </p:par>
                              <p:par>
                                <p:cTn id="48" presetID="10" presetClass="entr" presetSubtype="0" fill="hold" grpId="0" nodeType="withEffect">
                                  <p:stCondLst>
                                    <p:cond delay="40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500"/>
                                        <p:tgtEl>
                                          <p:spTgt spid="83"/>
                                        </p:tgtEl>
                                      </p:cBhvr>
                                    </p:animEffect>
                                  </p:childTnLst>
                                </p:cTn>
                              </p:par>
                              <p:par>
                                <p:cTn id="51" presetID="63" presetClass="path" presetSubtype="0" decel="100000" fill="hold" grpId="1" nodeType="withEffect">
                                  <p:stCondLst>
                                    <p:cond delay="400"/>
                                  </p:stCondLst>
                                  <p:childTnLst>
                                    <p:animMotion origin="layout" path="M -9.9566E-8 4.1035E-6 L -0.02578 4.1035E-6 " pathEditMode="relative" rAng="0" ptsTypes="AA">
                                      <p:cBhvr>
                                        <p:cTn id="52" dur="500" spd="-100000" fill="hold"/>
                                        <p:tgtEl>
                                          <p:spTgt spid="83"/>
                                        </p:tgtEl>
                                        <p:attrNameLst>
                                          <p:attrName>ppt_x</p:attrName>
                                          <p:attrName>ppt_y</p:attrName>
                                        </p:attrNameLst>
                                      </p:cBhvr>
                                      <p:rCtr x="-1289" y="0"/>
                                    </p:animMotion>
                                  </p:childTnLst>
                                </p:cTn>
                              </p:par>
                              <p:par>
                                <p:cTn id="53" presetID="10" presetClass="entr" presetSubtype="0" fill="hold" nodeType="withEffect">
                                  <p:stCondLst>
                                    <p:cond delay="40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63" presetClass="path" presetSubtype="0" decel="100000" fill="hold" nodeType="withEffect">
                                  <p:stCondLst>
                                    <p:cond delay="400"/>
                                  </p:stCondLst>
                                  <p:childTnLst>
                                    <p:animMotion origin="layout" path="M -9.9566E-8 4.1035E-6 L -0.02578 4.1035E-6 " pathEditMode="relative" rAng="0" ptsTypes="AA">
                                      <p:cBhvr>
                                        <p:cTn id="57" dur="500" spd="-100000" fill="hold"/>
                                        <p:tgtEl>
                                          <p:spTgt spid="84"/>
                                        </p:tgtEl>
                                        <p:attrNameLst>
                                          <p:attrName>ppt_x</p:attrName>
                                          <p:attrName>ppt_y</p:attrName>
                                        </p:attrNameLst>
                                      </p:cBhvr>
                                      <p:rCtr x="-1289" y="0"/>
                                    </p:animMotion>
                                  </p:childTnLst>
                                </p:cTn>
                              </p:par>
                              <p:par>
                                <p:cTn id="58" presetID="10" presetClass="entr" presetSubtype="0" fill="hold" nodeType="withEffect">
                                  <p:stCondLst>
                                    <p:cond delay="400"/>
                                  </p:stCondLst>
                                  <p:childTnLst>
                                    <p:set>
                                      <p:cBhvr>
                                        <p:cTn id="59" dur="1" fill="hold">
                                          <p:stCondLst>
                                            <p:cond delay="0"/>
                                          </p:stCondLst>
                                        </p:cTn>
                                        <p:tgtEl>
                                          <p:spTgt spid="94"/>
                                        </p:tgtEl>
                                        <p:attrNameLst>
                                          <p:attrName>style.visibility</p:attrName>
                                        </p:attrNameLst>
                                      </p:cBhvr>
                                      <p:to>
                                        <p:strVal val="visible"/>
                                      </p:to>
                                    </p:set>
                                    <p:animEffect transition="in" filter="fade">
                                      <p:cBhvr>
                                        <p:cTn id="60" dur="500"/>
                                        <p:tgtEl>
                                          <p:spTgt spid="94"/>
                                        </p:tgtEl>
                                      </p:cBhvr>
                                    </p:animEffect>
                                  </p:childTnLst>
                                </p:cTn>
                              </p:par>
                              <p:par>
                                <p:cTn id="61" presetID="63" presetClass="path" presetSubtype="0" decel="100000" fill="hold" nodeType="withEffect">
                                  <p:stCondLst>
                                    <p:cond delay="400"/>
                                  </p:stCondLst>
                                  <p:childTnLst>
                                    <p:animMotion origin="layout" path="M -9.9566E-8 4.1035E-6 L -0.02578 4.1035E-6 " pathEditMode="relative" rAng="0" ptsTypes="AA">
                                      <p:cBhvr>
                                        <p:cTn id="62" dur="500" spd="-100000" fill="hold"/>
                                        <p:tgtEl>
                                          <p:spTgt spid="94"/>
                                        </p:tgtEl>
                                        <p:attrNameLst>
                                          <p:attrName>ppt_x</p:attrName>
                                          <p:attrName>ppt_y</p:attrName>
                                        </p:attrNameLst>
                                      </p:cBhvr>
                                      <p:rCtr x="-1289" y="0"/>
                                    </p:animMotion>
                                  </p:childTnLst>
                                </p:cTn>
                              </p:par>
                              <p:par>
                                <p:cTn id="63" presetID="10" presetClass="entr" presetSubtype="0" fill="hold" nodeType="withEffect">
                                  <p:stCondLst>
                                    <p:cond delay="400"/>
                                  </p:stCondLst>
                                  <p:childTnLst>
                                    <p:set>
                                      <p:cBhvr>
                                        <p:cTn id="64" dur="1" fill="hold">
                                          <p:stCondLst>
                                            <p:cond delay="0"/>
                                          </p:stCondLst>
                                        </p:cTn>
                                        <p:tgtEl>
                                          <p:spTgt spid="89"/>
                                        </p:tgtEl>
                                        <p:attrNameLst>
                                          <p:attrName>style.visibility</p:attrName>
                                        </p:attrNameLst>
                                      </p:cBhvr>
                                      <p:to>
                                        <p:strVal val="visible"/>
                                      </p:to>
                                    </p:set>
                                    <p:animEffect transition="in" filter="fade">
                                      <p:cBhvr>
                                        <p:cTn id="65" dur="500"/>
                                        <p:tgtEl>
                                          <p:spTgt spid="89"/>
                                        </p:tgtEl>
                                      </p:cBhvr>
                                    </p:animEffect>
                                  </p:childTnLst>
                                </p:cTn>
                              </p:par>
                              <p:par>
                                <p:cTn id="66" presetID="63" presetClass="path" presetSubtype="0" decel="100000" fill="hold" nodeType="withEffect">
                                  <p:stCondLst>
                                    <p:cond delay="400"/>
                                  </p:stCondLst>
                                  <p:childTnLst>
                                    <p:animMotion origin="layout" path="M -9.9566E-8 4.1035E-6 L -0.02578 4.1035E-6 " pathEditMode="relative" rAng="0" ptsTypes="AA">
                                      <p:cBhvr>
                                        <p:cTn id="67" dur="500" spd="-100000" fill="hold"/>
                                        <p:tgtEl>
                                          <p:spTgt spid="89"/>
                                        </p:tgtEl>
                                        <p:attrNameLst>
                                          <p:attrName>ppt_x</p:attrName>
                                          <p:attrName>ppt_y</p:attrName>
                                        </p:attrNameLst>
                                      </p:cBhvr>
                                      <p:rCtr x="-12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83" grpId="0"/>
      <p:bldP spid="83"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B9020-DD43-4023-B791-8F9DAD3B0E22}"/>
              </a:ext>
            </a:extLst>
          </p:cNvPr>
          <p:cNvSpPr>
            <a:spLocks noGrp="1"/>
          </p:cNvSpPr>
          <p:nvPr>
            <p:ph type="title"/>
          </p:nvPr>
        </p:nvSpPr>
        <p:spPr>
          <a:xfrm>
            <a:off x="-1" y="0"/>
            <a:ext cx="12436475" cy="944545"/>
          </a:xfrm>
          <a:solidFill>
            <a:schemeClr val="accent1"/>
          </a:solidFill>
        </p:spPr>
        <p:txBody>
          <a:bodyPr vert="horz" wrap="square" lIns="146304" tIns="91440" rIns="146304" bIns="91440" rtlCol="0" anchor="ctr">
            <a:noAutofit/>
          </a:bodyPr>
          <a:lstStyle/>
          <a:p>
            <a:r>
              <a:rPr lang="en-US" spc="0" dirty="0">
                <a:ln/>
                <a:solidFill>
                  <a:srgbClr val="FFFFFF"/>
                </a:solidFill>
                <a:latin typeface="Segoe UI Light"/>
              </a:rPr>
              <a:t>Scenarios</a:t>
            </a:r>
          </a:p>
        </p:txBody>
      </p:sp>
      <p:sp>
        <p:nvSpPr>
          <p:cNvPr id="67" name="Rectangle 66">
            <a:extLst>
              <a:ext uri="{FF2B5EF4-FFF2-40B4-BE49-F238E27FC236}">
                <a16:creationId xmlns:a16="http://schemas.microsoft.com/office/drawing/2014/main" id="{71FFEF7D-8C58-4885-9EFE-BE3140199DC3}"/>
              </a:ext>
            </a:extLst>
          </p:cNvPr>
          <p:cNvSpPr/>
          <p:nvPr/>
        </p:nvSpPr>
        <p:spPr bwMode="auto">
          <a:xfrm>
            <a:off x="275544" y="1577043"/>
            <a:ext cx="3913077"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erverless apps</a:t>
            </a:r>
          </a:p>
        </p:txBody>
      </p:sp>
      <p:sp>
        <p:nvSpPr>
          <p:cNvPr id="104" name="Rectangle 103">
            <a:extLst>
              <a:ext uri="{FF2B5EF4-FFF2-40B4-BE49-F238E27FC236}">
                <a16:creationId xmlns:a16="http://schemas.microsoft.com/office/drawing/2014/main" id="{9B3B0986-1575-4FD9-AF77-DC402C860181}"/>
              </a:ext>
            </a:extLst>
          </p:cNvPr>
          <p:cNvSpPr/>
          <p:nvPr/>
        </p:nvSpPr>
        <p:spPr bwMode="auto">
          <a:xfrm>
            <a:off x="4238841" y="1577043"/>
            <a:ext cx="3913077"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Ops automation</a:t>
            </a:r>
          </a:p>
        </p:txBody>
      </p:sp>
      <p:sp>
        <p:nvSpPr>
          <p:cNvPr id="105" name="Rectangle 104">
            <a:extLst>
              <a:ext uri="{FF2B5EF4-FFF2-40B4-BE49-F238E27FC236}">
                <a16:creationId xmlns:a16="http://schemas.microsoft.com/office/drawing/2014/main" id="{FF061BB4-7B2B-4887-8D0A-01F5314911EE}"/>
              </a:ext>
            </a:extLst>
          </p:cNvPr>
          <p:cNvSpPr/>
          <p:nvPr/>
        </p:nvSpPr>
        <p:spPr bwMode="auto">
          <a:xfrm>
            <a:off x="8202139" y="1577043"/>
            <a:ext cx="3958790" cy="73152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0" tIns="146256" rIns="182820" bIns="146256" numCol="1" spcCol="0" rtlCol="0" fromWordArt="0" anchor="ctr" anchorCtr="0" forceAA="0" compatLnSpc="1">
            <a:prstTxWarp prst="textNoShape">
              <a:avLst/>
            </a:prstTxWarp>
            <a:noAutofit/>
          </a:bodyPr>
          <a:lstStyle/>
          <a:p>
            <a:pPr>
              <a:lnSpc>
                <a:spcPct val="90000"/>
              </a:lnSpc>
            </a:pPr>
            <a:r>
              <a:rPr lang="en-US" sz="2448"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pplication integration</a:t>
            </a:r>
          </a:p>
        </p:txBody>
      </p:sp>
      <p:grpSp>
        <p:nvGrpSpPr>
          <p:cNvPr id="10" name="Group 9">
            <a:extLst>
              <a:ext uri="{FF2B5EF4-FFF2-40B4-BE49-F238E27FC236}">
                <a16:creationId xmlns:a16="http://schemas.microsoft.com/office/drawing/2014/main" id="{05079029-A606-40C6-8208-01F911CF320B}"/>
              </a:ext>
            </a:extLst>
          </p:cNvPr>
          <p:cNvGrpSpPr/>
          <p:nvPr/>
        </p:nvGrpSpPr>
        <p:grpSpPr>
          <a:xfrm>
            <a:off x="275545" y="2308555"/>
            <a:ext cx="3913078" cy="4389108"/>
            <a:chOff x="274701" y="2308555"/>
            <a:chExt cx="3913633" cy="4389108"/>
          </a:xfrm>
        </p:grpSpPr>
        <p:grpSp>
          <p:nvGrpSpPr>
            <p:cNvPr id="45" name="Group 44">
              <a:extLst>
                <a:ext uri="{FF2B5EF4-FFF2-40B4-BE49-F238E27FC236}">
                  <a16:creationId xmlns:a16="http://schemas.microsoft.com/office/drawing/2014/main" id="{80BF0E9D-12AA-454E-9042-86BCA8364C7C}"/>
                </a:ext>
              </a:extLst>
            </p:cNvPr>
            <p:cNvGrpSpPr/>
            <p:nvPr/>
          </p:nvGrpSpPr>
          <p:grpSpPr>
            <a:xfrm>
              <a:off x="274701" y="2308555"/>
              <a:ext cx="3913633" cy="4389108"/>
              <a:chOff x="274701" y="2308555"/>
              <a:chExt cx="3913633" cy="4389108"/>
            </a:xfrm>
          </p:grpSpPr>
          <p:sp>
            <p:nvSpPr>
              <p:cNvPr id="68" name="Rectangle 67">
                <a:extLst>
                  <a:ext uri="{FF2B5EF4-FFF2-40B4-BE49-F238E27FC236}">
                    <a16:creationId xmlns:a16="http://schemas.microsoft.com/office/drawing/2014/main" id="{2E2A4FD8-4FFD-45C9-90AE-6BFBC16BA463}"/>
                  </a:ext>
                </a:extLst>
              </p:cNvPr>
              <p:cNvSpPr/>
              <p:nvPr/>
            </p:nvSpPr>
            <p:spPr bwMode="auto">
              <a:xfrm>
                <a:off x="274702"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5" name="TextBox 124"/>
              <p:cNvSpPr txBox="1"/>
              <p:nvPr/>
            </p:nvSpPr>
            <p:spPr>
              <a:xfrm>
                <a:off x="274701" y="2308555"/>
                <a:ext cx="3913632" cy="1597835"/>
              </a:xfrm>
              <a:prstGeom prst="rect">
                <a:avLst/>
              </a:prstGeom>
              <a:noFill/>
            </p:spPr>
            <p:txBody>
              <a:bodyPr wrap="square" lIns="186521" tIns="149217" rIns="186521" bIns="149217" rtlCol="0">
                <a:spAutoFit/>
              </a:bodyPr>
              <a:lstStyle/>
              <a:p>
                <a:pPr lvl="0">
                  <a:lnSpc>
                    <a:spcPct val="90000"/>
                  </a:lnSpc>
                </a:pPr>
                <a:r>
                  <a:rPr lang="en-US" sz="1836" dirty="0">
                    <a:gradFill>
                      <a:gsLst>
                        <a:gs pos="3371">
                          <a:schemeClr val="tx1"/>
                        </a:gs>
                        <a:gs pos="12360">
                          <a:schemeClr val="tx1"/>
                        </a:gs>
                      </a:gsLst>
                      <a:lin ang="5400000" scaled="0"/>
                    </a:gradFill>
                    <a:cs typeface="Segoe UI" panose="020B0502040204020203" pitchFamily="34" charset="0"/>
                  </a:rPr>
                  <a:t>Instantly trigger a serverless function to run analysis when a new file is added to a blob storage container.</a:t>
                </a:r>
              </a:p>
              <a:p>
                <a:pPr lvl="0">
                  <a:lnSpc>
                    <a:spcPct val="90000"/>
                  </a:lnSpc>
                </a:pPr>
                <a:endParaRPr lang="en-US" sz="1836" dirty="0">
                  <a:gradFill>
                    <a:gsLst>
                      <a:gs pos="3371">
                        <a:schemeClr val="tx1"/>
                      </a:gs>
                      <a:gs pos="12360">
                        <a:schemeClr val="tx1"/>
                      </a:gs>
                    </a:gsLst>
                    <a:lin ang="5400000" scaled="0"/>
                  </a:gradFill>
                  <a:cs typeface="Segoe UI" panose="020B0502040204020203" pitchFamily="34" charset="0"/>
                </a:endParaRPr>
              </a:p>
            </p:txBody>
          </p:sp>
        </p:grpSp>
        <p:pic>
          <p:nvPicPr>
            <p:cNvPr id="5" name="Picture 4">
              <a:extLst>
                <a:ext uri="{FF2B5EF4-FFF2-40B4-BE49-F238E27FC236}">
                  <a16:creationId xmlns:a16="http://schemas.microsoft.com/office/drawing/2014/main" id="{7E3C1DB8-0535-464C-8AC0-D35D44C82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10" y="4091356"/>
              <a:ext cx="3680413" cy="1115644"/>
            </a:xfrm>
            <a:prstGeom prst="rect">
              <a:avLst/>
            </a:prstGeom>
          </p:spPr>
        </p:pic>
      </p:grpSp>
      <p:grpSp>
        <p:nvGrpSpPr>
          <p:cNvPr id="11" name="Group 10">
            <a:extLst>
              <a:ext uri="{FF2B5EF4-FFF2-40B4-BE49-F238E27FC236}">
                <a16:creationId xmlns:a16="http://schemas.microsoft.com/office/drawing/2014/main" id="{D6FFE5BA-A89A-4D35-B3AB-809076B9A955}"/>
              </a:ext>
            </a:extLst>
          </p:cNvPr>
          <p:cNvGrpSpPr/>
          <p:nvPr/>
        </p:nvGrpSpPr>
        <p:grpSpPr>
          <a:xfrm>
            <a:off x="4188621" y="2308555"/>
            <a:ext cx="3963298" cy="4389108"/>
            <a:chOff x="4188333" y="2308555"/>
            <a:chExt cx="3963860" cy="4389108"/>
          </a:xfrm>
        </p:grpSpPr>
        <p:grpSp>
          <p:nvGrpSpPr>
            <p:cNvPr id="43" name="Group 42">
              <a:extLst>
                <a:ext uri="{FF2B5EF4-FFF2-40B4-BE49-F238E27FC236}">
                  <a16:creationId xmlns:a16="http://schemas.microsoft.com/office/drawing/2014/main" id="{34D6FB1E-3C65-4B6C-8F32-7E44C2D5B9B9}"/>
                </a:ext>
              </a:extLst>
            </p:cNvPr>
            <p:cNvGrpSpPr/>
            <p:nvPr/>
          </p:nvGrpSpPr>
          <p:grpSpPr>
            <a:xfrm>
              <a:off x="4188333" y="2308555"/>
              <a:ext cx="3963860" cy="4389108"/>
              <a:chOff x="4188333" y="2308555"/>
              <a:chExt cx="3963860" cy="4389108"/>
            </a:xfrm>
          </p:grpSpPr>
          <p:sp>
            <p:nvSpPr>
              <p:cNvPr id="106" name="Rectangle 105">
                <a:extLst>
                  <a:ext uri="{FF2B5EF4-FFF2-40B4-BE49-F238E27FC236}">
                    <a16:creationId xmlns:a16="http://schemas.microsoft.com/office/drawing/2014/main" id="{B962DD1A-4191-42C9-B576-0F82DDFA2BF0}"/>
                  </a:ext>
                </a:extLst>
              </p:cNvPr>
              <p:cNvSpPr/>
              <p:nvPr/>
            </p:nvSpPr>
            <p:spPr bwMode="auto">
              <a:xfrm>
                <a:off x="4238561" y="2308563"/>
                <a:ext cx="391363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2" name="TextBox 121"/>
              <p:cNvSpPr txBox="1"/>
              <p:nvPr/>
            </p:nvSpPr>
            <p:spPr>
              <a:xfrm>
                <a:off x="4188333" y="2308555"/>
                <a:ext cx="3913632" cy="1597835"/>
              </a:xfrm>
              <a:prstGeom prst="rect">
                <a:avLst/>
              </a:prstGeom>
              <a:noFill/>
            </p:spPr>
            <p:txBody>
              <a:bodyPr wrap="square" lIns="186521" tIns="149217" rIns="186521" bIns="149217" rtlCol="0">
                <a:spAutoFit/>
              </a:bodyPr>
              <a:lstStyle/>
              <a:p>
                <a:pPr>
                  <a:lnSpc>
                    <a:spcPct val="90000"/>
                  </a:lnSpc>
                </a:pPr>
                <a:r>
                  <a:rPr lang="en-US" sz="1836" dirty="0">
                    <a:gradFill>
                      <a:gsLst>
                        <a:gs pos="3371">
                          <a:schemeClr val="tx1"/>
                        </a:gs>
                        <a:gs pos="12360">
                          <a:schemeClr val="tx1"/>
                        </a:gs>
                      </a:gsLst>
                      <a:lin ang="5400000" scaled="0"/>
                    </a:gradFill>
                    <a:cs typeface="Segoe UI" panose="020B0502040204020203" pitchFamily="34" charset="0"/>
                  </a:rPr>
                  <a:t>Speed up automation and simplify policy enforcement by notifying Azure Automation when underlying infrastructure is provisioned</a:t>
                </a:r>
              </a:p>
            </p:txBody>
          </p:sp>
          <p:cxnSp>
            <p:nvCxnSpPr>
              <p:cNvPr id="58" name="Straight Connector 57"/>
              <p:cNvCxnSpPr>
                <a:cxnSpLocks/>
              </p:cNvCxnSpPr>
              <p:nvPr/>
            </p:nvCxnSpPr>
            <p:spPr>
              <a:xfrm>
                <a:off x="6246291" y="5412925"/>
                <a:ext cx="774413" cy="751510"/>
              </a:xfrm>
              <a:prstGeom prst="line">
                <a:avLst/>
              </a:prstGeom>
              <a:noFill/>
              <a:ln w="9525" cap="flat" cmpd="sng" algn="ctr">
                <a:noFill/>
                <a:prstDash val="solid"/>
                <a:headEnd type="none"/>
                <a:tailEnd type="none"/>
              </a:ln>
              <a:effectLst/>
            </p:spPr>
          </p:cxnSp>
        </p:grpSp>
        <p:pic>
          <p:nvPicPr>
            <p:cNvPr id="7" name="Picture 6">
              <a:extLst>
                <a:ext uri="{FF2B5EF4-FFF2-40B4-BE49-F238E27FC236}">
                  <a16:creationId xmlns:a16="http://schemas.microsoft.com/office/drawing/2014/main" id="{F4B9D57A-9DF8-48D4-9D22-DA99239C9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921" y="4076507"/>
              <a:ext cx="3729398" cy="1130493"/>
            </a:xfrm>
            <a:prstGeom prst="rect">
              <a:avLst/>
            </a:prstGeom>
          </p:spPr>
        </p:pic>
      </p:grpSp>
      <p:grpSp>
        <p:nvGrpSpPr>
          <p:cNvPr id="12" name="Group 11">
            <a:extLst>
              <a:ext uri="{FF2B5EF4-FFF2-40B4-BE49-F238E27FC236}">
                <a16:creationId xmlns:a16="http://schemas.microsoft.com/office/drawing/2014/main" id="{1FAB4755-6902-4FFD-8EE0-2EA7162FF214}"/>
              </a:ext>
            </a:extLst>
          </p:cNvPr>
          <p:cNvGrpSpPr/>
          <p:nvPr/>
        </p:nvGrpSpPr>
        <p:grpSpPr>
          <a:xfrm>
            <a:off x="8202139" y="2308555"/>
            <a:ext cx="3958790" cy="4389108"/>
            <a:chOff x="8202420" y="2308555"/>
            <a:chExt cx="3959352" cy="4389108"/>
          </a:xfrm>
        </p:grpSpPr>
        <p:grpSp>
          <p:nvGrpSpPr>
            <p:cNvPr id="44" name="Group 43">
              <a:extLst>
                <a:ext uri="{FF2B5EF4-FFF2-40B4-BE49-F238E27FC236}">
                  <a16:creationId xmlns:a16="http://schemas.microsoft.com/office/drawing/2014/main" id="{8A69567C-D673-4354-BDAF-2121A3654581}"/>
                </a:ext>
              </a:extLst>
            </p:cNvPr>
            <p:cNvGrpSpPr/>
            <p:nvPr/>
          </p:nvGrpSpPr>
          <p:grpSpPr>
            <a:xfrm>
              <a:off x="8202420" y="2308555"/>
              <a:ext cx="3959352" cy="4389108"/>
              <a:chOff x="8202420" y="2308555"/>
              <a:chExt cx="3959352" cy="4389108"/>
            </a:xfrm>
          </p:grpSpPr>
          <p:sp>
            <p:nvSpPr>
              <p:cNvPr id="107" name="Rectangle 106">
                <a:extLst>
                  <a:ext uri="{FF2B5EF4-FFF2-40B4-BE49-F238E27FC236}">
                    <a16:creationId xmlns:a16="http://schemas.microsoft.com/office/drawing/2014/main" id="{AE4B2F17-0391-4ED9-B624-25CB4FE82276}"/>
                  </a:ext>
                </a:extLst>
              </p:cNvPr>
              <p:cNvSpPr/>
              <p:nvPr/>
            </p:nvSpPr>
            <p:spPr bwMode="auto">
              <a:xfrm>
                <a:off x="8202420" y="2308563"/>
                <a:ext cx="3959352" cy="43891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5" rIns="186494" bIns="149195"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1" name="TextBox 130"/>
              <p:cNvSpPr txBox="1"/>
              <p:nvPr/>
            </p:nvSpPr>
            <p:spPr>
              <a:xfrm>
                <a:off x="8202420" y="2308555"/>
                <a:ext cx="3913632" cy="1338538"/>
              </a:xfrm>
              <a:prstGeom prst="rect">
                <a:avLst/>
              </a:prstGeom>
              <a:noFill/>
            </p:spPr>
            <p:txBody>
              <a:bodyPr wrap="square" lIns="186521" tIns="149217" rIns="186521" bIns="149217" rtlCol="0">
                <a:spAutoFit/>
              </a:bodyPr>
              <a:lstStyle/>
              <a:p>
                <a:pPr>
                  <a:lnSpc>
                    <a:spcPct val="90000"/>
                  </a:lnSpc>
                </a:pPr>
                <a:r>
                  <a:rPr lang="en-US" sz="1836" dirty="0">
                    <a:gradFill>
                      <a:gsLst>
                        <a:gs pos="3371">
                          <a:schemeClr val="tx1"/>
                        </a:gs>
                        <a:gs pos="12360">
                          <a:schemeClr val="tx1"/>
                        </a:gs>
                      </a:gsLst>
                      <a:lin ang="5400000" scaled="0"/>
                    </a:gradFill>
                    <a:cs typeface="Segoe UI" panose="020B0502040204020203" pitchFamily="34" charset="0"/>
                  </a:rPr>
                  <a:t>Connects your app with other services. Create an application topic to route your app’s event data to any desired destination</a:t>
                </a:r>
              </a:p>
            </p:txBody>
          </p:sp>
        </p:grpSp>
        <p:pic>
          <p:nvPicPr>
            <p:cNvPr id="9" name="Picture 8">
              <a:extLst>
                <a:ext uri="{FF2B5EF4-FFF2-40B4-BE49-F238E27FC236}">
                  <a16:creationId xmlns:a16="http://schemas.microsoft.com/office/drawing/2014/main" id="{7F6E159B-4032-4730-95A2-E0F633947D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9993" y="4091357"/>
              <a:ext cx="3680412" cy="1115644"/>
            </a:xfrm>
            <a:prstGeom prst="rect">
              <a:avLst/>
            </a:prstGeom>
          </p:spPr>
        </p:pic>
      </p:grpSp>
    </p:spTree>
    <p:extLst>
      <p:ext uri="{BB962C8B-B14F-4D97-AF65-F5344CB8AC3E}">
        <p14:creationId xmlns:p14="http://schemas.microsoft.com/office/powerpoint/2010/main" val="1724345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42" presetClass="path" presetSubtype="0" decel="100000" fill="hold" grpId="1" nodeType="withEffect">
                                  <p:stCondLst>
                                    <p:cond delay="0"/>
                                  </p:stCondLst>
                                  <p:childTnLst>
                                    <p:animMotion origin="layout" path="M -3.125E-6 4.44444E-6 L -3.125E-6 0.03703 " pathEditMode="relative" rAng="0" ptsTypes="AA">
                                      <p:cBhvr>
                                        <p:cTn id="9" dur="600" spd="-100000" fill="hold"/>
                                        <p:tgtEl>
                                          <p:spTgt spid="67"/>
                                        </p:tgtEl>
                                        <p:attrNameLst>
                                          <p:attrName>ppt_x</p:attrName>
                                          <p:attrName>ppt_y</p:attrName>
                                        </p:attrNameLst>
                                      </p:cBhvr>
                                      <p:rCtr x="0" y="1852"/>
                                    </p:animMotion>
                                  </p:childTnLst>
                                </p:cTn>
                              </p:par>
                              <p:par>
                                <p:cTn id="10" presetID="10"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3.125E-6 4.44444E-6 L -3.125E-6 0.03703 " pathEditMode="relative" rAng="0" ptsTypes="AA">
                                      <p:cBhvr>
                                        <p:cTn id="19" dur="600" spd="-100000" fill="hold"/>
                                        <p:tgtEl>
                                          <p:spTgt spid="104"/>
                                        </p:tgtEl>
                                        <p:attrNameLst>
                                          <p:attrName>ppt_x</p:attrName>
                                          <p:attrName>ppt_y</p:attrName>
                                        </p:attrNameLst>
                                      </p:cBhvr>
                                      <p:rCtr x="0" y="1852"/>
                                    </p:animMotion>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500"/>
                                        <p:tgtEl>
                                          <p:spTgt spid="105"/>
                                        </p:tgtEl>
                                      </p:cBhvr>
                                    </p:animEffect>
                                  </p:childTnLst>
                                </p:cTn>
                              </p:par>
                              <p:par>
                                <p:cTn id="28" presetID="42" presetClass="path" presetSubtype="0" decel="100000" fill="hold" grpId="1" nodeType="withEffect">
                                  <p:stCondLst>
                                    <p:cond delay="0"/>
                                  </p:stCondLst>
                                  <p:childTnLst>
                                    <p:animMotion origin="layout" path="M -3.125E-6 4.44444E-6 L -3.125E-6 0.03703 " pathEditMode="relative" rAng="0" ptsTypes="AA">
                                      <p:cBhvr>
                                        <p:cTn id="29" dur="600" spd="-100000" fill="hold"/>
                                        <p:tgtEl>
                                          <p:spTgt spid="105"/>
                                        </p:tgtEl>
                                        <p:attrNameLst>
                                          <p:attrName>ppt_x</p:attrName>
                                          <p:attrName>ppt_y</p:attrName>
                                        </p:attrNameLst>
                                      </p:cBhvr>
                                      <p:rCtr x="0" y="1852"/>
                                    </p:animMotion>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4" grpId="0" animBg="1"/>
      <p:bldP spid="104" grpId="1" animBg="1"/>
      <p:bldP spid="105" grpId="0" animBg="1"/>
      <p:bldP spid="105"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ogic Apps: Automate Repeatable Tasks</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7" name="Rectangle 6">
            <a:extLst>
              <a:ext uri="{FF2B5EF4-FFF2-40B4-BE49-F238E27FC236}">
                <a16:creationId xmlns:a16="http://schemas.microsoft.com/office/drawing/2014/main" id="{63E3CF73-D7E3-4B70-98AE-90AD55563FF8}"/>
              </a:ext>
            </a:extLst>
          </p:cNvPr>
          <p:cNvSpPr/>
          <p:nvPr/>
        </p:nvSpPr>
        <p:spPr bwMode="auto">
          <a:xfrm>
            <a:off x="10263499" y="1289717"/>
            <a:ext cx="2172976"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 name="Straight Connector 7">
            <a:extLst>
              <a:ext uri="{FF2B5EF4-FFF2-40B4-BE49-F238E27FC236}">
                <a16:creationId xmlns:a16="http://schemas.microsoft.com/office/drawing/2014/main" id="{8132394B-A37C-43A8-8869-BEF6483DD8C2}"/>
              </a:ext>
            </a:extLst>
          </p:cNvPr>
          <p:cNvCxnSpPr/>
          <p:nvPr/>
        </p:nvCxnSpPr>
        <p:spPr>
          <a:xfrm>
            <a:off x="10263499"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FF24FF0A-E20D-4BE7-BFA6-C0C1AA3480A5}"/>
              </a:ext>
            </a:extLst>
          </p:cNvPr>
          <p:cNvGraphicFramePr/>
          <p:nvPr>
            <p:extLst/>
          </p:nvPr>
        </p:nvGraphicFramePr>
        <p:xfrm>
          <a:off x="10198056" y="1888621"/>
          <a:ext cx="2303861" cy="50089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AB68ECA4-F474-4D73-9ECE-0BFB53CC565F}"/>
              </a:ext>
            </a:extLst>
          </p:cNvPr>
          <p:cNvSpPr txBox="1"/>
          <p:nvPr/>
        </p:nvSpPr>
        <p:spPr>
          <a:xfrm>
            <a:off x="10263499" y="1289717"/>
            <a:ext cx="217297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nnectors</a:t>
            </a:r>
          </a:p>
        </p:txBody>
      </p:sp>
      <p:pic>
        <p:nvPicPr>
          <p:cNvPr id="3" name="Picture 2" descr="A screenshot of a social media post&#10;&#10;Description generated with very high confidence">
            <a:extLst>
              <a:ext uri="{FF2B5EF4-FFF2-40B4-BE49-F238E27FC236}">
                <a16:creationId xmlns:a16="http://schemas.microsoft.com/office/drawing/2014/main" id="{AE8D6DD2-EF98-4ECA-B5B5-07C2BBECE606}"/>
              </a:ext>
            </a:extLst>
          </p:cNvPr>
          <p:cNvPicPr>
            <a:picLocks noChangeAspect="1"/>
          </p:cNvPicPr>
          <p:nvPr/>
        </p:nvPicPr>
        <p:blipFill rotWithShape="1">
          <a:blip r:embed="rId8"/>
          <a:srcRect l="5097" t="25704" r="10454"/>
          <a:stretch/>
        </p:blipFill>
        <p:spPr>
          <a:xfrm>
            <a:off x="286764" y="1774694"/>
            <a:ext cx="9636370" cy="4493200"/>
          </a:xfrm>
          <a:prstGeom prst="rect">
            <a:avLst/>
          </a:prstGeom>
          <a:ln>
            <a:solidFill>
              <a:schemeClr val="tx1"/>
            </a:solidFill>
          </a:ln>
        </p:spPr>
      </p:pic>
    </p:spTree>
    <p:extLst>
      <p:ext uri="{BB962C8B-B14F-4D97-AF65-F5344CB8AC3E}">
        <p14:creationId xmlns:p14="http://schemas.microsoft.com/office/powerpoint/2010/main" val="872686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2" dur="500"/>
                                        <p:tgtEl>
                                          <p:spTgt spid="6">
                                            <p:graphicEl>
                                              <a:dgm id="{DBCD4A4B-4A7B-4F56-939C-CC772B5E474C}"/>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26" dur="500"/>
                                        <p:tgtEl>
                                          <p:spTgt spid="6">
                                            <p:graphicEl>
                                              <a:dgm id="{24F7414B-96AC-4156-B5A9-E9256EE3A38B}"/>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0" dur="500"/>
                                        <p:tgtEl>
                                          <p:spTgt spid="6">
                                            <p:graphicEl>
                                              <a:dgm id="{CACC16B1-C980-478D-81B9-9497B45E3E3C}"/>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2125485D-B99F-4AE6-820E-13A0D61AC020}"/>
                                            </p:graphicEl>
                                          </p:spTgt>
                                        </p:tgtEl>
                                        <p:attrNameLst>
                                          <p:attrName>style.visibility</p:attrName>
                                        </p:attrNameLst>
                                      </p:cBhvr>
                                      <p:to>
                                        <p:strVal val="visible"/>
                                      </p:to>
                                    </p:set>
                                    <p:animEffect transition="in" filter="fade">
                                      <p:cBhvr>
                                        <p:cTn id="34" dur="500"/>
                                        <p:tgtEl>
                                          <p:spTgt spid="6">
                                            <p:graphicEl>
                                              <a:dgm id="{2125485D-B99F-4AE6-820E-13A0D61AC02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6" grpId="0" uiExpand="1">
        <p:bldSub>
          <a:bldDgm bld="one"/>
        </p:bldSub>
      </p:bldGraphic>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3176254"/>
          </a:xfrm>
        </p:spPr>
        <p:txBody>
          <a:bodyPr/>
          <a:lstStyle/>
          <a:p>
            <a:r>
              <a:rPr lang="en-US" dirty="0"/>
              <a:t>Design an application monitoring and alerting strategy</a:t>
            </a:r>
          </a:p>
        </p:txBody>
      </p:sp>
    </p:spTree>
    <p:extLst>
      <p:ext uri="{BB962C8B-B14F-4D97-AF65-F5344CB8AC3E}">
        <p14:creationId xmlns:p14="http://schemas.microsoft.com/office/powerpoint/2010/main" val="170394168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gic Apps - More Info</a:t>
            </a:r>
          </a:p>
        </p:txBody>
      </p:sp>
      <p:sp>
        <p:nvSpPr>
          <p:cNvPr id="3" name="TextBox 2">
            <a:extLst>
              <a:ext uri="{FF2B5EF4-FFF2-40B4-BE49-F238E27FC236}">
                <a16:creationId xmlns:a16="http://schemas.microsoft.com/office/drawing/2014/main" id="{58715B4D-E7E9-40C6-85ED-030D478373FF}"/>
              </a:ext>
            </a:extLst>
          </p:cNvPr>
          <p:cNvSpPr txBox="1"/>
          <p:nvPr/>
        </p:nvSpPr>
        <p:spPr>
          <a:xfrm>
            <a:off x="-1" y="1289717"/>
            <a:ext cx="12340127" cy="636789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tructure of a Logic App:</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rigger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ebhook</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Timer</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nt – queue, email, file, tweet </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ecurity: authenticated using SAS toke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Conditions: for each, switch, if</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Actions:  operations on connectors or simple logic</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AS tokens encrypt keys for authentication</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Firewalls can limit accessibility of HTTP trigger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Model:</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very time the app runs</a:t>
            </a:r>
          </a:p>
          <a:p>
            <a:pPr marL="809271" lvl="1"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Per enterprise connector every time the app runs:</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Standard connectors –Azure services, on-premises gateways, office 365, Salesforce</a:t>
            </a:r>
          </a:p>
          <a:p>
            <a:pPr marL="1275642" lvl="2"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terprise connectors –SAP, MQ</a:t>
            </a:r>
          </a:p>
          <a:p>
            <a:pPr marL="342900" indent="-342900">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endParaRPr lang="en-US" sz="20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81042690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E527BC4-263E-4C13-82C2-0388C847AE9D}"/>
              </a:ext>
            </a:extLst>
          </p:cNvPr>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cheduler</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
        <p:nvSpPr>
          <p:cNvPr id="4" name="Rectangle 3">
            <a:extLst>
              <a:ext uri="{FF2B5EF4-FFF2-40B4-BE49-F238E27FC236}">
                <a16:creationId xmlns:a16="http://schemas.microsoft.com/office/drawing/2014/main" id="{A615B125-05E9-4EE9-A385-186D677E550E}"/>
              </a:ext>
            </a:extLst>
          </p:cNvPr>
          <p:cNvSpPr/>
          <p:nvPr/>
        </p:nvSpPr>
        <p:spPr>
          <a:xfrm>
            <a:off x="0" y="1289717"/>
            <a:ext cx="12434711" cy="5262979"/>
          </a:xfrm>
          <a:prstGeom prst="rect">
            <a:avLst/>
          </a:prstGeom>
        </p:spPr>
        <p:txBody>
          <a:bodyPr wrap="square" lIns="134464" rIns="134464">
            <a:spAutoFit/>
          </a:bodyPr>
          <a:lstStyle/>
          <a:p>
            <a:pPr defTabSz="659045">
              <a:defRPr/>
            </a:pPr>
            <a:r>
              <a:rPr lang="en-US" sz="2800" kern="0" dirty="0">
                <a:solidFill>
                  <a:srgbClr val="000000"/>
                </a:solidFill>
                <a:latin typeface="+mj-lt"/>
                <a:cs typeface="Calibri" panose="020F0502020204030204" pitchFamily="34" charset="0"/>
              </a:rPr>
              <a:t>Describe and schedule actions to run on a schedule</a:t>
            </a:r>
          </a:p>
          <a:p>
            <a:pPr defTabSz="659045">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Invokes action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Azure, on-premise, other cloud</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HTTP/S, Queue, Service Bus Topic</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Does not host any workloads or run code</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Job = single recurrent action</a:t>
            </a: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Job collection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Group jobs based on usage or app boundaries</a:t>
            </a:r>
          </a:p>
          <a:p>
            <a:pPr marL="752121" lvl="1"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rPr>
              <a:t>Maintain settings, quotas, and throttles to constrain all jobs in collection</a:t>
            </a:r>
          </a:p>
          <a:p>
            <a:pPr marL="285750" indent="-285750" defTabSz="659045">
              <a:buFont typeface="Arial" panose="020B0604020202020204" pitchFamily="34" charset="0"/>
              <a:buChar char="•"/>
              <a:defRPr/>
            </a:pPr>
            <a:endParaRPr lang="en-US" sz="2800" kern="0" dirty="0">
              <a:solidFill>
                <a:srgbClr val="000000"/>
              </a:solidFill>
              <a:latin typeface="+mj-lt"/>
              <a:cs typeface="Calibri" panose="020F0502020204030204" pitchFamily="34" charset="0"/>
            </a:endParaRPr>
          </a:p>
          <a:p>
            <a:pPr marL="285750" indent="-285750" defTabSz="659045">
              <a:buFont typeface="Arial" panose="020B0604020202020204" pitchFamily="34" charset="0"/>
              <a:buChar char="•"/>
              <a:defRPr/>
            </a:pPr>
            <a:r>
              <a:rPr lang="en-US" sz="2800" kern="0" dirty="0">
                <a:solidFill>
                  <a:srgbClr val="000000"/>
                </a:solidFill>
                <a:latin typeface="+mj-lt"/>
                <a:cs typeface="Calibri" panose="020F0502020204030204" pitchFamily="34" charset="0"/>
                <a:hlinkClick r:id="rId3"/>
              </a:rPr>
              <a:t>https://docs.microsoft.com/azure/scheduler</a:t>
            </a:r>
            <a:endParaRPr lang="en-US" sz="2800" kern="0" dirty="0">
              <a:solidFill>
                <a:srgbClr val="000000"/>
              </a:solidFill>
              <a:latin typeface="+mj-lt"/>
              <a:cs typeface="Calibri" panose="020F0502020204030204" pitchFamily="34" charset="0"/>
            </a:endParaRPr>
          </a:p>
        </p:txBody>
      </p:sp>
    </p:spTree>
    <p:extLst>
      <p:ext uri="{BB962C8B-B14F-4D97-AF65-F5344CB8AC3E}">
        <p14:creationId xmlns:p14="http://schemas.microsoft.com/office/powerpoint/2010/main" val="371358780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D12F8-4180-43B8-81AB-9137FFAED5EF}"/>
              </a:ext>
            </a:extLst>
          </p:cNvPr>
          <p:cNvSpPr>
            <a:spLocks noGrp="1"/>
          </p:cNvSpPr>
          <p:nvPr>
            <p:ph type="title"/>
          </p:nvPr>
        </p:nvSpPr>
        <p:spPr/>
        <p:txBody>
          <a:bodyPr/>
          <a:lstStyle/>
          <a:p>
            <a:r>
              <a:rPr lang="en-US" dirty="0"/>
              <a:t>Topics in Motion</a:t>
            </a:r>
            <a:br>
              <a:rPr lang="en-US" dirty="0"/>
            </a:br>
            <a:br>
              <a:rPr lang="en-US" sz="5400" dirty="0"/>
            </a:br>
            <a:r>
              <a:rPr lang="en-US" sz="5400" dirty="0"/>
              <a:t>- </a:t>
            </a:r>
            <a:r>
              <a:rPr lang="en-US" sz="4400" dirty="0"/>
              <a:t>Recent changes to 70-535 exam</a:t>
            </a:r>
            <a:br>
              <a:rPr lang="en-US" sz="4400" dirty="0"/>
            </a:br>
            <a:r>
              <a:rPr lang="en-US" sz="4400" dirty="0"/>
              <a:t>- Moved from Operations to Compute objective</a:t>
            </a:r>
            <a:endParaRPr lang="en-US" dirty="0"/>
          </a:p>
        </p:txBody>
      </p:sp>
    </p:spTree>
    <p:extLst>
      <p:ext uri="{BB962C8B-B14F-4D97-AF65-F5344CB8AC3E}">
        <p14:creationId xmlns:p14="http://schemas.microsoft.com/office/powerpoint/2010/main" val="13562611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7100CE9-E14C-4E29-A3E7-1BFE438A2759}"/>
              </a:ext>
            </a:extLst>
          </p:cNvPr>
          <p:cNvSpPr/>
          <p:nvPr/>
        </p:nvSpPr>
        <p:spPr bwMode="auto">
          <a:xfrm>
            <a:off x="484198" y="347139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LAs</a:t>
            </a:r>
          </a:p>
        </p:txBody>
      </p:sp>
      <p:sp>
        <p:nvSpPr>
          <p:cNvPr id="91" name="TextBox 90">
            <a:extLst>
              <a:ext uri="{FF2B5EF4-FFF2-40B4-BE49-F238E27FC236}">
                <a16:creationId xmlns:a16="http://schemas.microsoft.com/office/drawing/2014/main" id="{02A3EF1D-C48B-492C-AB1E-93C765F0A59B}"/>
              </a:ext>
            </a:extLst>
          </p:cNvPr>
          <p:cNvSpPr txBox="1"/>
          <p:nvPr/>
        </p:nvSpPr>
        <p:spPr>
          <a:xfrm>
            <a:off x="484198" y="3700770"/>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45" name="Rectangle: Rounded Corners 44">
            <a:extLst>
              <a:ext uri="{FF2B5EF4-FFF2-40B4-BE49-F238E27FC236}">
                <a16:creationId xmlns:a16="http://schemas.microsoft.com/office/drawing/2014/main" id="{616B3153-7391-4A32-8DF7-A290B5DF10C5}"/>
              </a:ext>
            </a:extLst>
          </p:cNvPr>
          <p:cNvSpPr/>
          <p:nvPr/>
        </p:nvSpPr>
        <p:spPr bwMode="auto">
          <a:xfrm>
            <a:off x="484198" y="459419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Rounded Corners 45">
            <a:extLst>
              <a:ext uri="{FF2B5EF4-FFF2-40B4-BE49-F238E27FC236}">
                <a16:creationId xmlns:a16="http://schemas.microsoft.com/office/drawing/2014/main" id="{C922CCA3-3CF6-4453-89E7-3EE848FB0F74}"/>
              </a:ext>
            </a:extLst>
          </p:cNvPr>
          <p:cNvSpPr/>
          <p:nvPr/>
        </p:nvSpPr>
        <p:spPr bwMode="auto">
          <a:xfrm>
            <a:off x="484198" y="2343351"/>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Rectangle: Rounded Corners 46">
            <a:extLst>
              <a:ext uri="{FF2B5EF4-FFF2-40B4-BE49-F238E27FC236}">
                <a16:creationId xmlns:a16="http://schemas.microsoft.com/office/drawing/2014/main" id="{B0B8D8BD-963D-40DF-B1CE-3A82A42DC9B4}"/>
              </a:ext>
            </a:extLst>
          </p:cNvPr>
          <p:cNvSpPr/>
          <p:nvPr/>
        </p:nvSpPr>
        <p:spPr bwMode="auto">
          <a:xfrm>
            <a:off x="484198" y="5727472"/>
            <a:ext cx="5890967" cy="1133280"/>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TextBox 91">
            <a:extLst>
              <a:ext uri="{FF2B5EF4-FFF2-40B4-BE49-F238E27FC236}">
                <a16:creationId xmlns:a16="http://schemas.microsoft.com/office/drawing/2014/main" id="{1DF8A9BA-BB57-4E6F-B8E9-FCA5FF3223F1}"/>
              </a:ext>
            </a:extLst>
          </p:cNvPr>
          <p:cNvSpPr txBox="1"/>
          <p:nvPr/>
        </p:nvSpPr>
        <p:spPr>
          <a:xfrm>
            <a:off x="484198" y="4829679"/>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442338" y="5927086"/>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55" name="TextBox 54">
            <a:extLst>
              <a:ext uri="{FF2B5EF4-FFF2-40B4-BE49-F238E27FC236}">
                <a16:creationId xmlns:a16="http://schemas.microsoft.com/office/drawing/2014/main" id="{38664B4B-CD6A-4425-887C-29E21D6EC1B0}"/>
              </a:ext>
            </a:extLst>
          </p:cNvPr>
          <p:cNvSpPr txBox="1"/>
          <p:nvPr/>
        </p:nvSpPr>
        <p:spPr>
          <a:xfrm>
            <a:off x="443171" y="2549875"/>
            <a:ext cx="1180322"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MZ</a:t>
            </a:r>
          </a:p>
        </p:txBody>
      </p:sp>
      <p:pic>
        <p:nvPicPr>
          <p:cNvPr id="2" name="Picture 1">
            <a:extLst>
              <a:ext uri="{FF2B5EF4-FFF2-40B4-BE49-F238E27FC236}">
                <a16:creationId xmlns:a16="http://schemas.microsoft.com/office/drawing/2014/main" id="{2D75F032-380B-4686-A933-EED3B8FCB447}"/>
              </a:ext>
            </a:extLst>
          </p:cNvPr>
          <p:cNvPicPr>
            <a:picLocks noChangeAspect="1"/>
          </p:cNvPicPr>
          <p:nvPr/>
        </p:nvPicPr>
        <p:blipFill>
          <a:blip r:embed="rId3"/>
          <a:stretch>
            <a:fillRect/>
          </a:stretch>
        </p:blipFill>
        <p:spPr>
          <a:xfrm>
            <a:off x="2583552" y="3549885"/>
            <a:ext cx="498837" cy="453963"/>
          </a:xfrm>
          <a:prstGeom prst="rect">
            <a:avLst/>
          </a:prstGeom>
        </p:spPr>
      </p:pic>
      <p:pic>
        <p:nvPicPr>
          <p:cNvPr id="5" name="Picture 4">
            <a:extLst>
              <a:ext uri="{FF2B5EF4-FFF2-40B4-BE49-F238E27FC236}">
                <a16:creationId xmlns:a16="http://schemas.microsoft.com/office/drawing/2014/main" id="{F50C3DD5-455C-49F1-B02F-9A87AC6A9F65}"/>
              </a:ext>
            </a:extLst>
          </p:cNvPr>
          <p:cNvPicPr>
            <a:picLocks noChangeAspect="1"/>
          </p:cNvPicPr>
          <p:nvPr/>
        </p:nvPicPr>
        <p:blipFill>
          <a:blip r:embed="rId4"/>
          <a:stretch>
            <a:fillRect/>
          </a:stretch>
        </p:blipFill>
        <p:spPr>
          <a:xfrm>
            <a:off x="3059448" y="2527298"/>
            <a:ext cx="674736" cy="675441"/>
          </a:xfrm>
          <a:prstGeom prst="rect">
            <a:avLst/>
          </a:prstGeom>
        </p:spPr>
      </p:pic>
      <p:sp>
        <p:nvSpPr>
          <p:cNvPr id="7" name="TextBox 6">
            <a:extLst>
              <a:ext uri="{FF2B5EF4-FFF2-40B4-BE49-F238E27FC236}">
                <a16:creationId xmlns:a16="http://schemas.microsoft.com/office/drawing/2014/main" id="{6A82BB4E-11B4-4C39-98F9-D374969BB930}"/>
              </a:ext>
            </a:extLst>
          </p:cNvPr>
          <p:cNvSpPr txBox="1"/>
          <p:nvPr/>
        </p:nvSpPr>
        <p:spPr>
          <a:xfrm>
            <a:off x="6436400" y="2590971"/>
            <a:ext cx="1504059"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57" name="TextBox 56">
            <a:extLst>
              <a:ext uri="{FF2B5EF4-FFF2-40B4-BE49-F238E27FC236}">
                <a16:creationId xmlns:a16="http://schemas.microsoft.com/office/drawing/2014/main" id="{0F75AF7E-43B3-46E0-92A4-4AE0E142DCA3}"/>
              </a:ext>
            </a:extLst>
          </p:cNvPr>
          <p:cNvSpPr txBox="1"/>
          <p:nvPr/>
        </p:nvSpPr>
        <p:spPr>
          <a:xfrm>
            <a:off x="6436400" y="3476835"/>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8" name="TextBox 57">
            <a:extLst>
              <a:ext uri="{FF2B5EF4-FFF2-40B4-BE49-F238E27FC236}">
                <a16:creationId xmlns:a16="http://schemas.microsoft.com/office/drawing/2014/main" id="{6BFE263E-AD7E-456B-9006-CE444E178FAA}"/>
              </a:ext>
            </a:extLst>
          </p:cNvPr>
          <p:cNvSpPr txBox="1"/>
          <p:nvPr/>
        </p:nvSpPr>
        <p:spPr>
          <a:xfrm>
            <a:off x="6436400" y="462572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59" name="TextBox 58">
            <a:extLst>
              <a:ext uri="{FF2B5EF4-FFF2-40B4-BE49-F238E27FC236}">
                <a16:creationId xmlns:a16="http://schemas.microsoft.com/office/drawing/2014/main" id="{6090125B-D98D-44A7-B998-1B2F0D50F25B}"/>
              </a:ext>
            </a:extLst>
          </p:cNvPr>
          <p:cNvSpPr txBox="1"/>
          <p:nvPr/>
        </p:nvSpPr>
        <p:spPr>
          <a:xfrm>
            <a:off x="6436400" y="5696646"/>
            <a:ext cx="3298319" cy="111415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2C6">
                    <a:lumMod val="50000"/>
                  </a:srgbClr>
                </a:solidFill>
                <a:effectLst/>
                <a:uLnTx/>
                <a:uFillTx/>
                <a:latin typeface="Segoe UI"/>
                <a:ea typeface="+mn-ea"/>
                <a:cs typeface="+mn-cs"/>
              </a:rPr>
              <a:t>99.99977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 = 0.9985</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1 - (1-0.9985) x (1-0.9985)) = 0.99999775</a:t>
            </a:r>
          </a:p>
        </p:txBody>
      </p:sp>
      <p:sp>
        <p:nvSpPr>
          <p:cNvPr id="63" name="TextBox 62">
            <a:extLst>
              <a:ext uri="{FF2B5EF4-FFF2-40B4-BE49-F238E27FC236}">
                <a16:creationId xmlns:a16="http://schemas.microsoft.com/office/drawing/2014/main" id="{EEBD1C1D-902D-4308-B01C-34E2AEC1D9CD}"/>
              </a:ext>
            </a:extLst>
          </p:cNvPr>
          <p:cNvSpPr txBox="1"/>
          <p:nvPr/>
        </p:nvSpPr>
        <p:spPr>
          <a:xfrm>
            <a:off x="2322733" y="1400987"/>
            <a:ext cx="3649054" cy="92640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72C6">
                    <a:lumMod val="50000"/>
                  </a:srgbClr>
                </a:solidFill>
                <a:effectLst/>
                <a:uLnTx/>
                <a:uFillTx/>
                <a:latin typeface="Segoe UI"/>
                <a:ea typeface="+mn-ea"/>
                <a:cs typeface="+mn-cs"/>
              </a:rPr>
              <a:t>99.949%</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0.9995 x 0.99999775 x 0.99999775 x 0.99999775 </a:t>
            </a:r>
          </a:p>
        </p:txBody>
      </p:sp>
      <p:sp>
        <p:nvSpPr>
          <p:cNvPr id="65" name="TextBox 64">
            <a:extLst>
              <a:ext uri="{FF2B5EF4-FFF2-40B4-BE49-F238E27FC236}">
                <a16:creationId xmlns:a16="http://schemas.microsoft.com/office/drawing/2014/main" id="{DD19D3BD-9896-47FC-B3EE-42918E8BFCC9}"/>
              </a:ext>
            </a:extLst>
          </p:cNvPr>
          <p:cNvSpPr txBox="1"/>
          <p:nvPr/>
        </p:nvSpPr>
        <p:spPr>
          <a:xfrm>
            <a:off x="2937108" y="3442281"/>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67" name="TextBox 66">
            <a:extLst>
              <a:ext uri="{FF2B5EF4-FFF2-40B4-BE49-F238E27FC236}">
                <a16:creationId xmlns:a16="http://schemas.microsoft.com/office/drawing/2014/main" id="{7F2E856B-AAD9-4B70-9546-085CD29EDE50}"/>
              </a:ext>
            </a:extLst>
          </p:cNvPr>
          <p:cNvSpPr txBox="1"/>
          <p:nvPr/>
        </p:nvSpPr>
        <p:spPr>
          <a:xfrm>
            <a:off x="4269590" y="2597960"/>
            <a:ext cx="150405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14" name="Picture 13">
            <a:extLst>
              <a:ext uri="{FF2B5EF4-FFF2-40B4-BE49-F238E27FC236}">
                <a16:creationId xmlns:a16="http://schemas.microsoft.com/office/drawing/2014/main" id="{FAB58C55-EDC8-4A28-9B81-EB366DD3F13B}"/>
              </a:ext>
            </a:extLst>
          </p:cNvPr>
          <p:cNvPicPr>
            <a:picLocks noChangeAspect="1"/>
          </p:cNvPicPr>
          <p:nvPr/>
        </p:nvPicPr>
        <p:blipFill>
          <a:blip r:embed="rId5"/>
          <a:stretch>
            <a:fillRect/>
          </a:stretch>
        </p:blipFill>
        <p:spPr>
          <a:xfrm>
            <a:off x="2621543" y="4110628"/>
            <a:ext cx="524013" cy="454620"/>
          </a:xfrm>
          <a:prstGeom prst="rect">
            <a:avLst/>
          </a:prstGeom>
        </p:spPr>
      </p:pic>
      <p:sp>
        <p:nvSpPr>
          <p:cNvPr id="68" name="TextBox 67">
            <a:extLst>
              <a:ext uri="{FF2B5EF4-FFF2-40B4-BE49-F238E27FC236}">
                <a16:creationId xmlns:a16="http://schemas.microsoft.com/office/drawing/2014/main" id="{60F901C9-A2B5-4CF8-981D-22E3B3243F97}"/>
              </a:ext>
            </a:extLst>
          </p:cNvPr>
          <p:cNvSpPr txBox="1"/>
          <p:nvPr/>
        </p:nvSpPr>
        <p:spPr>
          <a:xfrm>
            <a:off x="2962684" y="4028612"/>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0" name="TextBox 69">
            <a:extLst>
              <a:ext uri="{FF2B5EF4-FFF2-40B4-BE49-F238E27FC236}">
                <a16:creationId xmlns:a16="http://schemas.microsoft.com/office/drawing/2014/main" id="{280A8424-B930-4F88-AC3D-981937EA775A}"/>
              </a:ext>
            </a:extLst>
          </p:cNvPr>
          <p:cNvSpPr txBox="1"/>
          <p:nvPr/>
        </p:nvSpPr>
        <p:spPr>
          <a:xfrm>
            <a:off x="3247636" y="3721236"/>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1" name="Picture 70">
            <a:extLst>
              <a:ext uri="{FF2B5EF4-FFF2-40B4-BE49-F238E27FC236}">
                <a16:creationId xmlns:a16="http://schemas.microsoft.com/office/drawing/2014/main" id="{DD7ADCA7-1771-464E-ABFB-627E7E9D4BF8}"/>
              </a:ext>
            </a:extLst>
          </p:cNvPr>
          <p:cNvPicPr>
            <a:picLocks noChangeAspect="1"/>
          </p:cNvPicPr>
          <p:nvPr/>
        </p:nvPicPr>
        <p:blipFill>
          <a:blip r:embed="rId3"/>
          <a:stretch>
            <a:fillRect/>
          </a:stretch>
        </p:blipFill>
        <p:spPr>
          <a:xfrm>
            <a:off x="4422648" y="3548210"/>
            <a:ext cx="498837" cy="453963"/>
          </a:xfrm>
          <a:prstGeom prst="rect">
            <a:avLst/>
          </a:prstGeom>
        </p:spPr>
      </p:pic>
      <p:sp>
        <p:nvSpPr>
          <p:cNvPr id="72" name="TextBox 71">
            <a:extLst>
              <a:ext uri="{FF2B5EF4-FFF2-40B4-BE49-F238E27FC236}">
                <a16:creationId xmlns:a16="http://schemas.microsoft.com/office/drawing/2014/main" id="{E477013A-D802-4FE1-AE90-FD240AAB0E81}"/>
              </a:ext>
            </a:extLst>
          </p:cNvPr>
          <p:cNvSpPr txBox="1"/>
          <p:nvPr/>
        </p:nvSpPr>
        <p:spPr>
          <a:xfrm>
            <a:off x="4753430" y="3475495"/>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pic>
        <p:nvPicPr>
          <p:cNvPr id="73" name="Picture 72">
            <a:extLst>
              <a:ext uri="{FF2B5EF4-FFF2-40B4-BE49-F238E27FC236}">
                <a16:creationId xmlns:a16="http://schemas.microsoft.com/office/drawing/2014/main" id="{FB27966D-7D8F-45EF-B84F-85CB06B88FB2}"/>
              </a:ext>
            </a:extLst>
          </p:cNvPr>
          <p:cNvPicPr>
            <a:picLocks noChangeAspect="1"/>
          </p:cNvPicPr>
          <p:nvPr/>
        </p:nvPicPr>
        <p:blipFill>
          <a:blip r:embed="rId5"/>
          <a:stretch>
            <a:fillRect/>
          </a:stretch>
        </p:blipFill>
        <p:spPr>
          <a:xfrm>
            <a:off x="4460639" y="4108953"/>
            <a:ext cx="524013" cy="454620"/>
          </a:xfrm>
          <a:prstGeom prst="rect">
            <a:avLst/>
          </a:prstGeom>
        </p:spPr>
      </p:pic>
      <p:sp>
        <p:nvSpPr>
          <p:cNvPr id="74" name="TextBox 73">
            <a:extLst>
              <a:ext uri="{FF2B5EF4-FFF2-40B4-BE49-F238E27FC236}">
                <a16:creationId xmlns:a16="http://schemas.microsoft.com/office/drawing/2014/main" id="{75FDE521-C8E3-41C2-B034-50CF5032FEC0}"/>
              </a:ext>
            </a:extLst>
          </p:cNvPr>
          <p:cNvSpPr txBox="1"/>
          <p:nvPr/>
        </p:nvSpPr>
        <p:spPr>
          <a:xfrm>
            <a:off x="4852670" y="4037732"/>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75" name="TextBox 74">
            <a:extLst>
              <a:ext uri="{FF2B5EF4-FFF2-40B4-BE49-F238E27FC236}">
                <a16:creationId xmlns:a16="http://schemas.microsoft.com/office/drawing/2014/main" id="{46C70690-7A76-40CE-A96B-EBD8CE4659DB}"/>
              </a:ext>
            </a:extLst>
          </p:cNvPr>
          <p:cNvSpPr txBox="1"/>
          <p:nvPr/>
        </p:nvSpPr>
        <p:spPr>
          <a:xfrm>
            <a:off x="5130743" y="372187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pic>
        <p:nvPicPr>
          <p:cNvPr id="76" name="Picture 75">
            <a:extLst>
              <a:ext uri="{FF2B5EF4-FFF2-40B4-BE49-F238E27FC236}">
                <a16:creationId xmlns:a16="http://schemas.microsoft.com/office/drawing/2014/main" id="{A599BF19-C52E-4BEF-AED4-46FA19DC59A9}"/>
              </a:ext>
            </a:extLst>
          </p:cNvPr>
          <p:cNvPicPr>
            <a:picLocks noChangeAspect="1"/>
          </p:cNvPicPr>
          <p:nvPr/>
        </p:nvPicPr>
        <p:blipFill>
          <a:blip r:embed="rId4"/>
          <a:stretch>
            <a:fillRect/>
          </a:stretch>
        </p:blipFill>
        <p:spPr>
          <a:xfrm>
            <a:off x="3703166" y="2535617"/>
            <a:ext cx="674736" cy="675441"/>
          </a:xfrm>
          <a:prstGeom prst="rect">
            <a:avLst/>
          </a:prstGeom>
        </p:spPr>
      </p:pic>
      <p:pic>
        <p:nvPicPr>
          <p:cNvPr id="78" name="Picture 77">
            <a:extLst>
              <a:ext uri="{FF2B5EF4-FFF2-40B4-BE49-F238E27FC236}">
                <a16:creationId xmlns:a16="http://schemas.microsoft.com/office/drawing/2014/main" id="{864E52D4-3DD3-49DC-AF02-DF327AF2DD2F}"/>
              </a:ext>
            </a:extLst>
          </p:cNvPr>
          <p:cNvPicPr>
            <a:picLocks noChangeAspect="1"/>
          </p:cNvPicPr>
          <p:nvPr/>
        </p:nvPicPr>
        <p:blipFill>
          <a:blip r:embed="rId3"/>
          <a:stretch>
            <a:fillRect/>
          </a:stretch>
        </p:blipFill>
        <p:spPr>
          <a:xfrm>
            <a:off x="2583552" y="4692992"/>
            <a:ext cx="498837" cy="453963"/>
          </a:xfrm>
          <a:prstGeom prst="rect">
            <a:avLst/>
          </a:prstGeom>
        </p:spPr>
      </p:pic>
      <p:pic>
        <p:nvPicPr>
          <p:cNvPr id="81" name="Picture 80">
            <a:extLst>
              <a:ext uri="{FF2B5EF4-FFF2-40B4-BE49-F238E27FC236}">
                <a16:creationId xmlns:a16="http://schemas.microsoft.com/office/drawing/2014/main" id="{555470DF-D90D-47C8-A962-B6D74DEC9A07}"/>
              </a:ext>
            </a:extLst>
          </p:cNvPr>
          <p:cNvPicPr>
            <a:picLocks noChangeAspect="1"/>
          </p:cNvPicPr>
          <p:nvPr/>
        </p:nvPicPr>
        <p:blipFill>
          <a:blip r:embed="rId5"/>
          <a:stretch>
            <a:fillRect/>
          </a:stretch>
        </p:blipFill>
        <p:spPr>
          <a:xfrm>
            <a:off x="2621543" y="5253735"/>
            <a:ext cx="524013" cy="454620"/>
          </a:xfrm>
          <a:prstGeom prst="rect">
            <a:avLst/>
          </a:prstGeom>
        </p:spPr>
      </p:pic>
      <p:pic>
        <p:nvPicPr>
          <p:cNvPr id="84" name="Picture 83">
            <a:extLst>
              <a:ext uri="{FF2B5EF4-FFF2-40B4-BE49-F238E27FC236}">
                <a16:creationId xmlns:a16="http://schemas.microsoft.com/office/drawing/2014/main" id="{80B38156-2048-4694-B9CD-85915F8E221A}"/>
              </a:ext>
            </a:extLst>
          </p:cNvPr>
          <p:cNvPicPr>
            <a:picLocks noChangeAspect="1"/>
          </p:cNvPicPr>
          <p:nvPr/>
        </p:nvPicPr>
        <p:blipFill>
          <a:blip r:embed="rId3"/>
          <a:stretch>
            <a:fillRect/>
          </a:stretch>
        </p:blipFill>
        <p:spPr>
          <a:xfrm>
            <a:off x="4422648" y="4691317"/>
            <a:ext cx="498837" cy="453963"/>
          </a:xfrm>
          <a:prstGeom prst="rect">
            <a:avLst/>
          </a:prstGeom>
        </p:spPr>
      </p:pic>
      <p:pic>
        <p:nvPicPr>
          <p:cNvPr id="87" name="Picture 86">
            <a:extLst>
              <a:ext uri="{FF2B5EF4-FFF2-40B4-BE49-F238E27FC236}">
                <a16:creationId xmlns:a16="http://schemas.microsoft.com/office/drawing/2014/main" id="{63ECE758-D7B1-408B-9E2A-99D48B7D4259}"/>
              </a:ext>
            </a:extLst>
          </p:cNvPr>
          <p:cNvPicPr>
            <a:picLocks noChangeAspect="1"/>
          </p:cNvPicPr>
          <p:nvPr/>
        </p:nvPicPr>
        <p:blipFill>
          <a:blip r:embed="rId5"/>
          <a:stretch>
            <a:fillRect/>
          </a:stretch>
        </p:blipFill>
        <p:spPr>
          <a:xfrm>
            <a:off x="4460639" y="5252060"/>
            <a:ext cx="524013" cy="454620"/>
          </a:xfrm>
          <a:prstGeom prst="rect">
            <a:avLst/>
          </a:prstGeom>
        </p:spPr>
      </p:pic>
      <p:pic>
        <p:nvPicPr>
          <p:cNvPr id="89" name="Picture 88">
            <a:extLst>
              <a:ext uri="{FF2B5EF4-FFF2-40B4-BE49-F238E27FC236}">
                <a16:creationId xmlns:a16="http://schemas.microsoft.com/office/drawing/2014/main" id="{C7A4C993-38CA-46F4-B29D-68C34E36A75F}"/>
              </a:ext>
            </a:extLst>
          </p:cNvPr>
          <p:cNvPicPr>
            <a:picLocks noChangeAspect="1"/>
          </p:cNvPicPr>
          <p:nvPr/>
        </p:nvPicPr>
        <p:blipFill>
          <a:blip r:embed="rId3"/>
          <a:stretch>
            <a:fillRect/>
          </a:stretch>
        </p:blipFill>
        <p:spPr>
          <a:xfrm>
            <a:off x="2583552" y="5798714"/>
            <a:ext cx="498837" cy="453963"/>
          </a:xfrm>
          <a:prstGeom prst="rect">
            <a:avLst/>
          </a:prstGeom>
        </p:spPr>
      </p:pic>
      <p:pic>
        <p:nvPicPr>
          <p:cNvPr id="96" name="Picture 95">
            <a:extLst>
              <a:ext uri="{FF2B5EF4-FFF2-40B4-BE49-F238E27FC236}">
                <a16:creationId xmlns:a16="http://schemas.microsoft.com/office/drawing/2014/main" id="{07B57A1A-2211-4A43-8A92-2ADF587EFB4D}"/>
              </a:ext>
            </a:extLst>
          </p:cNvPr>
          <p:cNvPicPr>
            <a:picLocks noChangeAspect="1"/>
          </p:cNvPicPr>
          <p:nvPr/>
        </p:nvPicPr>
        <p:blipFill>
          <a:blip r:embed="rId5"/>
          <a:stretch>
            <a:fillRect/>
          </a:stretch>
        </p:blipFill>
        <p:spPr>
          <a:xfrm>
            <a:off x="2621543" y="6359457"/>
            <a:ext cx="524013" cy="454620"/>
          </a:xfrm>
          <a:prstGeom prst="rect">
            <a:avLst/>
          </a:prstGeom>
        </p:spPr>
      </p:pic>
      <p:pic>
        <p:nvPicPr>
          <p:cNvPr id="104" name="Picture 103">
            <a:extLst>
              <a:ext uri="{FF2B5EF4-FFF2-40B4-BE49-F238E27FC236}">
                <a16:creationId xmlns:a16="http://schemas.microsoft.com/office/drawing/2014/main" id="{15299F42-F8CA-4B2A-B4F5-0B22990A8FB9}"/>
              </a:ext>
            </a:extLst>
          </p:cNvPr>
          <p:cNvPicPr>
            <a:picLocks noChangeAspect="1"/>
          </p:cNvPicPr>
          <p:nvPr/>
        </p:nvPicPr>
        <p:blipFill>
          <a:blip r:embed="rId3"/>
          <a:stretch>
            <a:fillRect/>
          </a:stretch>
        </p:blipFill>
        <p:spPr>
          <a:xfrm>
            <a:off x="4422648" y="5797039"/>
            <a:ext cx="498837" cy="453963"/>
          </a:xfrm>
          <a:prstGeom prst="rect">
            <a:avLst/>
          </a:prstGeom>
        </p:spPr>
      </p:pic>
      <p:pic>
        <p:nvPicPr>
          <p:cNvPr id="107" name="Picture 106">
            <a:extLst>
              <a:ext uri="{FF2B5EF4-FFF2-40B4-BE49-F238E27FC236}">
                <a16:creationId xmlns:a16="http://schemas.microsoft.com/office/drawing/2014/main" id="{CD621336-2743-48FA-8629-482F28FA0F21}"/>
              </a:ext>
            </a:extLst>
          </p:cNvPr>
          <p:cNvPicPr>
            <a:picLocks noChangeAspect="1"/>
          </p:cNvPicPr>
          <p:nvPr/>
        </p:nvPicPr>
        <p:blipFill>
          <a:blip r:embed="rId5"/>
          <a:stretch>
            <a:fillRect/>
          </a:stretch>
        </p:blipFill>
        <p:spPr>
          <a:xfrm>
            <a:off x="4460639" y="6357782"/>
            <a:ext cx="524013" cy="454620"/>
          </a:xfrm>
          <a:prstGeom prst="rect">
            <a:avLst/>
          </a:prstGeom>
        </p:spPr>
      </p:pic>
      <p:sp>
        <p:nvSpPr>
          <p:cNvPr id="113" name="TextBox 112">
            <a:extLst>
              <a:ext uri="{FF2B5EF4-FFF2-40B4-BE49-F238E27FC236}">
                <a16:creationId xmlns:a16="http://schemas.microsoft.com/office/drawing/2014/main" id="{34095492-FE2A-48E6-85E4-BC6C934F8C73}"/>
              </a:ext>
            </a:extLst>
          </p:cNvPr>
          <p:cNvSpPr txBox="1"/>
          <p:nvPr/>
        </p:nvSpPr>
        <p:spPr>
          <a:xfrm>
            <a:off x="375599" y="1289717"/>
            <a:ext cx="2016806" cy="11480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Composit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SLA</a:t>
            </a:r>
          </a:p>
        </p:txBody>
      </p:sp>
      <p:cxnSp>
        <p:nvCxnSpPr>
          <p:cNvPr id="19" name="Straight Connector 18">
            <a:extLst>
              <a:ext uri="{FF2B5EF4-FFF2-40B4-BE49-F238E27FC236}">
                <a16:creationId xmlns:a16="http://schemas.microsoft.com/office/drawing/2014/main" id="{FD018253-1867-41C8-8F85-F7290DCF936F}"/>
              </a:ext>
            </a:extLst>
          </p:cNvPr>
          <p:cNvCxnSpPr/>
          <p:nvPr/>
        </p:nvCxnSpPr>
        <p:spPr>
          <a:xfrm>
            <a:off x="2322733" y="1509112"/>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2F0CD416-486C-4635-BBFB-913E25ECB2A3}"/>
              </a:ext>
            </a:extLst>
          </p:cNvPr>
          <p:cNvPicPr>
            <a:picLocks noChangeAspect="1"/>
          </p:cNvPicPr>
          <p:nvPr/>
        </p:nvPicPr>
        <p:blipFill>
          <a:blip r:embed="rId6"/>
          <a:stretch>
            <a:fillRect/>
          </a:stretch>
        </p:blipFill>
        <p:spPr>
          <a:xfrm>
            <a:off x="1574307" y="3622203"/>
            <a:ext cx="517725" cy="528233"/>
          </a:xfrm>
          <a:prstGeom prst="rect">
            <a:avLst/>
          </a:prstGeom>
        </p:spPr>
      </p:pic>
      <p:cxnSp>
        <p:nvCxnSpPr>
          <p:cNvPr id="127" name="Straight Connector 126">
            <a:extLst>
              <a:ext uri="{FF2B5EF4-FFF2-40B4-BE49-F238E27FC236}">
                <a16:creationId xmlns:a16="http://schemas.microsoft.com/office/drawing/2014/main" id="{34B8A153-F2A3-4CBA-A23F-D7F363872302}"/>
              </a:ext>
            </a:extLst>
          </p:cNvPr>
          <p:cNvCxnSpPr/>
          <p:nvPr/>
        </p:nvCxnSpPr>
        <p:spPr>
          <a:xfrm>
            <a:off x="2322733" y="3700770"/>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F89880D-848C-4568-A12B-6C0AB584FBE0}"/>
              </a:ext>
            </a:extLst>
          </p:cNvPr>
          <p:cNvSpPr txBox="1"/>
          <p:nvPr/>
        </p:nvSpPr>
        <p:spPr>
          <a:xfrm>
            <a:off x="1355301" y="4032669"/>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128" name="Picture 127">
            <a:extLst>
              <a:ext uri="{FF2B5EF4-FFF2-40B4-BE49-F238E27FC236}">
                <a16:creationId xmlns:a16="http://schemas.microsoft.com/office/drawing/2014/main" id="{06A11307-DFF8-43EB-9191-221A084CD00B}"/>
              </a:ext>
            </a:extLst>
          </p:cNvPr>
          <p:cNvPicPr>
            <a:picLocks noChangeAspect="1"/>
          </p:cNvPicPr>
          <p:nvPr/>
        </p:nvPicPr>
        <p:blipFill>
          <a:blip r:embed="rId6"/>
          <a:stretch>
            <a:fillRect/>
          </a:stretch>
        </p:blipFill>
        <p:spPr>
          <a:xfrm>
            <a:off x="1574307" y="4734814"/>
            <a:ext cx="517725" cy="528233"/>
          </a:xfrm>
          <a:prstGeom prst="rect">
            <a:avLst/>
          </a:prstGeom>
        </p:spPr>
      </p:pic>
      <p:cxnSp>
        <p:nvCxnSpPr>
          <p:cNvPr id="129" name="Straight Connector 128">
            <a:extLst>
              <a:ext uri="{FF2B5EF4-FFF2-40B4-BE49-F238E27FC236}">
                <a16:creationId xmlns:a16="http://schemas.microsoft.com/office/drawing/2014/main" id="{C0980BE5-6162-4531-A2AE-D4445D33ED22}"/>
              </a:ext>
            </a:extLst>
          </p:cNvPr>
          <p:cNvCxnSpPr/>
          <p:nvPr/>
        </p:nvCxnSpPr>
        <p:spPr>
          <a:xfrm>
            <a:off x="2328551" y="4831721"/>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59C64B1A-3A2F-45F8-9217-2C93E2E96643}"/>
              </a:ext>
            </a:extLst>
          </p:cNvPr>
          <p:cNvSpPr txBox="1"/>
          <p:nvPr/>
        </p:nvSpPr>
        <p:spPr>
          <a:xfrm>
            <a:off x="1355301" y="5145280"/>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VM Scale Set</a:t>
            </a:r>
          </a:p>
        </p:txBody>
      </p:sp>
      <p:pic>
        <p:nvPicPr>
          <p:cNvPr id="24" name="Picture 23">
            <a:extLst>
              <a:ext uri="{FF2B5EF4-FFF2-40B4-BE49-F238E27FC236}">
                <a16:creationId xmlns:a16="http://schemas.microsoft.com/office/drawing/2014/main" id="{FF6329B9-0AFC-434E-9760-9F12AC7C57CF}"/>
              </a:ext>
            </a:extLst>
          </p:cNvPr>
          <p:cNvPicPr>
            <a:picLocks noChangeAspect="1"/>
          </p:cNvPicPr>
          <p:nvPr/>
        </p:nvPicPr>
        <p:blipFill>
          <a:blip r:embed="rId7"/>
          <a:stretch>
            <a:fillRect/>
          </a:stretch>
        </p:blipFill>
        <p:spPr>
          <a:xfrm>
            <a:off x="1546114" y="5953097"/>
            <a:ext cx="328556" cy="299000"/>
          </a:xfrm>
          <a:prstGeom prst="rect">
            <a:avLst/>
          </a:prstGeom>
        </p:spPr>
      </p:pic>
      <p:pic>
        <p:nvPicPr>
          <p:cNvPr id="132" name="Picture 131">
            <a:extLst>
              <a:ext uri="{FF2B5EF4-FFF2-40B4-BE49-F238E27FC236}">
                <a16:creationId xmlns:a16="http://schemas.microsoft.com/office/drawing/2014/main" id="{48D2CA2D-6BE3-493A-B5B0-B8D55A749F43}"/>
              </a:ext>
            </a:extLst>
          </p:cNvPr>
          <p:cNvPicPr>
            <a:picLocks noChangeAspect="1"/>
          </p:cNvPicPr>
          <p:nvPr/>
        </p:nvPicPr>
        <p:blipFill>
          <a:blip r:embed="rId7"/>
          <a:stretch>
            <a:fillRect/>
          </a:stretch>
        </p:blipFill>
        <p:spPr>
          <a:xfrm>
            <a:off x="1874670" y="5950800"/>
            <a:ext cx="328556" cy="299000"/>
          </a:xfrm>
          <a:prstGeom prst="rect">
            <a:avLst/>
          </a:prstGeom>
        </p:spPr>
      </p:pic>
      <p:sp>
        <p:nvSpPr>
          <p:cNvPr id="133" name="TextBox 132">
            <a:extLst>
              <a:ext uri="{FF2B5EF4-FFF2-40B4-BE49-F238E27FC236}">
                <a16:creationId xmlns:a16="http://schemas.microsoft.com/office/drawing/2014/main" id="{7BD41323-445A-4B9C-ABFB-BBF6B704819F}"/>
              </a:ext>
            </a:extLst>
          </p:cNvPr>
          <p:cNvSpPr txBox="1"/>
          <p:nvPr/>
        </p:nvSpPr>
        <p:spPr>
          <a:xfrm>
            <a:off x="1355301" y="6129310"/>
            <a:ext cx="103358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2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134" name="Straight Connector 133">
            <a:extLst>
              <a:ext uri="{FF2B5EF4-FFF2-40B4-BE49-F238E27FC236}">
                <a16:creationId xmlns:a16="http://schemas.microsoft.com/office/drawing/2014/main" id="{E370BEF9-775A-4B3D-9D15-909ED6B435DE}"/>
              </a:ext>
            </a:extLst>
          </p:cNvPr>
          <p:cNvCxnSpPr/>
          <p:nvPr/>
        </p:nvCxnSpPr>
        <p:spPr>
          <a:xfrm>
            <a:off x="2322733" y="5942254"/>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FDDCA16-A674-4128-8B6B-7DC204A9B349}"/>
              </a:ext>
            </a:extLst>
          </p:cNvPr>
          <p:cNvCxnSpPr/>
          <p:nvPr/>
        </p:nvCxnSpPr>
        <p:spPr>
          <a:xfrm>
            <a:off x="2322733" y="2566767"/>
            <a:ext cx="0" cy="649480"/>
          </a:xfrm>
          <a:prstGeom prst="line">
            <a:avLst/>
          </a:prstGeom>
          <a:ln w="28575">
            <a:solidFill>
              <a:schemeClr val="tx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6" name="Picture 135">
            <a:extLst>
              <a:ext uri="{FF2B5EF4-FFF2-40B4-BE49-F238E27FC236}">
                <a16:creationId xmlns:a16="http://schemas.microsoft.com/office/drawing/2014/main" id="{C13FC1AC-A646-4341-AA0D-906018E8DBB6}"/>
              </a:ext>
            </a:extLst>
          </p:cNvPr>
          <p:cNvPicPr>
            <a:picLocks noChangeAspect="1"/>
          </p:cNvPicPr>
          <p:nvPr/>
        </p:nvPicPr>
        <p:blipFill>
          <a:blip r:embed="rId4"/>
          <a:stretch>
            <a:fillRect/>
          </a:stretch>
        </p:blipFill>
        <p:spPr>
          <a:xfrm>
            <a:off x="1571533" y="2425528"/>
            <a:ext cx="595134" cy="595756"/>
          </a:xfrm>
          <a:prstGeom prst="rect">
            <a:avLst/>
          </a:prstGeom>
        </p:spPr>
      </p:pic>
      <p:sp>
        <p:nvSpPr>
          <p:cNvPr id="137" name="TextBox 136">
            <a:extLst>
              <a:ext uri="{FF2B5EF4-FFF2-40B4-BE49-F238E27FC236}">
                <a16:creationId xmlns:a16="http://schemas.microsoft.com/office/drawing/2014/main" id="{3B666747-CFF6-43A2-B223-533767A2F97E}"/>
              </a:ext>
            </a:extLst>
          </p:cNvPr>
          <p:cNvSpPr txBox="1"/>
          <p:nvPr/>
        </p:nvSpPr>
        <p:spPr>
          <a:xfrm>
            <a:off x="1355301" y="2912206"/>
            <a:ext cx="96743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grpSp>
        <p:nvGrpSpPr>
          <p:cNvPr id="29" name="Group 28">
            <a:extLst>
              <a:ext uri="{FF2B5EF4-FFF2-40B4-BE49-F238E27FC236}">
                <a16:creationId xmlns:a16="http://schemas.microsoft.com/office/drawing/2014/main" id="{314C2CD2-37B3-4308-930D-F6DBB4F6B5F6}"/>
              </a:ext>
            </a:extLst>
          </p:cNvPr>
          <p:cNvGrpSpPr/>
          <p:nvPr/>
        </p:nvGrpSpPr>
        <p:grpSpPr>
          <a:xfrm>
            <a:off x="9880468" y="2873337"/>
            <a:ext cx="2443037" cy="3154110"/>
            <a:chOff x="9734719" y="1991171"/>
            <a:chExt cx="2443037" cy="3154110"/>
          </a:xfrm>
        </p:grpSpPr>
        <p:sp>
          <p:nvSpPr>
            <p:cNvPr id="25" name="Rectangle 24">
              <a:extLst>
                <a:ext uri="{FF2B5EF4-FFF2-40B4-BE49-F238E27FC236}">
                  <a16:creationId xmlns:a16="http://schemas.microsoft.com/office/drawing/2014/main" id="{C7BD7996-0E62-4BE7-B425-F140A23D87ED}"/>
                </a:ext>
              </a:extLst>
            </p:cNvPr>
            <p:cNvSpPr/>
            <p:nvPr/>
          </p:nvSpPr>
          <p:spPr bwMode="auto">
            <a:xfrm>
              <a:off x="9734719" y="1991171"/>
              <a:ext cx="2434492" cy="3154110"/>
            </a:xfrm>
            <a:prstGeom prst="rect">
              <a:avLst/>
            </a:prstGeom>
            <a:solidFill>
              <a:srgbClr val="CBD6F0"/>
            </a:solidFill>
            <a:ln>
              <a:solidFill>
                <a:schemeClr val="tx1">
                  <a:lumMod val="40000"/>
                  <a:lumOff val="6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TextBox 137">
              <a:extLst>
                <a:ext uri="{FF2B5EF4-FFF2-40B4-BE49-F238E27FC236}">
                  <a16:creationId xmlns:a16="http://schemas.microsoft.com/office/drawing/2014/main" id="{5B2FDD89-05FB-4268-A375-90A2A71610E9}"/>
                </a:ext>
              </a:extLst>
            </p:cNvPr>
            <p:cNvSpPr txBox="1"/>
            <p:nvPr/>
          </p:nvSpPr>
          <p:spPr>
            <a:xfrm>
              <a:off x="9734719" y="1997458"/>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System Availability</a:t>
              </a:r>
            </a:p>
          </p:txBody>
        </p:sp>
        <p:pic>
          <p:nvPicPr>
            <p:cNvPr id="26" name="Picture 25">
              <a:extLst>
                <a:ext uri="{FF2B5EF4-FFF2-40B4-BE49-F238E27FC236}">
                  <a16:creationId xmlns:a16="http://schemas.microsoft.com/office/drawing/2014/main" id="{855F9E5E-8A31-46FE-8EE5-92A54BBC232C}"/>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42247" y="2866933"/>
              <a:ext cx="2219433" cy="367060"/>
            </a:xfrm>
            <a:prstGeom prst="rect">
              <a:avLst/>
            </a:prstGeom>
          </p:spPr>
        </p:pic>
        <p:sp>
          <p:nvSpPr>
            <p:cNvPr id="139" name="TextBox 138">
              <a:extLst>
                <a:ext uri="{FF2B5EF4-FFF2-40B4-BE49-F238E27FC236}">
                  <a16:creationId xmlns:a16="http://schemas.microsoft.com/office/drawing/2014/main" id="{3175332A-2E40-4372-8E73-64018A709637}"/>
                </a:ext>
              </a:extLst>
            </p:cNvPr>
            <p:cNvSpPr txBox="1"/>
            <p:nvPr/>
          </p:nvSpPr>
          <p:spPr>
            <a:xfrm>
              <a:off x="9734719" y="3603310"/>
              <a:ext cx="2434491" cy="9602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lumMod val="50000"/>
                    </a:srgbClr>
                  </a:solidFill>
                  <a:effectLst/>
                  <a:uLnTx/>
                  <a:uFillTx/>
                  <a:latin typeface="Segoe UI"/>
                  <a:ea typeface="+mn-ea"/>
                  <a:cs typeface="+mn-cs"/>
                </a:rPr>
                <a:t>Dual Modular Redundancy</a:t>
              </a:r>
            </a:p>
          </p:txBody>
        </p:sp>
        <p:pic>
          <p:nvPicPr>
            <p:cNvPr id="27" name="Picture 26">
              <a:extLst>
                <a:ext uri="{FF2B5EF4-FFF2-40B4-BE49-F238E27FC236}">
                  <a16:creationId xmlns:a16="http://schemas.microsoft.com/office/drawing/2014/main" id="{774B5FAB-5D5F-456B-9C1A-954CB0EC3FDE}"/>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37439" y="4547873"/>
              <a:ext cx="2440317" cy="281806"/>
            </a:xfrm>
            <a:prstGeom prst="rect">
              <a:avLst/>
            </a:prstGeom>
          </p:spPr>
        </p:pic>
        <p:cxnSp>
          <p:nvCxnSpPr>
            <p:cNvPr id="140" name="Straight Connector 139">
              <a:extLst>
                <a:ext uri="{FF2B5EF4-FFF2-40B4-BE49-F238E27FC236}">
                  <a16:creationId xmlns:a16="http://schemas.microsoft.com/office/drawing/2014/main" id="{59FAD8B1-9452-4A13-AD6D-84DC1474D1E5}"/>
                </a:ext>
              </a:extLst>
            </p:cNvPr>
            <p:cNvCxnSpPr>
              <a:cxnSpLocks/>
            </p:cNvCxnSpPr>
            <p:nvPr/>
          </p:nvCxnSpPr>
          <p:spPr>
            <a:xfrm>
              <a:off x="9961249" y="3454080"/>
              <a:ext cx="1960134"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C171DE8D-80DD-4CAF-94B6-17BFE9996FE0}"/>
              </a:ext>
            </a:extLst>
          </p:cNvPr>
          <p:cNvSpPr txBox="1"/>
          <p:nvPr/>
        </p:nvSpPr>
        <p:spPr>
          <a:xfrm>
            <a:off x="2955632" y="4620603"/>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79" name="TextBox 78">
            <a:extLst>
              <a:ext uri="{FF2B5EF4-FFF2-40B4-BE49-F238E27FC236}">
                <a16:creationId xmlns:a16="http://schemas.microsoft.com/office/drawing/2014/main" id="{6F3D95D1-EC5E-434C-87A5-69AC178B5E86}"/>
              </a:ext>
            </a:extLst>
          </p:cNvPr>
          <p:cNvSpPr txBox="1"/>
          <p:nvPr/>
        </p:nvSpPr>
        <p:spPr>
          <a:xfrm>
            <a:off x="2981208" y="5206934"/>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0" name="TextBox 79">
            <a:extLst>
              <a:ext uri="{FF2B5EF4-FFF2-40B4-BE49-F238E27FC236}">
                <a16:creationId xmlns:a16="http://schemas.microsoft.com/office/drawing/2014/main" id="{F1A864C0-668B-4E5F-A38D-9C8750119498}"/>
              </a:ext>
            </a:extLst>
          </p:cNvPr>
          <p:cNvSpPr txBox="1"/>
          <p:nvPr/>
        </p:nvSpPr>
        <p:spPr>
          <a:xfrm>
            <a:off x="3266160" y="489955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2" name="TextBox 81">
            <a:extLst>
              <a:ext uri="{FF2B5EF4-FFF2-40B4-BE49-F238E27FC236}">
                <a16:creationId xmlns:a16="http://schemas.microsoft.com/office/drawing/2014/main" id="{6580A412-5D2D-4E18-991F-85843237B506}"/>
              </a:ext>
            </a:extLst>
          </p:cNvPr>
          <p:cNvSpPr txBox="1"/>
          <p:nvPr/>
        </p:nvSpPr>
        <p:spPr>
          <a:xfrm>
            <a:off x="4771954" y="4653817"/>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3" name="TextBox 82">
            <a:extLst>
              <a:ext uri="{FF2B5EF4-FFF2-40B4-BE49-F238E27FC236}">
                <a16:creationId xmlns:a16="http://schemas.microsoft.com/office/drawing/2014/main" id="{35BF6281-858C-4204-9039-23A4725F88ED}"/>
              </a:ext>
            </a:extLst>
          </p:cNvPr>
          <p:cNvSpPr txBox="1"/>
          <p:nvPr/>
        </p:nvSpPr>
        <p:spPr>
          <a:xfrm>
            <a:off x="4871194" y="5216054"/>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85" name="TextBox 84">
            <a:extLst>
              <a:ext uri="{FF2B5EF4-FFF2-40B4-BE49-F238E27FC236}">
                <a16:creationId xmlns:a16="http://schemas.microsoft.com/office/drawing/2014/main" id="{BA6B3323-305D-4976-B614-A70FE11752AE}"/>
              </a:ext>
            </a:extLst>
          </p:cNvPr>
          <p:cNvSpPr txBox="1"/>
          <p:nvPr/>
        </p:nvSpPr>
        <p:spPr>
          <a:xfrm>
            <a:off x="5149267" y="4900199"/>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86" name="TextBox 85">
            <a:extLst>
              <a:ext uri="{FF2B5EF4-FFF2-40B4-BE49-F238E27FC236}">
                <a16:creationId xmlns:a16="http://schemas.microsoft.com/office/drawing/2014/main" id="{0745EC59-F14D-4A4F-8131-AB3636AC824C}"/>
              </a:ext>
            </a:extLst>
          </p:cNvPr>
          <p:cNvSpPr txBox="1"/>
          <p:nvPr/>
        </p:nvSpPr>
        <p:spPr>
          <a:xfrm>
            <a:off x="2959175" y="5715002"/>
            <a:ext cx="949009"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88" name="TextBox 87">
            <a:extLst>
              <a:ext uri="{FF2B5EF4-FFF2-40B4-BE49-F238E27FC236}">
                <a16:creationId xmlns:a16="http://schemas.microsoft.com/office/drawing/2014/main" id="{44A7E7EE-56CA-4542-BBCB-2DFF9C370F1D}"/>
              </a:ext>
            </a:extLst>
          </p:cNvPr>
          <p:cNvSpPr txBox="1"/>
          <p:nvPr/>
        </p:nvSpPr>
        <p:spPr>
          <a:xfrm>
            <a:off x="2984751" y="6301333"/>
            <a:ext cx="893580"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0" name="TextBox 89">
            <a:extLst>
              <a:ext uri="{FF2B5EF4-FFF2-40B4-BE49-F238E27FC236}">
                <a16:creationId xmlns:a16="http://schemas.microsoft.com/office/drawing/2014/main" id="{59175FB3-F7DB-4834-9034-C95C67A495B6}"/>
              </a:ext>
            </a:extLst>
          </p:cNvPr>
          <p:cNvSpPr txBox="1"/>
          <p:nvPr/>
        </p:nvSpPr>
        <p:spPr>
          <a:xfrm>
            <a:off x="3269703" y="5993957"/>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94" name="TextBox 93">
            <a:extLst>
              <a:ext uri="{FF2B5EF4-FFF2-40B4-BE49-F238E27FC236}">
                <a16:creationId xmlns:a16="http://schemas.microsoft.com/office/drawing/2014/main" id="{B1862EF9-C784-44D0-AF65-A6761BEF57A2}"/>
              </a:ext>
            </a:extLst>
          </p:cNvPr>
          <p:cNvSpPr txBox="1"/>
          <p:nvPr/>
        </p:nvSpPr>
        <p:spPr>
          <a:xfrm>
            <a:off x="4775497" y="5748216"/>
            <a:ext cx="997445"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5%</a:t>
            </a:r>
          </a:p>
        </p:txBody>
      </p:sp>
      <p:sp>
        <p:nvSpPr>
          <p:cNvPr id="95" name="TextBox 94">
            <a:extLst>
              <a:ext uri="{FF2B5EF4-FFF2-40B4-BE49-F238E27FC236}">
                <a16:creationId xmlns:a16="http://schemas.microsoft.com/office/drawing/2014/main" id="{7146B943-530B-4AD0-9B32-49BA849F9601}"/>
              </a:ext>
            </a:extLst>
          </p:cNvPr>
          <p:cNvSpPr txBox="1"/>
          <p:nvPr/>
        </p:nvSpPr>
        <p:spPr>
          <a:xfrm>
            <a:off x="4874737" y="6310453"/>
            <a:ext cx="897441" cy="489365"/>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99.9%</a:t>
            </a:r>
          </a:p>
        </p:txBody>
      </p:sp>
      <p:sp>
        <p:nvSpPr>
          <p:cNvPr id="97" name="TextBox 96">
            <a:extLst>
              <a:ext uri="{FF2B5EF4-FFF2-40B4-BE49-F238E27FC236}">
                <a16:creationId xmlns:a16="http://schemas.microsoft.com/office/drawing/2014/main" id="{B60DB4B7-F871-401A-A615-425DF507A542}"/>
              </a:ext>
            </a:extLst>
          </p:cNvPr>
          <p:cNvSpPr txBox="1"/>
          <p:nvPr/>
        </p:nvSpPr>
        <p:spPr>
          <a:xfrm>
            <a:off x="5152810" y="5994598"/>
            <a:ext cx="48599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Light"/>
                <a:ea typeface="+mn-ea"/>
                <a:cs typeface="+mn-cs"/>
              </a:rPr>
              <a:t>x</a:t>
            </a:r>
          </a:p>
        </p:txBody>
      </p:sp>
      <p:sp>
        <p:nvSpPr>
          <p:cNvPr id="3" name="Rectangle 2">
            <a:extLst>
              <a:ext uri="{FF2B5EF4-FFF2-40B4-BE49-F238E27FC236}">
                <a16:creationId xmlns:a16="http://schemas.microsoft.com/office/drawing/2014/main" id="{DB96EFFD-06F6-412E-A7D6-A3E5CB3995D0}"/>
              </a:ext>
            </a:extLst>
          </p:cNvPr>
          <p:cNvSpPr/>
          <p:nvPr/>
        </p:nvSpPr>
        <p:spPr bwMode="auto">
          <a:xfrm>
            <a:off x="9771825" y="2793014"/>
            <a:ext cx="2664650" cy="34113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4894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fade">
                                      <p:cBhvr>
                                        <p:cTn id="19" dur="500"/>
                                        <p:tgtEl>
                                          <p:spTgt spid="91"/>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10" presetClass="entr" presetSubtype="0"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4"/>
                                        </p:tgtEl>
                                        <p:attrNameLst>
                                          <p:attrName>style.visibility</p:attrName>
                                        </p:attrNameLst>
                                      </p:cBhvr>
                                      <p:to>
                                        <p:strVal val="visible"/>
                                      </p:to>
                                    </p:set>
                                    <p:animEffect transition="in" filter="fade">
                                      <p:cBhvr>
                                        <p:cTn id="46" dur="500"/>
                                        <p:tgtEl>
                                          <p:spTgt spid="7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animEffect transition="in" filter="fade">
                                      <p:cBhvr>
                                        <p:cTn id="49" dur="500"/>
                                        <p:tgtEl>
                                          <p:spTgt spid="75"/>
                                        </p:tgtEl>
                                      </p:cBhvr>
                                    </p:animEffect>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0"/>
                                  </p:stCondLst>
                                  <p:childTnLst>
                                    <p:set>
                                      <p:cBhvr>
                                        <p:cTn id="54" dur="1" fill="hold">
                                          <p:stCondLst>
                                            <p:cond delay="0"/>
                                          </p:stCondLst>
                                        </p:cTn>
                                        <p:tgtEl>
                                          <p:spTgt spid="127"/>
                                        </p:tgtEl>
                                        <p:attrNameLst>
                                          <p:attrName>style.visibility</p:attrName>
                                        </p:attrNameLst>
                                      </p:cBhvr>
                                      <p:to>
                                        <p:strVal val="visible"/>
                                      </p:to>
                                    </p:set>
                                    <p:animEffect transition="in" filter="fade">
                                      <p:cBhvr>
                                        <p:cTn id="55" dur="500"/>
                                        <p:tgtEl>
                                          <p:spTgt spid="12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500"/>
                                        <p:tgtEl>
                                          <p:spTgt spid="57"/>
                                        </p:tgtEl>
                                      </p:cBhvr>
                                    </p:animEffect>
                                  </p:childTnLst>
                                </p:cTn>
                              </p:par>
                              <p:par>
                                <p:cTn id="64" presetID="1" presetClass="exit" presetSubtype="0" fill="hold" grpId="0" nodeType="withEffect">
                                  <p:stCondLst>
                                    <p:cond delay="0"/>
                                  </p:stCondLst>
                                  <p:childTnLst>
                                    <p:set>
                                      <p:cBhvr>
                                        <p:cTn id="65" dur="1" fill="hold">
                                          <p:stCondLst>
                                            <p:cond delay="0"/>
                                          </p:stCondLst>
                                        </p:cTn>
                                        <p:tgtEl>
                                          <p:spTgt spid="3"/>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Effect transition="in" filter="fade">
                                      <p:cBhvr>
                                        <p:cTn id="76" dur="500"/>
                                        <p:tgtEl>
                                          <p:spTgt spid="9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3"/>
                                        </p:tgtEl>
                                        <p:attrNameLst>
                                          <p:attrName>style.visibility</p:attrName>
                                        </p:attrNameLst>
                                      </p:cBhvr>
                                      <p:to>
                                        <p:strVal val="visible"/>
                                      </p:to>
                                    </p:set>
                                    <p:animEffect transition="in" filter="fade">
                                      <p:cBhvr>
                                        <p:cTn id="79" dur="500"/>
                                        <p:tgtEl>
                                          <p:spTgt spid="9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8"/>
                                        </p:tgtEl>
                                        <p:attrNameLst>
                                          <p:attrName>style.visibility</p:attrName>
                                        </p:attrNameLst>
                                      </p:cBhvr>
                                      <p:to>
                                        <p:strVal val="visible"/>
                                      </p:to>
                                    </p:set>
                                    <p:animEffect transition="in" filter="fade">
                                      <p:cBhvr>
                                        <p:cTn id="82" dur="500"/>
                                        <p:tgtEl>
                                          <p:spTgt spid="5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fade">
                                      <p:cBhvr>
                                        <p:cTn id="85" dur="500"/>
                                        <p:tgtEl>
                                          <p:spTgt spid="59"/>
                                        </p:tgtEl>
                                      </p:cBhvr>
                                    </p:animEffect>
                                  </p:childTnLst>
                                </p:cTn>
                              </p:par>
                              <p:par>
                                <p:cTn id="86" presetID="10" presetClass="entr" presetSubtype="0" fill="hold"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par>
                                <p:cTn id="89" presetID="10" presetClass="entr" presetSubtype="0" fill="hold" nodeType="withEffect">
                                  <p:stCondLst>
                                    <p:cond delay="0"/>
                                  </p:stCondLst>
                                  <p:childTnLst>
                                    <p:set>
                                      <p:cBhvr>
                                        <p:cTn id="90" dur="1" fill="hold">
                                          <p:stCondLst>
                                            <p:cond delay="0"/>
                                          </p:stCondLst>
                                        </p:cTn>
                                        <p:tgtEl>
                                          <p:spTgt spid="81"/>
                                        </p:tgtEl>
                                        <p:attrNameLst>
                                          <p:attrName>style.visibility</p:attrName>
                                        </p:attrNameLst>
                                      </p:cBhvr>
                                      <p:to>
                                        <p:strVal val="visible"/>
                                      </p:to>
                                    </p:set>
                                    <p:animEffect transition="in" filter="fade">
                                      <p:cBhvr>
                                        <p:cTn id="91" dur="500"/>
                                        <p:tgtEl>
                                          <p:spTgt spid="81"/>
                                        </p:tgtEl>
                                      </p:cBhvr>
                                    </p:animEffect>
                                  </p:childTnLst>
                                </p:cTn>
                              </p:par>
                              <p:par>
                                <p:cTn id="92" presetID="10" presetClass="entr" presetSubtype="0" fill="hold" nodeType="withEffect">
                                  <p:stCondLst>
                                    <p:cond delay="0"/>
                                  </p:stCondLst>
                                  <p:childTnLst>
                                    <p:set>
                                      <p:cBhvr>
                                        <p:cTn id="93" dur="1" fill="hold">
                                          <p:stCondLst>
                                            <p:cond delay="0"/>
                                          </p:stCondLst>
                                        </p:cTn>
                                        <p:tgtEl>
                                          <p:spTgt spid="84"/>
                                        </p:tgtEl>
                                        <p:attrNameLst>
                                          <p:attrName>style.visibility</p:attrName>
                                        </p:attrNameLst>
                                      </p:cBhvr>
                                      <p:to>
                                        <p:strVal val="visible"/>
                                      </p:to>
                                    </p:set>
                                    <p:animEffect transition="in" filter="fade">
                                      <p:cBhvr>
                                        <p:cTn id="94" dur="500"/>
                                        <p:tgtEl>
                                          <p:spTgt spid="84"/>
                                        </p:tgtEl>
                                      </p:cBhvr>
                                    </p:animEffect>
                                  </p:childTnLst>
                                </p:cTn>
                              </p:par>
                              <p:par>
                                <p:cTn id="95" presetID="10" presetClass="entr" presetSubtype="0" fill="hold" nodeType="withEffect">
                                  <p:stCondLst>
                                    <p:cond delay="0"/>
                                  </p:stCondLst>
                                  <p:childTnLst>
                                    <p:set>
                                      <p:cBhvr>
                                        <p:cTn id="96" dur="1" fill="hold">
                                          <p:stCondLst>
                                            <p:cond delay="0"/>
                                          </p:stCondLst>
                                        </p:cTn>
                                        <p:tgtEl>
                                          <p:spTgt spid="87"/>
                                        </p:tgtEl>
                                        <p:attrNameLst>
                                          <p:attrName>style.visibility</p:attrName>
                                        </p:attrNameLst>
                                      </p:cBhvr>
                                      <p:to>
                                        <p:strVal val="visible"/>
                                      </p:to>
                                    </p:set>
                                    <p:animEffect transition="in" filter="fade">
                                      <p:cBhvr>
                                        <p:cTn id="97" dur="500"/>
                                        <p:tgtEl>
                                          <p:spTgt spid="87"/>
                                        </p:tgtEl>
                                      </p:cBhvr>
                                    </p:animEffect>
                                  </p:childTnLst>
                                </p:cTn>
                              </p:par>
                              <p:par>
                                <p:cTn id="98" presetID="10" presetClass="entr" presetSubtype="0" fill="hold" nodeType="withEffect">
                                  <p:stCondLst>
                                    <p:cond delay="0"/>
                                  </p:stCondLst>
                                  <p:childTnLst>
                                    <p:set>
                                      <p:cBhvr>
                                        <p:cTn id="99" dur="1" fill="hold">
                                          <p:stCondLst>
                                            <p:cond delay="0"/>
                                          </p:stCondLst>
                                        </p:cTn>
                                        <p:tgtEl>
                                          <p:spTgt spid="89"/>
                                        </p:tgtEl>
                                        <p:attrNameLst>
                                          <p:attrName>style.visibility</p:attrName>
                                        </p:attrNameLst>
                                      </p:cBhvr>
                                      <p:to>
                                        <p:strVal val="visible"/>
                                      </p:to>
                                    </p:set>
                                    <p:animEffect transition="in" filter="fade">
                                      <p:cBhvr>
                                        <p:cTn id="100" dur="500"/>
                                        <p:tgtEl>
                                          <p:spTgt spid="89"/>
                                        </p:tgtEl>
                                      </p:cBhvr>
                                    </p:animEffect>
                                  </p:childTnLst>
                                </p:cTn>
                              </p:par>
                              <p:par>
                                <p:cTn id="101" presetID="10" presetClass="entr" presetSubtype="0" fill="hold" nodeType="withEffect">
                                  <p:stCondLst>
                                    <p:cond delay="0"/>
                                  </p:stCondLst>
                                  <p:childTnLst>
                                    <p:set>
                                      <p:cBhvr>
                                        <p:cTn id="102" dur="1" fill="hold">
                                          <p:stCondLst>
                                            <p:cond delay="0"/>
                                          </p:stCondLst>
                                        </p:cTn>
                                        <p:tgtEl>
                                          <p:spTgt spid="96"/>
                                        </p:tgtEl>
                                        <p:attrNameLst>
                                          <p:attrName>style.visibility</p:attrName>
                                        </p:attrNameLst>
                                      </p:cBhvr>
                                      <p:to>
                                        <p:strVal val="visible"/>
                                      </p:to>
                                    </p:set>
                                    <p:animEffect transition="in" filter="fade">
                                      <p:cBhvr>
                                        <p:cTn id="103" dur="500"/>
                                        <p:tgtEl>
                                          <p:spTgt spid="96"/>
                                        </p:tgtEl>
                                      </p:cBhvr>
                                    </p:animEffect>
                                  </p:childTnLst>
                                </p:cTn>
                              </p:par>
                              <p:par>
                                <p:cTn id="104" presetID="10" presetClass="entr" presetSubtype="0" fill="hold" nodeType="withEffect">
                                  <p:stCondLst>
                                    <p:cond delay="0"/>
                                  </p:stCondLst>
                                  <p:childTnLst>
                                    <p:set>
                                      <p:cBhvr>
                                        <p:cTn id="105" dur="1" fill="hold">
                                          <p:stCondLst>
                                            <p:cond delay="0"/>
                                          </p:stCondLst>
                                        </p:cTn>
                                        <p:tgtEl>
                                          <p:spTgt spid="104"/>
                                        </p:tgtEl>
                                        <p:attrNameLst>
                                          <p:attrName>style.visibility</p:attrName>
                                        </p:attrNameLst>
                                      </p:cBhvr>
                                      <p:to>
                                        <p:strVal val="visible"/>
                                      </p:to>
                                    </p:set>
                                    <p:animEffect transition="in" filter="fade">
                                      <p:cBhvr>
                                        <p:cTn id="106" dur="500"/>
                                        <p:tgtEl>
                                          <p:spTgt spid="104"/>
                                        </p:tgtEl>
                                      </p:cBhvr>
                                    </p:animEffect>
                                  </p:childTnLst>
                                </p:cTn>
                              </p:par>
                              <p:par>
                                <p:cTn id="107" presetID="10" presetClass="entr" presetSubtype="0" fill="hold" nodeType="withEffect">
                                  <p:stCondLst>
                                    <p:cond delay="0"/>
                                  </p:stCondLst>
                                  <p:childTnLst>
                                    <p:set>
                                      <p:cBhvr>
                                        <p:cTn id="108" dur="1" fill="hold">
                                          <p:stCondLst>
                                            <p:cond delay="0"/>
                                          </p:stCondLst>
                                        </p:cTn>
                                        <p:tgtEl>
                                          <p:spTgt spid="107"/>
                                        </p:tgtEl>
                                        <p:attrNameLst>
                                          <p:attrName>style.visibility</p:attrName>
                                        </p:attrNameLst>
                                      </p:cBhvr>
                                      <p:to>
                                        <p:strVal val="visible"/>
                                      </p:to>
                                    </p:set>
                                    <p:animEffect transition="in" filter="fade">
                                      <p:cBhvr>
                                        <p:cTn id="109" dur="500"/>
                                        <p:tgtEl>
                                          <p:spTgt spid="107"/>
                                        </p:tgtEl>
                                      </p:cBhvr>
                                    </p:animEffect>
                                  </p:childTnLst>
                                </p:cTn>
                              </p:par>
                              <p:par>
                                <p:cTn id="110" presetID="10" presetClass="entr" presetSubtype="0" fill="hold" nodeType="withEffect">
                                  <p:stCondLst>
                                    <p:cond delay="0"/>
                                  </p:stCondLst>
                                  <p:childTnLst>
                                    <p:set>
                                      <p:cBhvr>
                                        <p:cTn id="111" dur="1" fill="hold">
                                          <p:stCondLst>
                                            <p:cond delay="0"/>
                                          </p:stCondLst>
                                        </p:cTn>
                                        <p:tgtEl>
                                          <p:spTgt spid="128"/>
                                        </p:tgtEl>
                                        <p:attrNameLst>
                                          <p:attrName>style.visibility</p:attrName>
                                        </p:attrNameLst>
                                      </p:cBhvr>
                                      <p:to>
                                        <p:strVal val="visible"/>
                                      </p:to>
                                    </p:set>
                                    <p:animEffect transition="in" filter="fade">
                                      <p:cBhvr>
                                        <p:cTn id="112" dur="500"/>
                                        <p:tgtEl>
                                          <p:spTgt spid="128"/>
                                        </p:tgtEl>
                                      </p:cBhvr>
                                    </p:animEffect>
                                  </p:childTnLst>
                                </p:cTn>
                              </p:par>
                              <p:par>
                                <p:cTn id="113" presetID="10" presetClass="entr" presetSubtype="0" fill="hold" nodeType="withEffect">
                                  <p:stCondLst>
                                    <p:cond delay="0"/>
                                  </p:stCondLst>
                                  <p:childTnLst>
                                    <p:set>
                                      <p:cBhvr>
                                        <p:cTn id="114" dur="1" fill="hold">
                                          <p:stCondLst>
                                            <p:cond delay="0"/>
                                          </p:stCondLst>
                                        </p:cTn>
                                        <p:tgtEl>
                                          <p:spTgt spid="129"/>
                                        </p:tgtEl>
                                        <p:attrNameLst>
                                          <p:attrName>style.visibility</p:attrName>
                                        </p:attrNameLst>
                                      </p:cBhvr>
                                      <p:to>
                                        <p:strVal val="visible"/>
                                      </p:to>
                                    </p:set>
                                    <p:animEffect transition="in" filter="fade">
                                      <p:cBhvr>
                                        <p:cTn id="115" dur="500"/>
                                        <p:tgtEl>
                                          <p:spTgt spid="12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30"/>
                                        </p:tgtEl>
                                        <p:attrNameLst>
                                          <p:attrName>style.visibility</p:attrName>
                                        </p:attrNameLst>
                                      </p:cBhvr>
                                      <p:to>
                                        <p:strVal val="visible"/>
                                      </p:to>
                                    </p:set>
                                    <p:animEffect transition="in" filter="fade">
                                      <p:cBhvr>
                                        <p:cTn id="118" dur="500"/>
                                        <p:tgtEl>
                                          <p:spTgt spid="130"/>
                                        </p:tgtEl>
                                      </p:cBhvr>
                                    </p:animEffect>
                                  </p:childTnLst>
                                </p:cTn>
                              </p:par>
                              <p:par>
                                <p:cTn id="119" presetID="10" presetClass="entr" presetSubtype="0" fill="hold" nodeType="withEffect">
                                  <p:stCondLst>
                                    <p:cond delay="0"/>
                                  </p:stCondLst>
                                  <p:childTnLst>
                                    <p:set>
                                      <p:cBhvr>
                                        <p:cTn id="120" dur="1" fill="hold">
                                          <p:stCondLst>
                                            <p:cond delay="0"/>
                                          </p:stCondLst>
                                        </p:cTn>
                                        <p:tgtEl>
                                          <p:spTgt spid="24"/>
                                        </p:tgtEl>
                                        <p:attrNameLst>
                                          <p:attrName>style.visibility</p:attrName>
                                        </p:attrNameLst>
                                      </p:cBhvr>
                                      <p:to>
                                        <p:strVal val="visible"/>
                                      </p:to>
                                    </p:set>
                                    <p:animEffect transition="in" filter="fade">
                                      <p:cBhvr>
                                        <p:cTn id="121" dur="500"/>
                                        <p:tgtEl>
                                          <p:spTgt spid="24"/>
                                        </p:tgtEl>
                                      </p:cBhvr>
                                    </p:animEffect>
                                  </p:childTnLst>
                                </p:cTn>
                              </p:par>
                              <p:par>
                                <p:cTn id="122" presetID="10" presetClass="entr" presetSubtype="0" fill="hold" nodeType="withEffect">
                                  <p:stCondLst>
                                    <p:cond delay="0"/>
                                  </p:stCondLst>
                                  <p:childTnLst>
                                    <p:set>
                                      <p:cBhvr>
                                        <p:cTn id="123" dur="1" fill="hold">
                                          <p:stCondLst>
                                            <p:cond delay="0"/>
                                          </p:stCondLst>
                                        </p:cTn>
                                        <p:tgtEl>
                                          <p:spTgt spid="132"/>
                                        </p:tgtEl>
                                        <p:attrNameLst>
                                          <p:attrName>style.visibility</p:attrName>
                                        </p:attrNameLst>
                                      </p:cBhvr>
                                      <p:to>
                                        <p:strVal val="visible"/>
                                      </p:to>
                                    </p:set>
                                    <p:animEffect transition="in" filter="fade">
                                      <p:cBhvr>
                                        <p:cTn id="124" dur="500"/>
                                        <p:tgtEl>
                                          <p:spTgt spid="13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33"/>
                                        </p:tgtEl>
                                        <p:attrNameLst>
                                          <p:attrName>style.visibility</p:attrName>
                                        </p:attrNameLst>
                                      </p:cBhvr>
                                      <p:to>
                                        <p:strVal val="visible"/>
                                      </p:to>
                                    </p:set>
                                    <p:animEffect transition="in" filter="fade">
                                      <p:cBhvr>
                                        <p:cTn id="127" dur="500"/>
                                        <p:tgtEl>
                                          <p:spTgt spid="133"/>
                                        </p:tgtEl>
                                      </p:cBhvr>
                                    </p:animEffect>
                                  </p:childTnLst>
                                </p:cTn>
                              </p:par>
                              <p:par>
                                <p:cTn id="128" presetID="10" presetClass="entr" presetSubtype="0" fill="hold" nodeType="withEffect">
                                  <p:stCondLst>
                                    <p:cond delay="0"/>
                                  </p:stCondLst>
                                  <p:childTnLst>
                                    <p:set>
                                      <p:cBhvr>
                                        <p:cTn id="129" dur="1" fill="hold">
                                          <p:stCondLst>
                                            <p:cond delay="0"/>
                                          </p:stCondLst>
                                        </p:cTn>
                                        <p:tgtEl>
                                          <p:spTgt spid="134"/>
                                        </p:tgtEl>
                                        <p:attrNameLst>
                                          <p:attrName>style.visibility</p:attrName>
                                        </p:attrNameLst>
                                      </p:cBhvr>
                                      <p:to>
                                        <p:strVal val="visible"/>
                                      </p:to>
                                    </p:set>
                                    <p:animEffect transition="in" filter="fade">
                                      <p:cBhvr>
                                        <p:cTn id="130" dur="500"/>
                                        <p:tgtEl>
                                          <p:spTgt spid="134"/>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7"/>
                                        </p:tgtEl>
                                        <p:attrNameLst>
                                          <p:attrName>style.visibility</p:attrName>
                                        </p:attrNameLst>
                                      </p:cBhvr>
                                      <p:to>
                                        <p:strVal val="visible"/>
                                      </p:to>
                                    </p:set>
                                    <p:animEffect transition="in" filter="fade">
                                      <p:cBhvr>
                                        <p:cTn id="133" dur="500"/>
                                        <p:tgtEl>
                                          <p:spTgt spid="7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9"/>
                                        </p:tgtEl>
                                        <p:attrNameLst>
                                          <p:attrName>style.visibility</p:attrName>
                                        </p:attrNameLst>
                                      </p:cBhvr>
                                      <p:to>
                                        <p:strVal val="visible"/>
                                      </p:to>
                                    </p:set>
                                    <p:animEffect transition="in" filter="fade">
                                      <p:cBhvr>
                                        <p:cTn id="136" dur="500"/>
                                        <p:tgtEl>
                                          <p:spTgt spid="7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80"/>
                                        </p:tgtEl>
                                        <p:attrNameLst>
                                          <p:attrName>style.visibility</p:attrName>
                                        </p:attrNameLst>
                                      </p:cBhvr>
                                      <p:to>
                                        <p:strVal val="visible"/>
                                      </p:to>
                                    </p:set>
                                    <p:animEffect transition="in" filter="fade">
                                      <p:cBhvr>
                                        <p:cTn id="139" dur="500"/>
                                        <p:tgtEl>
                                          <p:spTgt spid="80"/>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82"/>
                                        </p:tgtEl>
                                        <p:attrNameLst>
                                          <p:attrName>style.visibility</p:attrName>
                                        </p:attrNameLst>
                                      </p:cBhvr>
                                      <p:to>
                                        <p:strVal val="visible"/>
                                      </p:to>
                                    </p:set>
                                    <p:animEffect transition="in" filter="fade">
                                      <p:cBhvr>
                                        <p:cTn id="142" dur="500"/>
                                        <p:tgtEl>
                                          <p:spTgt spid="82"/>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83"/>
                                        </p:tgtEl>
                                        <p:attrNameLst>
                                          <p:attrName>style.visibility</p:attrName>
                                        </p:attrNameLst>
                                      </p:cBhvr>
                                      <p:to>
                                        <p:strVal val="visible"/>
                                      </p:to>
                                    </p:set>
                                    <p:animEffect transition="in" filter="fade">
                                      <p:cBhvr>
                                        <p:cTn id="145" dur="500"/>
                                        <p:tgtEl>
                                          <p:spTgt spid="8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85"/>
                                        </p:tgtEl>
                                        <p:attrNameLst>
                                          <p:attrName>style.visibility</p:attrName>
                                        </p:attrNameLst>
                                      </p:cBhvr>
                                      <p:to>
                                        <p:strVal val="visible"/>
                                      </p:to>
                                    </p:set>
                                    <p:animEffect transition="in" filter="fade">
                                      <p:cBhvr>
                                        <p:cTn id="148" dur="500"/>
                                        <p:tgtEl>
                                          <p:spTgt spid="85"/>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86"/>
                                        </p:tgtEl>
                                        <p:attrNameLst>
                                          <p:attrName>style.visibility</p:attrName>
                                        </p:attrNameLst>
                                      </p:cBhvr>
                                      <p:to>
                                        <p:strVal val="visible"/>
                                      </p:to>
                                    </p:set>
                                    <p:animEffect transition="in" filter="fade">
                                      <p:cBhvr>
                                        <p:cTn id="151" dur="500"/>
                                        <p:tgtEl>
                                          <p:spTgt spid="8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88"/>
                                        </p:tgtEl>
                                        <p:attrNameLst>
                                          <p:attrName>style.visibility</p:attrName>
                                        </p:attrNameLst>
                                      </p:cBhvr>
                                      <p:to>
                                        <p:strVal val="visible"/>
                                      </p:to>
                                    </p:set>
                                    <p:animEffect transition="in" filter="fade">
                                      <p:cBhvr>
                                        <p:cTn id="154" dur="500"/>
                                        <p:tgtEl>
                                          <p:spTgt spid="88"/>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90"/>
                                        </p:tgtEl>
                                        <p:attrNameLst>
                                          <p:attrName>style.visibility</p:attrName>
                                        </p:attrNameLst>
                                      </p:cBhvr>
                                      <p:to>
                                        <p:strVal val="visible"/>
                                      </p:to>
                                    </p:set>
                                    <p:animEffect transition="in" filter="fade">
                                      <p:cBhvr>
                                        <p:cTn id="157" dur="500"/>
                                        <p:tgtEl>
                                          <p:spTgt spid="9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94"/>
                                        </p:tgtEl>
                                        <p:attrNameLst>
                                          <p:attrName>style.visibility</p:attrName>
                                        </p:attrNameLst>
                                      </p:cBhvr>
                                      <p:to>
                                        <p:strVal val="visible"/>
                                      </p:to>
                                    </p:set>
                                    <p:animEffect transition="in" filter="fade">
                                      <p:cBhvr>
                                        <p:cTn id="160" dur="500"/>
                                        <p:tgtEl>
                                          <p:spTgt spid="94"/>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95"/>
                                        </p:tgtEl>
                                        <p:attrNameLst>
                                          <p:attrName>style.visibility</p:attrName>
                                        </p:attrNameLst>
                                      </p:cBhvr>
                                      <p:to>
                                        <p:strVal val="visible"/>
                                      </p:to>
                                    </p:set>
                                    <p:animEffect transition="in" filter="fade">
                                      <p:cBhvr>
                                        <p:cTn id="163" dur="500"/>
                                        <p:tgtEl>
                                          <p:spTgt spid="95"/>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97"/>
                                        </p:tgtEl>
                                        <p:attrNameLst>
                                          <p:attrName>style.visibility</p:attrName>
                                        </p:attrNameLst>
                                      </p:cBhvr>
                                      <p:to>
                                        <p:strVal val="visible"/>
                                      </p:to>
                                    </p:set>
                                    <p:animEffect transition="in" filter="fade">
                                      <p:cBhvr>
                                        <p:cTn id="166" dur="500"/>
                                        <p:tgtEl>
                                          <p:spTgt spid="97"/>
                                        </p:tgtEl>
                                      </p:cBhvr>
                                    </p:animEffect>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0" nodeType="clickEffect">
                                  <p:stCondLst>
                                    <p:cond delay="0"/>
                                  </p:stCondLst>
                                  <p:childTnLst>
                                    <p:set>
                                      <p:cBhvr>
                                        <p:cTn id="170" dur="1" fill="hold">
                                          <p:stCondLst>
                                            <p:cond delay="0"/>
                                          </p:stCondLst>
                                        </p:cTn>
                                        <p:tgtEl>
                                          <p:spTgt spid="63"/>
                                        </p:tgtEl>
                                        <p:attrNameLst>
                                          <p:attrName>style.visibility</p:attrName>
                                        </p:attrNameLst>
                                      </p:cBhvr>
                                      <p:to>
                                        <p:strVal val="visible"/>
                                      </p:to>
                                    </p:set>
                                    <p:animEffect transition="in" filter="fade">
                                      <p:cBhvr>
                                        <p:cTn id="171" dur="500"/>
                                        <p:tgtEl>
                                          <p:spTgt spid="63"/>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113"/>
                                        </p:tgtEl>
                                        <p:attrNameLst>
                                          <p:attrName>style.visibility</p:attrName>
                                        </p:attrNameLst>
                                      </p:cBhvr>
                                      <p:to>
                                        <p:strVal val="visible"/>
                                      </p:to>
                                    </p:set>
                                    <p:animEffect transition="in" filter="fade">
                                      <p:cBhvr>
                                        <p:cTn id="174" dur="500"/>
                                        <p:tgtEl>
                                          <p:spTgt spid="113"/>
                                        </p:tgtEl>
                                      </p:cBhvr>
                                    </p:animEffect>
                                  </p:childTnLst>
                                </p:cTn>
                              </p:par>
                              <p:par>
                                <p:cTn id="175" presetID="10" presetClass="entr" presetSubtype="0" fill="hold" nodeType="withEffect">
                                  <p:stCondLst>
                                    <p:cond delay="0"/>
                                  </p:stCondLst>
                                  <p:childTnLst>
                                    <p:set>
                                      <p:cBhvr>
                                        <p:cTn id="176" dur="1" fill="hold">
                                          <p:stCondLst>
                                            <p:cond delay="0"/>
                                          </p:stCondLst>
                                        </p:cTn>
                                        <p:tgtEl>
                                          <p:spTgt spid="19"/>
                                        </p:tgtEl>
                                        <p:attrNameLst>
                                          <p:attrName>style.visibility</p:attrName>
                                        </p:attrNameLst>
                                      </p:cBhvr>
                                      <p:to>
                                        <p:strVal val="visible"/>
                                      </p:to>
                                    </p:set>
                                    <p:animEffect transition="in" filter="fade">
                                      <p:cBhvr>
                                        <p:cTn id="17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1" grpId="0"/>
      <p:bldP spid="45" grpId="0" animBg="1"/>
      <p:bldP spid="47" grpId="0" animBg="1"/>
      <p:bldP spid="92" grpId="0"/>
      <p:bldP spid="93" grpId="0"/>
      <p:bldP spid="7" grpId="0"/>
      <p:bldP spid="57" grpId="0"/>
      <p:bldP spid="58" grpId="0"/>
      <p:bldP spid="59" grpId="0"/>
      <p:bldP spid="63" grpId="0"/>
      <p:bldP spid="65" grpId="0"/>
      <p:bldP spid="67" grpId="0"/>
      <p:bldP spid="68" grpId="0"/>
      <p:bldP spid="70" grpId="0"/>
      <p:bldP spid="72" grpId="0"/>
      <p:bldP spid="74" grpId="0"/>
      <p:bldP spid="75" grpId="0"/>
      <p:bldP spid="113" grpId="0"/>
      <p:bldP spid="23" grpId="0"/>
      <p:bldP spid="130" grpId="0"/>
      <p:bldP spid="133" grpId="0"/>
      <p:bldP spid="77" grpId="0"/>
      <p:bldP spid="79" grpId="0"/>
      <p:bldP spid="80" grpId="0"/>
      <p:bldP spid="82" grpId="0"/>
      <p:bldP spid="83" grpId="0"/>
      <p:bldP spid="85" grpId="0"/>
      <p:bldP spid="86" grpId="0"/>
      <p:bldP spid="88" grpId="0"/>
      <p:bldP spid="90" grpId="0"/>
      <p:bldP spid="94" grpId="0"/>
      <p:bldP spid="95" grpId="0"/>
      <p:bldP spid="97" grpId="0"/>
      <p:bldP spid="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6F723F39-3A69-486C-8B6E-2FD721228AA9}"/>
              </a:ext>
            </a:extLst>
          </p:cNvPr>
          <p:cNvSpPr/>
          <p:nvPr/>
        </p:nvSpPr>
        <p:spPr bwMode="auto">
          <a:xfrm>
            <a:off x="9505950" y="2811704"/>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Rectangle 86">
            <a:extLst>
              <a:ext uri="{FF2B5EF4-FFF2-40B4-BE49-F238E27FC236}">
                <a16:creationId xmlns:a16="http://schemas.microsoft.com/office/drawing/2014/main" id="{0C3C979F-EE5F-4C3F-A3D3-7D4F67B97BBF}"/>
              </a:ext>
            </a:extLst>
          </p:cNvPr>
          <p:cNvSpPr/>
          <p:nvPr/>
        </p:nvSpPr>
        <p:spPr bwMode="auto">
          <a:xfrm>
            <a:off x="10953752"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a:extLst>
              <a:ext uri="{FF2B5EF4-FFF2-40B4-BE49-F238E27FC236}">
                <a16:creationId xmlns:a16="http://schemas.microsoft.com/office/drawing/2014/main" id="{74518838-3CE0-48B3-9641-8FED22EE8517}"/>
              </a:ext>
            </a:extLst>
          </p:cNvPr>
          <p:cNvSpPr/>
          <p:nvPr/>
        </p:nvSpPr>
        <p:spPr bwMode="auto">
          <a:xfrm>
            <a:off x="8058150" y="2809873"/>
            <a:ext cx="144780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704F1C4F-C79E-4110-B7D8-4F26D234FE6D}"/>
              </a:ext>
            </a:extLst>
          </p:cNvPr>
          <p:cNvSpPr/>
          <p:nvPr/>
        </p:nvSpPr>
        <p:spPr bwMode="auto">
          <a:xfrm>
            <a:off x="4814887" y="2809874"/>
            <a:ext cx="2000250" cy="395287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5BAE3B0E-1AB8-46F1-89C2-053D2D32A8EE}"/>
              </a:ext>
            </a:extLst>
          </p:cNvPr>
          <p:cNvSpPr/>
          <p:nvPr/>
        </p:nvSpPr>
        <p:spPr bwMode="auto">
          <a:xfrm>
            <a:off x="4862512" y="4914900"/>
            <a:ext cx="1896273" cy="1085010"/>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66B56E94-7AB7-49B8-AAEE-76CD7526773A}"/>
              </a:ext>
            </a:extLst>
          </p:cNvPr>
          <p:cNvSpPr/>
          <p:nvPr/>
        </p:nvSpPr>
        <p:spPr bwMode="auto">
          <a:xfrm>
            <a:off x="259080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ADA318B1-43E8-47DA-A0AD-AFE7598D9038}"/>
              </a:ext>
            </a:extLst>
          </p:cNvPr>
          <p:cNvSpPr/>
          <p:nvPr/>
        </p:nvSpPr>
        <p:spPr bwMode="auto">
          <a:xfrm>
            <a:off x="2914649" y="4914899"/>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TextBox 70">
            <a:extLst>
              <a:ext uri="{FF2B5EF4-FFF2-40B4-BE49-F238E27FC236}">
                <a16:creationId xmlns:a16="http://schemas.microsoft.com/office/drawing/2014/main" id="{07446167-DF92-43DA-A5D5-58E0C4B054AD}"/>
              </a:ext>
            </a:extLst>
          </p:cNvPr>
          <p:cNvSpPr txBox="1"/>
          <p:nvPr/>
        </p:nvSpPr>
        <p:spPr>
          <a:xfrm>
            <a:off x="2914648" y="552659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2</a:t>
            </a:r>
          </a:p>
        </p:txBody>
      </p: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Availability</a:t>
            </a:r>
          </a:p>
        </p:txBody>
      </p:sp>
      <p:sp>
        <p:nvSpPr>
          <p:cNvPr id="20" name="Rectangle 19">
            <a:extLst>
              <a:ext uri="{FF2B5EF4-FFF2-40B4-BE49-F238E27FC236}">
                <a16:creationId xmlns:a16="http://schemas.microsoft.com/office/drawing/2014/main" id="{D9E03137-2770-470C-B059-EFCB814735AE}"/>
              </a:ext>
            </a:extLst>
          </p:cNvPr>
          <p:cNvSpPr/>
          <p:nvPr/>
        </p:nvSpPr>
        <p:spPr bwMode="auto">
          <a:xfrm>
            <a:off x="361950" y="2809873"/>
            <a:ext cx="2000250" cy="3952877"/>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1DA6998B-4C3A-48AC-961F-85801CE762E3}"/>
              </a:ext>
            </a:extLst>
          </p:cNvPr>
          <p:cNvSpPr/>
          <p:nvPr/>
        </p:nvSpPr>
        <p:spPr bwMode="auto">
          <a:xfrm>
            <a:off x="152400" y="3028950"/>
            <a:ext cx="6876214" cy="1523999"/>
          </a:xfrm>
          <a:prstGeom prst="roundRect">
            <a:avLst/>
          </a:prstGeom>
          <a:solidFill>
            <a:srgbClr val="E7ECF8"/>
          </a:solid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8" name="Picture 37">
            <a:extLst>
              <a:ext uri="{FF2B5EF4-FFF2-40B4-BE49-F238E27FC236}">
                <a16:creationId xmlns:a16="http://schemas.microsoft.com/office/drawing/2014/main" id="{D866D70F-7B22-4643-A4E5-F50ED3A00A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76337" y="3726368"/>
            <a:ext cx="719611" cy="720363"/>
          </a:xfrm>
          <a:prstGeom prst="rect">
            <a:avLst/>
          </a:prstGeom>
        </p:spPr>
      </p:pic>
      <p:pic>
        <p:nvPicPr>
          <p:cNvPr id="46" name="Picture 45">
            <a:extLst>
              <a:ext uri="{FF2B5EF4-FFF2-40B4-BE49-F238E27FC236}">
                <a16:creationId xmlns:a16="http://schemas.microsoft.com/office/drawing/2014/main" id="{2B89FC9D-E394-4D27-BFAE-E8618E2105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4801" y="3726368"/>
            <a:ext cx="719611" cy="720363"/>
          </a:xfrm>
          <a:prstGeom prst="rect">
            <a:avLst/>
          </a:prstGeom>
        </p:spPr>
      </p:pic>
      <p:pic>
        <p:nvPicPr>
          <p:cNvPr id="47" name="Picture 46">
            <a:extLst>
              <a:ext uri="{FF2B5EF4-FFF2-40B4-BE49-F238E27FC236}">
                <a16:creationId xmlns:a16="http://schemas.microsoft.com/office/drawing/2014/main" id="{BF7BF90E-D95E-4404-8EC2-5FE5FF1E5B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40644" y="3745091"/>
            <a:ext cx="719611" cy="720363"/>
          </a:xfrm>
          <a:prstGeom prst="rect">
            <a:avLst/>
          </a:prstGeom>
        </p:spPr>
      </p:pic>
      <p:pic>
        <p:nvPicPr>
          <p:cNvPr id="48" name="Picture 47">
            <a:extLst>
              <a:ext uri="{FF2B5EF4-FFF2-40B4-BE49-F238E27FC236}">
                <a16:creationId xmlns:a16="http://schemas.microsoft.com/office/drawing/2014/main" id="{E7FD0110-419D-483D-8117-6062326BFB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2269" y="3745092"/>
            <a:ext cx="719611" cy="720363"/>
          </a:xfrm>
          <a:prstGeom prst="rect">
            <a:avLst/>
          </a:prstGeom>
        </p:spPr>
      </p:pic>
      <p:pic>
        <p:nvPicPr>
          <p:cNvPr id="22" name="Picture 21">
            <a:extLst>
              <a:ext uri="{FF2B5EF4-FFF2-40B4-BE49-F238E27FC236}">
                <a16:creationId xmlns:a16="http://schemas.microsoft.com/office/drawing/2014/main" id="{E1864FFB-E307-441A-A748-E470C31CAD4D}"/>
              </a:ext>
            </a:extLst>
          </p:cNvPr>
          <p:cNvPicPr>
            <a:picLocks noChangeAspect="1"/>
          </p:cNvPicPr>
          <p:nvPr/>
        </p:nvPicPr>
        <p:blipFill>
          <a:blip r:embed="rId4"/>
          <a:stretch>
            <a:fillRect/>
          </a:stretch>
        </p:blipFill>
        <p:spPr>
          <a:xfrm>
            <a:off x="4972047" y="5026269"/>
            <a:ext cx="719611" cy="624316"/>
          </a:xfrm>
          <a:prstGeom prst="rect">
            <a:avLst/>
          </a:prstGeom>
        </p:spPr>
      </p:pic>
      <p:pic>
        <p:nvPicPr>
          <p:cNvPr id="49" name="Picture 48">
            <a:extLst>
              <a:ext uri="{FF2B5EF4-FFF2-40B4-BE49-F238E27FC236}">
                <a16:creationId xmlns:a16="http://schemas.microsoft.com/office/drawing/2014/main" id="{9630E395-A4D6-42A4-906A-7D4E4124F828}"/>
              </a:ext>
            </a:extLst>
          </p:cNvPr>
          <p:cNvPicPr>
            <a:picLocks noChangeAspect="1"/>
          </p:cNvPicPr>
          <p:nvPr/>
        </p:nvPicPr>
        <p:blipFill>
          <a:blip r:embed="rId4"/>
          <a:stretch>
            <a:fillRect/>
          </a:stretch>
        </p:blipFill>
        <p:spPr>
          <a:xfrm>
            <a:off x="6007651" y="5026269"/>
            <a:ext cx="719611" cy="624316"/>
          </a:xfrm>
          <a:prstGeom prst="rect">
            <a:avLst/>
          </a:prstGeom>
        </p:spPr>
      </p:pic>
      <p:pic>
        <p:nvPicPr>
          <p:cNvPr id="50" name="Picture 49">
            <a:extLst>
              <a:ext uri="{FF2B5EF4-FFF2-40B4-BE49-F238E27FC236}">
                <a16:creationId xmlns:a16="http://schemas.microsoft.com/office/drawing/2014/main" id="{B437E165-1E0C-49F2-B065-2CE4C15BEF69}"/>
              </a:ext>
            </a:extLst>
          </p:cNvPr>
          <p:cNvPicPr>
            <a:picLocks noChangeAspect="1"/>
          </p:cNvPicPr>
          <p:nvPr/>
        </p:nvPicPr>
        <p:blipFill>
          <a:blip r:embed="rId4"/>
          <a:stretch>
            <a:fillRect/>
          </a:stretch>
        </p:blipFill>
        <p:spPr>
          <a:xfrm>
            <a:off x="3240644" y="5026269"/>
            <a:ext cx="719611" cy="624316"/>
          </a:xfrm>
          <a:prstGeom prst="rect">
            <a:avLst/>
          </a:prstGeom>
        </p:spPr>
      </p:pic>
      <p:sp>
        <p:nvSpPr>
          <p:cNvPr id="68" name="Rectangle 67">
            <a:extLst>
              <a:ext uri="{FF2B5EF4-FFF2-40B4-BE49-F238E27FC236}">
                <a16:creationId xmlns:a16="http://schemas.microsoft.com/office/drawing/2014/main" id="{A56744A7-3CAD-4D37-AB06-73DA14EAB90B}"/>
              </a:ext>
            </a:extLst>
          </p:cNvPr>
          <p:cNvSpPr/>
          <p:nvPr/>
        </p:nvSpPr>
        <p:spPr bwMode="auto">
          <a:xfrm>
            <a:off x="666750" y="4914900"/>
            <a:ext cx="1333500" cy="1085011"/>
          </a:xfrm>
          <a:prstGeom prst="rect">
            <a:avLst/>
          </a:prstGeom>
          <a:solidFill>
            <a:schemeClr val="tx1">
              <a:lumMod val="20000"/>
              <a:lumOff val="8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 name="Picture 50">
            <a:extLst>
              <a:ext uri="{FF2B5EF4-FFF2-40B4-BE49-F238E27FC236}">
                <a16:creationId xmlns:a16="http://schemas.microsoft.com/office/drawing/2014/main" id="{C4F2D23D-21C3-4F5D-8F49-1116B1764115}"/>
              </a:ext>
            </a:extLst>
          </p:cNvPr>
          <p:cNvPicPr>
            <a:picLocks noChangeAspect="1"/>
          </p:cNvPicPr>
          <p:nvPr/>
        </p:nvPicPr>
        <p:blipFill>
          <a:blip r:embed="rId4"/>
          <a:stretch>
            <a:fillRect/>
          </a:stretch>
        </p:blipFill>
        <p:spPr>
          <a:xfrm>
            <a:off x="1002269" y="5026269"/>
            <a:ext cx="719611" cy="624316"/>
          </a:xfrm>
          <a:prstGeom prst="rect">
            <a:avLst/>
          </a:prstGeom>
        </p:spPr>
      </p:pic>
      <p:cxnSp>
        <p:nvCxnSpPr>
          <p:cNvPr id="24" name="Straight Connector 23">
            <a:extLst>
              <a:ext uri="{FF2B5EF4-FFF2-40B4-BE49-F238E27FC236}">
                <a16:creationId xmlns:a16="http://schemas.microsoft.com/office/drawing/2014/main" id="{9A052F01-848A-449D-8BF3-8C5DC8832263}"/>
              </a:ext>
            </a:extLst>
          </p:cNvPr>
          <p:cNvCxnSpPr>
            <a:cxnSpLocks/>
            <a:stCxn id="48" idx="2"/>
            <a:endCxn id="51" idx="0"/>
          </p:cNvCxnSpPr>
          <p:nvPr/>
        </p:nvCxnSpPr>
        <p:spPr>
          <a:xfrm>
            <a:off x="1362075" y="4465455"/>
            <a:ext cx="0" cy="560814"/>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A9EA1FC-9FAB-49DA-8EF6-C6EE89E731B5}"/>
              </a:ext>
            </a:extLst>
          </p:cNvPr>
          <p:cNvCxnSpPr>
            <a:cxnSpLocks/>
            <a:stCxn id="47" idx="2"/>
            <a:endCxn id="50" idx="0"/>
          </p:cNvCxnSpPr>
          <p:nvPr/>
        </p:nvCxnSpPr>
        <p:spPr>
          <a:xfrm>
            <a:off x="3600450" y="4465454"/>
            <a:ext cx="0" cy="560815"/>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B88FD20-81E0-4F57-8D0E-AA5251CDED3A}"/>
              </a:ext>
            </a:extLst>
          </p:cNvPr>
          <p:cNvCxnSpPr>
            <a:cxnSpLocks/>
            <a:stCxn id="38" idx="2"/>
            <a:endCxn id="22" idx="0"/>
          </p:cNvCxnSpPr>
          <p:nvPr/>
        </p:nvCxnSpPr>
        <p:spPr>
          <a:xfrm flipH="1">
            <a:off x="5331853" y="4446731"/>
            <a:ext cx="429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00963C-F830-4E2F-9854-BF617C09DE73}"/>
              </a:ext>
            </a:extLst>
          </p:cNvPr>
          <p:cNvCxnSpPr>
            <a:cxnSpLocks/>
            <a:stCxn id="46" idx="2"/>
            <a:endCxn id="49" idx="0"/>
          </p:cNvCxnSpPr>
          <p:nvPr/>
        </p:nvCxnSpPr>
        <p:spPr>
          <a:xfrm>
            <a:off x="6364607" y="4446731"/>
            <a:ext cx="2850" cy="579538"/>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5E05DD6-D98E-4F8B-B0BA-A1CF0F362A44}"/>
              </a:ext>
            </a:extLst>
          </p:cNvPr>
          <p:cNvSpPr txBox="1"/>
          <p:nvPr/>
        </p:nvSpPr>
        <p:spPr>
          <a:xfrm>
            <a:off x="981074" y="3399801"/>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1</a:t>
            </a:r>
          </a:p>
        </p:txBody>
      </p:sp>
      <p:sp>
        <p:nvSpPr>
          <p:cNvPr id="59" name="TextBox 58">
            <a:extLst>
              <a:ext uri="{FF2B5EF4-FFF2-40B4-BE49-F238E27FC236}">
                <a16:creationId xmlns:a16="http://schemas.microsoft.com/office/drawing/2014/main" id="{4058F7FB-A18B-47A6-B8C1-D7D9AD6EAF08}"/>
              </a:ext>
            </a:extLst>
          </p:cNvPr>
          <p:cNvSpPr txBox="1"/>
          <p:nvPr/>
        </p:nvSpPr>
        <p:spPr>
          <a:xfrm>
            <a:off x="3191946" y="3404450"/>
            <a:ext cx="817006"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2</a:t>
            </a:r>
          </a:p>
        </p:txBody>
      </p:sp>
      <p:sp>
        <p:nvSpPr>
          <p:cNvPr id="60" name="TextBox 59">
            <a:extLst>
              <a:ext uri="{FF2B5EF4-FFF2-40B4-BE49-F238E27FC236}">
                <a16:creationId xmlns:a16="http://schemas.microsoft.com/office/drawing/2014/main" id="{2CA20CD0-7DF4-437E-BD2F-0F68C7E60025}"/>
              </a:ext>
            </a:extLst>
          </p:cNvPr>
          <p:cNvSpPr txBox="1"/>
          <p:nvPr/>
        </p:nvSpPr>
        <p:spPr>
          <a:xfrm>
            <a:off x="4940737"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3</a:t>
            </a:r>
          </a:p>
        </p:txBody>
      </p:sp>
      <p:sp>
        <p:nvSpPr>
          <p:cNvPr id="61" name="TextBox 60">
            <a:extLst>
              <a:ext uri="{FF2B5EF4-FFF2-40B4-BE49-F238E27FC236}">
                <a16:creationId xmlns:a16="http://schemas.microsoft.com/office/drawing/2014/main" id="{8AF046C0-7CF1-4C9F-A273-C6B6F9BCCDC7}"/>
              </a:ext>
            </a:extLst>
          </p:cNvPr>
          <p:cNvSpPr txBox="1"/>
          <p:nvPr/>
        </p:nvSpPr>
        <p:spPr>
          <a:xfrm>
            <a:off x="5985449" y="3399800"/>
            <a:ext cx="914400"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4</a:t>
            </a:r>
          </a:p>
        </p:txBody>
      </p:sp>
      <p:sp>
        <p:nvSpPr>
          <p:cNvPr id="62" name="TextBox 61">
            <a:extLst>
              <a:ext uri="{FF2B5EF4-FFF2-40B4-BE49-F238E27FC236}">
                <a16:creationId xmlns:a16="http://schemas.microsoft.com/office/drawing/2014/main" id="{1FBB6A88-AA33-49B1-A6A7-E63CF585904A}"/>
              </a:ext>
            </a:extLst>
          </p:cNvPr>
          <p:cNvSpPr txBox="1"/>
          <p:nvPr/>
        </p:nvSpPr>
        <p:spPr>
          <a:xfrm>
            <a:off x="666749" y="5526591"/>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1</a:t>
            </a:r>
          </a:p>
        </p:txBody>
      </p:sp>
      <p:sp>
        <p:nvSpPr>
          <p:cNvPr id="63" name="TextBox 62">
            <a:extLst>
              <a:ext uri="{FF2B5EF4-FFF2-40B4-BE49-F238E27FC236}">
                <a16:creationId xmlns:a16="http://schemas.microsoft.com/office/drawing/2014/main" id="{85617585-0D17-4FE9-A49B-95B8C543046F}"/>
              </a:ext>
            </a:extLst>
          </p:cNvPr>
          <p:cNvSpPr txBox="1"/>
          <p:nvPr/>
        </p:nvSpPr>
        <p:spPr>
          <a:xfrm>
            <a:off x="2914647" y="5992380"/>
            <a:ext cx="133350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B</a:t>
            </a:r>
          </a:p>
        </p:txBody>
      </p:sp>
      <p:sp>
        <p:nvSpPr>
          <p:cNvPr id="64" name="TextBox 63">
            <a:extLst>
              <a:ext uri="{FF2B5EF4-FFF2-40B4-BE49-F238E27FC236}">
                <a16:creationId xmlns:a16="http://schemas.microsoft.com/office/drawing/2014/main" id="{9FBC878C-A555-4190-A51D-2E200B16D83F}"/>
              </a:ext>
            </a:extLst>
          </p:cNvPr>
          <p:cNvSpPr txBox="1"/>
          <p:nvPr/>
        </p:nvSpPr>
        <p:spPr>
          <a:xfrm>
            <a:off x="4735230"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3</a:t>
            </a:r>
          </a:p>
        </p:txBody>
      </p:sp>
      <p:sp>
        <p:nvSpPr>
          <p:cNvPr id="67" name="TextBox 66">
            <a:extLst>
              <a:ext uri="{FF2B5EF4-FFF2-40B4-BE49-F238E27FC236}">
                <a16:creationId xmlns:a16="http://schemas.microsoft.com/office/drawing/2014/main" id="{8890DF30-8981-4CE8-AF0A-07C433D9D6F3}"/>
              </a:ext>
            </a:extLst>
          </p:cNvPr>
          <p:cNvSpPr txBox="1"/>
          <p:nvPr/>
        </p:nvSpPr>
        <p:spPr>
          <a:xfrm>
            <a:off x="5762119" y="5516442"/>
            <a:ext cx="112394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orage 4</a:t>
            </a:r>
          </a:p>
        </p:txBody>
      </p:sp>
      <p:sp>
        <p:nvSpPr>
          <p:cNvPr id="69" name="TextBox 68">
            <a:extLst>
              <a:ext uri="{FF2B5EF4-FFF2-40B4-BE49-F238E27FC236}">
                <a16:creationId xmlns:a16="http://schemas.microsoft.com/office/drawing/2014/main" id="{F6A9DAB4-68F0-44CD-9F73-FAC63D66A1CF}"/>
              </a:ext>
            </a:extLst>
          </p:cNvPr>
          <p:cNvSpPr txBox="1"/>
          <p:nvPr/>
        </p:nvSpPr>
        <p:spPr>
          <a:xfrm>
            <a:off x="666751" y="5988143"/>
            <a:ext cx="133350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A</a:t>
            </a:r>
          </a:p>
        </p:txBody>
      </p:sp>
      <p:sp>
        <p:nvSpPr>
          <p:cNvPr id="73" name="TextBox 72">
            <a:extLst>
              <a:ext uri="{FF2B5EF4-FFF2-40B4-BE49-F238E27FC236}">
                <a16:creationId xmlns:a16="http://schemas.microsoft.com/office/drawing/2014/main" id="{79F57AC9-4B48-4C4D-A273-473AB011E9DD}"/>
              </a:ext>
            </a:extLst>
          </p:cNvPr>
          <p:cNvSpPr txBox="1"/>
          <p:nvPr/>
        </p:nvSpPr>
        <p:spPr>
          <a:xfrm>
            <a:off x="4862513" y="6032076"/>
            <a:ext cx="1896272"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tamp C</a:t>
            </a:r>
          </a:p>
        </p:txBody>
      </p:sp>
      <p:sp>
        <p:nvSpPr>
          <p:cNvPr id="74" name="TextBox 73">
            <a:extLst>
              <a:ext uri="{FF2B5EF4-FFF2-40B4-BE49-F238E27FC236}">
                <a16:creationId xmlns:a16="http://schemas.microsoft.com/office/drawing/2014/main" id="{64795174-7744-4115-A906-D32C3368CF69}"/>
              </a:ext>
            </a:extLst>
          </p:cNvPr>
          <p:cNvSpPr txBox="1"/>
          <p:nvPr/>
        </p:nvSpPr>
        <p:spPr>
          <a:xfrm>
            <a:off x="2362200" y="2954232"/>
            <a:ext cx="2452687"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vailability Set</a:t>
            </a:r>
          </a:p>
        </p:txBody>
      </p:sp>
      <p:sp>
        <p:nvSpPr>
          <p:cNvPr id="79" name="TextBox 78">
            <a:extLst>
              <a:ext uri="{FF2B5EF4-FFF2-40B4-BE49-F238E27FC236}">
                <a16:creationId xmlns:a16="http://schemas.microsoft.com/office/drawing/2014/main" id="{3144DF4E-580B-435B-B193-DB9C4DFB625B}"/>
              </a:ext>
            </a:extLst>
          </p:cNvPr>
          <p:cNvSpPr txBox="1"/>
          <p:nvPr/>
        </p:nvSpPr>
        <p:spPr>
          <a:xfrm>
            <a:off x="371478" y="2284014"/>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1" name="TextBox 80">
            <a:extLst>
              <a:ext uri="{FF2B5EF4-FFF2-40B4-BE49-F238E27FC236}">
                <a16:creationId xmlns:a16="http://schemas.microsoft.com/office/drawing/2014/main" id="{52BD82D4-18F6-4C6C-8653-60845D0C5457}"/>
              </a:ext>
            </a:extLst>
          </p:cNvPr>
          <p:cNvSpPr txBox="1"/>
          <p:nvPr/>
        </p:nvSpPr>
        <p:spPr>
          <a:xfrm>
            <a:off x="2581272" y="2283985"/>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82" name="TextBox 81">
            <a:extLst>
              <a:ext uri="{FF2B5EF4-FFF2-40B4-BE49-F238E27FC236}">
                <a16:creationId xmlns:a16="http://schemas.microsoft.com/office/drawing/2014/main" id="{67C1CB8C-AFA9-4B5F-94CA-AA3059F040DF}"/>
              </a:ext>
            </a:extLst>
          </p:cNvPr>
          <p:cNvSpPr txBox="1"/>
          <p:nvPr/>
        </p:nvSpPr>
        <p:spPr>
          <a:xfrm>
            <a:off x="4819650" y="2284497"/>
            <a:ext cx="200025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sp>
        <p:nvSpPr>
          <p:cNvPr id="83" name="TextBox 82">
            <a:extLst>
              <a:ext uri="{FF2B5EF4-FFF2-40B4-BE49-F238E27FC236}">
                <a16:creationId xmlns:a16="http://schemas.microsoft.com/office/drawing/2014/main" id="{578707DE-4DB7-4CA7-9DEC-2D90EEA49472}"/>
              </a:ext>
            </a:extLst>
          </p:cNvPr>
          <p:cNvSpPr txBox="1"/>
          <p:nvPr/>
        </p:nvSpPr>
        <p:spPr>
          <a:xfrm>
            <a:off x="371479" y="1456089"/>
            <a:ext cx="6443658"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Fault Domains (2-3)</a:t>
            </a:r>
          </a:p>
        </p:txBody>
      </p:sp>
      <p:graphicFrame>
        <p:nvGraphicFramePr>
          <p:cNvPr id="84" name="Diagram 83">
            <a:extLst>
              <a:ext uri="{FF2B5EF4-FFF2-40B4-BE49-F238E27FC236}">
                <a16:creationId xmlns:a16="http://schemas.microsoft.com/office/drawing/2014/main" id="{3E2AFC5F-522D-4BCC-ABC9-3413390EDA0D}"/>
              </a:ext>
            </a:extLst>
          </p:cNvPr>
          <p:cNvGraphicFramePr/>
          <p:nvPr>
            <p:extLst/>
          </p:nvPr>
        </p:nvGraphicFramePr>
        <p:xfrm>
          <a:off x="8134352" y="2802180"/>
          <a:ext cx="4171948" cy="395287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8" name="TextBox 87">
            <a:extLst>
              <a:ext uri="{FF2B5EF4-FFF2-40B4-BE49-F238E27FC236}">
                <a16:creationId xmlns:a16="http://schemas.microsoft.com/office/drawing/2014/main" id="{C0D43DE1-F14D-43D0-979F-DA9D2755ABD5}"/>
              </a:ext>
            </a:extLst>
          </p:cNvPr>
          <p:cNvSpPr txBox="1"/>
          <p:nvPr/>
        </p:nvSpPr>
        <p:spPr>
          <a:xfrm>
            <a:off x="8058150" y="2283985"/>
            <a:ext cx="1457328"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1</a:t>
            </a:r>
          </a:p>
        </p:txBody>
      </p:sp>
      <p:sp>
        <p:nvSpPr>
          <p:cNvPr id="89" name="TextBox 88">
            <a:extLst>
              <a:ext uri="{FF2B5EF4-FFF2-40B4-BE49-F238E27FC236}">
                <a16:creationId xmlns:a16="http://schemas.microsoft.com/office/drawing/2014/main" id="{90DBFE95-517B-460C-869F-DE470AACB841}"/>
              </a:ext>
            </a:extLst>
          </p:cNvPr>
          <p:cNvSpPr txBox="1"/>
          <p:nvPr/>
        </p:nvSpPr>
        <p:spPr>
          <a:xfrm>
            <a:off x="9515478" y="2282154"/>
            <a:ext cx="144780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2</a:t>
            </a:r>
          </a:p>
        </p:txBody>
      </p:sp>
      <p:sp>
        <p:nvSpPr>
          <p:cNvPr id="90" name="TextBox 89">
            <a:extLst>
              <a:ext uri="{FF2B5EF4-FFF2-40B4-BE49-F238E27FC236}">
                <a16:creationId xmlns:a16="http://schemas.microsoft.com/office/drawing/2014/main" id="{1969BDE9-E362-4B8C-8A45-65CCFA26DFF8}"/>
              </a:ext>
            </a:extLst>
          </p:cNvPr>
          <p:cNvSpPr txBox="1"/>
          <p:nvPr/>
        </p:nvSpPr>
        <p:spPr>
          <a:xfrm>
            <a:off x="10972806" y="2282746"/>
            <a:ext cx="142874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78D7">
                    <a:lumMod val="50000"/>
                  </a:srgbClr>
                </a:solidFill>
                <a:effectLst/>
                <a:uLnTx/>
                <a:uFillTx/>
                <a:latin typeface="Segoe UI Light"/>
                <a:ea typeface="+mn-ea"/>
                <a:cs typeface="+mn-cs"/>
              </a:rPr>
              <a:t>FD 3</a:t>
            </a:r>
          </a:p>
        </p:txBody>
      </p:sp>
      <p:grpSp>
        <p:nvGrpSpPr>
          <p:cNvPr id="91" name="Group 90">
            <a:extLst>
              <a:ext uri="{FF2B5EF4-FFF2-40B4-BE49-F238E27FC236}">
                <a16:creationId xmlns:a16="http://schemas.microsoft.com/office/drawing/2014/main" id="{44D9C274-B76C-4ACE-AF02-F9838EDEA33E}"/>
              </a:ext>
            </a:extLst>
          </p:cNvPr>
          <p:cNvGrpSpPr/>
          <p:nvPr/>
        </p:nvGrpSpPr>
        <p:grpSpPr>
          <a:xfrm>
            <a:off x="7116899" y="1281443"/>
            <a:ext cx="845159" cy="5704808"/>
            <a:chOff x="5687964" y="1452962"/>
            <a:chExt cx="845159" cy="4002831"/>
          </a:xfrm>
        </p:grpSpPr>
        <p:sp>
          <p:nvSpPr>
            <p:cNvPr id="92" name="Chevron 55">
              <a:extLst>
                <a:ext uri="{FF2B5EF4-FFF2-40B4-BE49-F238E27FC236}">
                  <a16:creationId xmlns:a16="http://schemas.microsoft.com/office/drawing/2014/main" id="{1CC7EFE4-0265-42FB-846C-C6099D7F861B}"/>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3" name="Chevron 56">
              <a:extLst>
                <a:ext uri="{FF2B5EF4-FFF2-40B4-BE49-F238E27FC236}">
                  <a16:creationId xmlns:a16="http://schemas.microsoft.com/office/drawing/2014/main" id="{9D097AAD-F27D-4017-AA8A-D175F285D1F9}"/>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sp>
          <p:nvSpPr>
            <p:cNvPr id="94" name="Chevron 57">
              <a:extLst>
                <a:ext uri="{FF2B5EF4-FFF2-40B4-BE49-F238E27FC236}">
                  <a16:creationId xmlns:a16="http://schemas.microsoft.com/office/drawing/2014/main" id="{D1D9BF1B-796C-4A45-A3E1-F93AF51C76EC}"/>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latin typeface="Segoe UI"/>
                <a:ea typeface="+mn-ea"/>
                <a:cs typeface="+mn-cs"/>
              </a:endParaRPr>
            </a:p>
          </p:txBody>
        </p:sp>
      </p:grpSp>
      <p:sp>
        <p:nvSpPr>
          <p:cNvPr id="95" name="TextBox 94">
            <a:extLst>
              <a:ext uri="{FF2B5EF4-FFF2-40B4-BE49-F238E27FC236}">
                <a16:creationId xmlns:a16="http://schemas.microsoft.com/office/drawing/2014/main" id="{C2209F1F-8573-40BB-B2F7-BE5720E82597}"/>
              </a:ext>
            </a:extLst>
          </p:cNvPr>
          <p:cNvSpPr txBox="1"/>
          <p:nvPr/>
        </p:nvSpPr>
        <p:spPr>
          <a:xfrm>
            <a:off x="8058149" y="1494910"/>
            <a:ext cx="4343401"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0078D7">
                    <a:lumMod val="50000"/>
                  </a:srgbClr>
                </a:solidFill>
                <a:effectLst/>
                <a:uLnTx/>
                <a:uFillTx/>
                <a:latin typeface="Segoe UI Light"/>
                <a:ea typeface="+mn-ea"/>
                <a:cs typeface="+mn-cs"/>
              </a:rPr>
              <a:t>Upgrade Domains (20)</a:t>
            </a:r>
          </a:p>
        </p:txBody>
      </p:sp>
    </p:spTree>
    <p:extLst>
      <p:ext uri="{BB962C8B-B14F-4D97-AF65-F5344CB8AC3E}">
        <p14:creationId xmlns:p14="http://schemas.microsoft.com/office/powerpoint/2010/main" val="1340810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wipe(up)">
                                      <p:cBhvr>
                                        <p:cTn id="7" dur="500"/>
                                        <p:tgtEl>
                                          <p:spTgt spid="9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6"/>
                                        </p:tgtEl>
                                        <p:attrNameLst>
                                          <p:attrName>style.visibility</p:attrName>
                                        </p:attrNameLst>
                                      </p:cBhvr>
                                      <p:to>
                                        <p:strVal val="visible"/>
                                      </p:to>
                                    </p:set>
                                    <p:animEffect transition="in" filter="fade">
                                      <p:cBhvr>
                                        <p:cTn id="11" dur="500"/>
                                        <p:tgtEl>
                                          <p:spTgt spid="8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fade">
                                      <p:cBhvr>
                                        <p:cTn id="14" dur="500"/>
                                        <p:tgtEl>
                                          <p:spTgt spid="8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fade">
                                      <p:cBhvr>
                                        <p:cTn id="26" dur="500"/>
                                        <p:tgtEl>
                                          <p:spTgt spid="8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500"/>
                                        <p:tgtEl>
                                          <p:spTgt spid="9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7" grpId="0" animBg="1"/>
      <p:bldP spid="85" grpId="0" animBg="1"/>
      <p:bldGraphic spid="84" grpId="0">
        <p:bldAsOne/>
      </p:bldGraphic>
      <p:bldP spid="88" grpId="0"/>
      <p:bldP spid="89" grpId="0"/>
      <p:bldP spid="90" grpId="0"/>
      <p:bldP spid="95"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81632C0-6662-4461-990E-3B151FC4EB1E}"/>
              </a:ext>
            </a:extLst>
          </p:cNvPr>
          <p:cNvPicPr>
            <a:picLocks noChangeAspect="1"/>
          </p:cNvPicPr>
          <p:nvPr/>
        </p:nvPicPr>
        <p:blipFill>
          <a:blip r:embed="rId3"/>
          <a:stretch>
            <a:fillRect/>
          </a:stretch>
        </p:blipFill>
        <p:spPr>
          <a:xfrm>
            <a:off x="-883" y="1222049"/>
            <a:ext cx="12337227" cy="5772476"/>
          </a:xfrm>
          <a:prstGeom prst="rect">
            <a:avLst/>
          </a:prstGeom>
        </p:spPr>
      </p:pic>
      <p:sp>
        <p:nvSpPr>
          <p:cNvPr id="11" name="Title 1">
            <a:extLst>
              <a:ext uri="{FF2B5EF4-FFF2-40B4-BE49-F238E27FC236}">
                <a16:creationId xmlns:a16="http://schemas.microsoft.com/office/drawing/2014/main" id="{F323D584-E85E-4082-B635-3ED9FCBD48B5}"/>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Local Workload Protection</a:t>
            </a:r>
          </a:p>
        </p:txBody>
      </p:sp>
      <p:sp>
        <p:nvSpPr>
          <p:cNvPr id="4" name="Oval 3">
            <a:extLst>
              <a:ext uri="{FF2B5EF4-FFF2-40B4-BE49-F238E27FC236}">
                <a16:creationId xmlns:a16="http://schemas.microsoft.com/office/drawing/2014/main" id="{792666DC-DE20-47BE-96CF-D8B8B0394460}"/>
              </a:ext>
            </a:extLst>
          </p:cNvPr>
          <p:cNvSpPr/>
          <p:nvPr/>
        </p:nvSpPr>
        <p:spPr bwMode="auto">
          <a:xfrm>
            <a:off x="3076485" y="2327532"/>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4" name="Oval 13">
            <a:extLst>
              <a:ext uri="{FF2B5EF4-FFF2-40B4-BE49-F238E27FC236}">
                <a16:creationId xmlns:a16="http://schemas.microsoft.com/office/drawing/2014/main" id="{03ABEA21-E741-45E6-B64A-AFA4F9E78D29}"/>
              </a:ext>
            </a:extLst>
          </p:cNvPr>
          <p:cNvSpPr/>
          <p:nvPr/>
        </p:nvSpPr>
        <p:spPr bwMode="auto">
          <a:xfrm>
            <a:off x="7224043" y="2821063"/>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5" name="Oval 14">
            <a:extLst>
              <a:ext uri="{FF2B5EF4-FFF2-40B4-BE49-F238E27FC236}">
                <a16:creationId xmlns:a16="http://schemas.microsoft.com/office/drawing/2014/main" id="{8497857D-1424-47CE-8D1C-F99B93D323EF}"/>
              </a:ext>
            </a:extLst>
          </p:cNvPr>
          <p:cNvSpPr/>
          <p:nvPr/>
        </p:nvSpPr>
        <p:spPr bwMode="auto">
          <a:xfrm>
            <a:off x="7574421" y="5703348"/>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6" name="Oval 15">
            <a:extLst>
              <a:ext uri="{FF2B5EF4-FFF2-40B4-BE49-F238E27FC236}">
                <a16:creationId xmlns:a16="http://schemas.microsoft.com/office/drawing/2014/main" id="{EFA2786C-02E1-46AB-8DA4-211E40187D97}"/>
              </a:ext>
            </a:extLst>
          </p:cNvPr>
          <p:cNvSpPr/>
          <p:nvPr/>
        </p:nvSpPr>
        <p:spPr bwMode="auto">
          <a:xfrm>
            <a:off x="6519014" y="5233099"/>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7" name="Oval 16">
            <a:extLst>
              <a:ext uri="{FF2B5EF4-FFF2-40B4-BE49-F238E27FC236}">
                <a16:creationId xmlns:a16="http://schemas.microsoft.com/office/drawing/2014/main" id="{6F6B9269-DDB9-4437-85FE-B12A7ED893B1}"/>
              </a:ext>
            </a:extLst>
          </p:cNvPr>
          <p:cNvSpPr/>
          <p:nvPr/>
        </p:nvSpPr>
        <p:spPr bwMode="auto">
          <a:xfrm>
            <a:off x="2666285" y="5157836"/>
            <a:ext cx="350378" cy="316195"/>
          </a:xfrm>
          <a:prstGeom prst="ellipse">
            <a:avLst/>
          </a:prstGeom>
          <a:solidFill>
            <a:srgbClr val="FF0000"/>
          </a:solidFill>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a:t>
            </a:r>
          </a:p>
        </p:txBody>
      </p:sp>
    </p:spTree>
    <p:extLst>
      <p:ext uri="{BB962C8B-B14F-4D97-AF65-F5344CB8AC3E}">
        <p14:creationId xmlns:p14="http://schemas.microsoft.com/office/powerpoint/2010/main" val="2249342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5" grpId="0" animBg="1"/>
      <p:bldP spid="16" grpId="0" animBg="1"/>
      <p:bldP spid="17"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D12F8-4180-43B8-81AB-9137FFAED5EF}"/>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0250993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ctivity Logs</a:t>
            </a:r>
          </a:p>
        </p:txBody>
      </p:sp>
      <p:pic>
        <p:nvPicPr>
          <p:cNvPr id="2" name="Picture 1">
            <a:extLst>
              <a:ext uri="{FF2B5EF4-FFF2-40B4-BE49-F238E27FC236}">
                <a16:creationId xmlns:a16="http://schemas.microsoft.com/office/drawing/2014/main" id="{C1E7A571-D87A-4366-B646-361E47E2CC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1735" y="1926179"/>
            <a:ext cx="10460933" cy="4557472"/>
          </a:xfrm>
          <a:prstGeom prst="rect">
            <a:avLst/>
          </a:prstGeom>
          <a:ln>
            <a:solidFill>
              <a:schemeClr val="tx1"/>
            </a:solidFill>
          </a:ln>
        </p:spPr>
      </p:pic>
      <p:sp>
        <p:nvSpPr>
          <p:cNvPr id="4" name="Rectangle 3">
            <a:extLst>
              <a:ext uri="{FF2B5EF4-FFF2-40B4-BE49-F238E27FC236}">
                <a16:creationId xmlns:a16="http://schemas.microsoft.com/office/drawing/2014/main" id="{821D9E68-3800-459D-86B0-7006077CEB7F}"/>
              </a:ext>
            </a:extLst>
          </p:cNvPr>
          <p:cNvSpPr/>
          <p:nvPr/>
        </p:nvSpPr>
        <p:spPr bwMode="auto">
          <a:xfrm>
            <a:off x="10746160" y="1289717"/>
            <a:ext cx="169031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746160"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D51F24BD-9C75-4BF2-829D-2C1C8572FE63}"/>
              </a:ext>
            </a:extLst>
          </p:cNvPr>
          <p:cNvGraphicFramePr/>
          <p:nvPr>
            <p:extLst/>
          </p:nvPr>
        </p:nvGraphicFramePr>
        <p:xfrm>
          <a:off x="10746160" y="1934778"/>
          <a:ext cx="1689434" cy="500895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A2F35801-28FA-40A8-9D7B-AA3163BF2030}"/>
              </a:ext>
            </a:extLst>
          </p:cNvPr>
          <p:cNvSpPr txBox="1"/>
          <p:nvPr/>
        </p:nvSpPr>
        <p:spPr>
          <a:xfrm>
            <a:off x="3" y="1298315"/>
            <a:ext cx="10746159"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ctivity reports from Azure’s Log Analytics Service</a:t>
            </a:r>
          </a:p>
        </p:txBody>
      </p:sp>
      <p:sp>
        <p:nvSpPr>
          <p:cNvPr id="11" name="TextBox 10">
            <a:extLst>
              <a:ext uri="{FF2B5EF4-FFF2-40B4-BE49-F238E27FC236}">
                <a16:creationId xmlns:a16="http://schemas.microsoft.com/office/drawing/2014/main" id="{6D495990-A6EA-49F8-8A4F-35BF7778F2FB}"/>
              </a:ext>
            </a:extLst>
          </p:cNvPr>
          <p:cNvSpPr txBox="1"/>
          <p:nvPr/>
        </p:nvSpPr>
        <p:spPr>
          <a:xfrm>
            <a:off x="10745280" y="1298315"/>
            <a:ext cx="1690314"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onitor…</a:t>
            </a:r>
          </a:p>
        </p:txBody>
      </p:sp>
    </p:spTree>
    <p:extLst>
      <p:ext uri="{BB962C8B-B14F-4D97-AF65-F5344CB8AC3E}">
        <p14:creationId xmlns:p14="http://schemas.microsoft.com/office/powerpoint/2010/main" val="1089219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
                                            <p:graphicEl>
                                              <a:dgm id="{63FC1FE9-0BD7-4E0E-9187-5D957E97DB20}"/>
                                            </p:graphicEl>
                                          </p:spTgt>
                                        </p:tgtEl>
                                        <p:attrNameLst>
                                          <p:attrName>style.visibility</p:attrName>
                                        </p:attrNameLst>
                                      </p:cBhvr>
                                      <p:to>
                                        <p:strVal val="visible"/>
                                      </p:to>
                                    </p:set>
                                    <p:animEffect transition="in" filter="fade">
                                      <p:cBhvr>
                                        <p:cTn id="18" dur="500"/>
                                        <p:tgtEl>
                                          <p:spTgt spid="6">
                                            <p:graphicEl>
                                              <a:dgm id="{63FC1FE9-0BD7-4E0E-9187-5D957E97DB20}"/>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6">
                                            <p:graphicEl>
                                              <a:dgm id="{85D84BEA-0AC9-40C8-A195-E3B126B28A09}"/>
                                            </p:graphicEl>
                                          </p:spTgt>
                                        </p:tgtEl>
                                        <p:attrNameLst>
                                          <p:attrName>style.visibility</p:attrName>
                                        </p:attrNameLst>
                                      </p:cBhvr>
                                      <p:to>
                                        <p:strVal val="visible"/>
                                      </p:to>
                                    </p:set>
                                    <p:animEffect transition="in" filter="fade">
                                      <p:cBhvr>
                                        <p:cTn id="22" dur="500"/>
                                        <p:tgtEl>
                                          <p:spTgt spid="6">
                                            <p:graphicEl>
                                              <a:dgm id="{85D84BEA-0AC9-40C8-A195-E3B126B28A09}"/>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6">
                                            <p:graphicEl>
                                              <a:dgm id="{DBCD4A4B-4A7B-4F56-939C-CC772B5E474C}"/>
                                            </p:graphicEl>
                                          </p:spTgt>
                                        </p:tgtEl>
                                        <p:attrNameLst>
                                          <p:attrName>style.visibility</p:attrName>
                                        </p:attrNameLst>
                                      </p:cBhvr>
                                      <p:to>
                                        <p:strVal val="visible"/>
                                      </p:to>
                                    </p:set>
                                    <p:animEffect transition="in" filter="fade">
                                      <p:cBhvr>
                                        <p:cTn id="26" dur="500"/>
                                        <p:tgtEl>
                                          <p:spTgt spid="6">
                                            <p:graphicEl>
                                              <a:dgm id="{DBCD4A4B-4A7B-4F56-939C-CC772B5E474C}"/>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6">
                                            <p:graphicEl>
                                              <a:dgm id="{24F7414B-96AC-4156-B5A9-E9256EE3A38B}"/>
                                            </p:graphicEl>
                                          </p:spTgt>
                                        </p:tgtEl>
                                        <p:attrNameLst>
                                          <p:attrName>style.visibility</p:attrName>
                                        </p:attrNameLst>
                                      </p:cBhvr>
                                      <p:to>
                                        <p:strVal val="visible"/>
                                      </p:to>
                                    </p:set>
                                    <p:animEffect transition="in" filter="fade">
                                      <p:cBhvr>
                                        <p:cTn id="30" dur="500"/>
                                        <p:tgtEl>
                                          <p:spTgt spid="6">
                                            <p:graphicEl>
                                              <a:dgm id="{24F7414B-96AC-4156-B5A9-E9256EE3A38B}"/>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6">
                                            <p:graphicEl>
                                              <a:dgm id="{CACC16B1-C980-478D-81B9-9497B45E3E3C}"/>
                                            </p:graphicEl>
                                          </p:spTgt>
                                        </p:tgtEl>
                                        <p:attrNameLst>
                                          <p:attrName>style.visibility</p:attrName>
                                        </p:attrNameLst>
                                      </p:cBhvr>
                                      <p:to>
                                        <p:strVal val="visible"/>
                                      </p:to>
                                    </p:set>
                                    <p:animEffect transition="in" filter="fade">
                                      <p:cBhvr>
                                        <p:cTn id="34" dur="500"/>
                                        <p:tgtEl>
                                          <p:spTgt spid="6">
                                            <p:graphicEl>
                                              <a:dgm id="{CACC16B1-C980-478D-81B9-9497B45E3E3C}"/>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6" grpId="0" uiExpand="1">
        <p:bldSub>
          <a:bldDgm bld="one"/>
        </p:bldSub>
      </p:bldGraphic>
      <p:bldP spid="11"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ystem Center Integration with Log Analytic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B359FBEF-CF58-4518-AF90-D17EE5774F81}"/>
              </a:ext>
            </a:extLst>
          </p:cNvPr>
          <p:cNvPicPr>
            <a:picLocks noChangeAspect="1"/>
          </p:cNvPicPr>
          <p:nvPr/>
        </p:nvPicPr>
        <p:blipFill>
          <a:blip r:embed="rId3"/>
          <a:stretch>
            <a:fillRect/>
          </a:stretch>
        </p:blipFill>
        <p:spPr>
          <a:xfrm>
            <a:off x="292811" y="1991680"/>
            <a:ext cx="7324058" cy="4289479"/>
          </a:xfrm>
          <a:prstGeom prst="rect">
            <a:avLst/>
          </a:prstGeom>
        </p:spPr>
      </p:pic>
      <p:sp>
        <p:nvSpPr>
          <p:cNvPr id="5" name="Rectangle 4">
            <a:extLst>
              <a:ext uri="{FF2B5EF4-FFF2-40B4-BE49-F238E27FC236}">
                <a16:creationId xmlns:a16="http://schemas.microsoft.com/office/drawing/2014/main" id="{814FA2FA-3870-427E-9D37-4811EE2802E8}"/>
              </a:ext>
            </a:extLst>
          </p:cNvPr>
          <p:cNvSpPr/>
          <p:nvPr/>
        </p:nvSpPr>
        <p:spPr bwMode="auto">
          <a:xfrm>
            <a:off x="7751035" y="1289717"/>
            <a:ext cx="468543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3D3C97DB-DD45-4AD3-8A57-54D1213E9B66}"/>
              </a:ext>
            </a:extLst>
          </p:cNvPr>
          <p:cNvCxnSpPr/>
          <p:nvPr/>
        </p:nvCxnSpPr>
        <p:spPr>
          <a:xfrm>
            <a:off x="7754265"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57C37E89-E4E4-4B52-AA6F-388E70D58164}"/>
              </a:ext>
            </a:extLst>
          </p:cNvPr>
          <p:cNvGraphicFramePr/>
          <p:nvPr>
            <p:extLst>
              <p:ext uri="{D42A27DB-BD31-4B8C-83A1-F6EECF244321}">
                <p14:modId xmlns:p14="http://schemas.microsoft.com/office/powerpoint/2010/main" val="2820713382"/>
              </p:ext>
            </p:extLst>
          </p:nvPr>
        </p:nvGraphicFramePr>
        <p:xfrm>
          <a:off x="7947116" y="1427148"/>
          <a:ext cx="4489359" cy="55673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75348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a:t>What does visibility mean to you?</a:t>
            </a:r>
          </a:p>
        </p:txBody>
      </p:sp>
      <p:grpSp>
        <p:nvGrpSpPr>
          <p:cNvPr id="4" name="Group 3"/>
          <p:cNvGrpSpPr/>
          <p:nvPr/>
        </p:nvGrpSpPr>
        <p:grpSpPr>
          <a:xfrm>
            <a:off x="4105831" y="3689217"/>
            <a:ext cx="1302833" cy="3893061"/>
            <a:chOff x="6877823" y="2981768"/>
            <a:chExt cx="898581" cy="2685093"/>
          </a:xfrm>
          <a:solidFill>
            <a:schemeClr val="accent4">
              <a:lumMod val="75000"/>
            </a:schemeClr>
          </a:solidFill>
        </p:grpSpPr>
        <p:sp>
          <p:nvSpPr>
            <p:cNvPr id="5"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p:cNvGrpSpPr/>
            <p:nvPr/>
          </p:nvGrpSpPr>
          <p:grpSpPr>
            <a:xfrm>
              <a:off x="6877823" y="2981768"/>
              <a:ext cx="898581" cy="2685093"/>
              <a:chOff x="6125069" y="3378167"/>
              <a:chExt cx="401637" cy="1200151"/>
            </a:xfrm>
            <a:grpFill/>
          </p:grpSpPr>
          <p:sp>
            <p:nvSpPr>
              <p:cNvPr id="7"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9" name="Group 8"/>
              <p:cNvGrpSpPr/>
              <p:nvPr/>
            </p:nvGrpSpPr>
            <p:grpSpPr>
              <a:xfrm>
                <a:off x="6199681" y="3378167"/>
                <a:ext cx="327025" cy="1200151"/>
                <a:chOff x="6199681" y="3378167"/>
                <a:chExt cx="327025" cy="1200151"/>
              </a:xfrm>
              <a:grpFill/>
            </p:grpSpPr>
            <p:sp>
              <p:nvSpPr>
                <p:cNvPr id="10" name="Freeform 115"/>
                <p:cNvSpPr>
                  <a:spLocks/>
                </p:cNvSpPr>
                <p:nvPr/>
              </p:nvSpPr>
              <p:spPr bwMode="auto">
                <a:xfrm>
                  <a:off x="6240248" y="3378167"/>
                  <a:ext cx="185380" cy="24684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 name="connsiteX0" fmla="*/ 9380 w 9883"/>
                    <a:gd name="connsiteY0" fmla="*/ 7914 h 10000"/>
                    <a:gd name="connsiteX1" fmla="*/ 8386 w 9883"/>
                    <a:gd name="connsiteY1" fmla="*/ 7914 h 10000"/>
                    <a:gd name="connsiteX2" fmla="*/ 8759 w 9883"/>
                    <a:gd name="connsiteY2" fmla="*/ 6631 h 10000"/>
                    <a:gd name="connsiteX3" fmla="*/ 9007 w 9883"/>
                    <a:gd name="connsiteY3" fmla="*/ 6203 h 10000"/>
                    <a:gd name="connsiteX4" fmla="*/ 9007 w 9883"/>
                    <a:gd name="connsiteY4" fmla="*/ 6150 h 10000"/>
                    <a:gd name="connsiteX5" fmla="*/ 9007 w 9883"/>
                    <a:gd name="connsiteY5" fmla="*/ 6150 h 10000"/>
                    <a:gd name="connsiteX6" fmla="*/ 9318 w 9883"/>
                    <a:gd name="connsiteY6" fmla="*/ 4706 h 10000"/>
                    <a:gd name="connsiteX7" fmla="*/ 7082 w 9883"/>
                    <a:gd name="connsiteY7" fmla="*/ 1497 h 10000"/>
                    <a:gd name="connsiteX8" fmla="*/ 4100 w 9883"/>
                    <a:gd name="connsiteY8" fmla="*/ 0 h 10000"/>
                    <a:gd name="connsiteX9" fmla="*/ 312 w 9883"/>
                    <a:gd name="connsiteY9" fmla="*/ 4064 h 10000"/>
                    <a:gd name="connsiteX10" fmla="*/ 871 w 9883"/>
                    <a:gd name="connsiteY10" fmla="*/ 6150 h 10000"/>
                    <a:gd name="connsiteX11" fmla="*/ 871 w 9883"/>
                    <a:gd name="connsiteY11" fmla="*/ 6150 h 10000"/>
                    <a:gd name="connsiteX12" fmla="*/ 1492 w 9883"/>
                    <a:gd name="connsiteY12" fmla="*/ 7914 h 10000"/>
                    <a:gd name="connsiteX13" fmla="*/ 1 w 9883"/>
                    <a:gd name="connsiteY13" fmla="*/ 8503 h 10000"/>
                    <a:gd name="connsiteX14" fmla="*/ 1554 w 9883"/>
                    <a:gd name="connsiteY14" fmla="*/ 9840 h 10000"/>
                    <a:gd name="connsiteX15" fmla="*/ 4287 w 9883"/>
                    <a:gd name="connsiteY15" fmla="*/ 10000 h 10000"/>
                    <a:gd name="connsiteX16" fmla="*/ 4473 w 9883"/>
                    <a:gd name="connsiteY16" fmla="*/ 10000 h 10000"/>
                    <a:gd name="connsiteX17" fmla="*/ 4473 w 9883"/>
                    <a:gd name="connsiteY17" fmla="*/ 10000 h 10000"/>
                    <a:gd name="connsiteX18" fmla="*/ 4846 w 9883"/>
                    <a:gd name="connsiteY18" fmla="*/ 10000 h 10000"/>
                    <a:gd name="connsiteX19" fmla="*/ 4970 w 9883"/>
                    <a:gd name="connsiteY19" fmla="*/ 10000 h 10000"/>
                    <a:gd name="connsiteX20" fmla="*/ 5032 w 9883"/>
                    <a:gd name="connsiteY20" fmla="*/ 10000 h 10000"/>
                    <a:gd name="connsiteX21" fmla="*/ 5405 w 9883"/>
                    <a:gd name="connsiteY21" fmla="*/ 10000 h 10000"/>
                    <a:gd name="connsiteX22" fmla="*/ 5405 w 9883"/>
                    <a:gd name="connsiteY22" fmla="*/ 10000 h 10000"/>
                    <a:gd name="connsiteX23" fmla="*/ 5591 w 9883"/>
                    <a:gd name="connsiteY23" fmla="*/ 10000 h 10000"/>
                    <a:gd name="connsiteX24" fmla="*/ 8324 w 9883"/>
                    <a:gd name="connsiteY24" fmla="*/ 9840 h 10000"/>
                    <a:gd name="connsiteX25" fmla="*/ 9877 w 9883"/>
                    <a:gd name="connsiteY25" fmla="*/ 8503 h 10000"/>
                    <a:gd name="connsiteX26" fmla="*/ 9380 w 9883"/>
                    <a:gd name="connsiteY26" fmla="*/ 7914 h 10000"/>
                    <a:gd name="connsiteX0" fmla="*/ 9175 w 9684"/>
                    <a:gd name="connsiteY0" fmla="*/ 7914 h 10000"/>
                    <a:gd name="connsiteX1" fmla="*/ 8169 w 9684"/>
                    <a:gd name="connsiteY1" fmla="*/ 7914 h 10000"/>
                    <a:gd name="connsiteX2" fmla="*/ 8547 w 9684"/>
                    <a:gd name="connsiteY2" fmla="*/ 6631 h 10000"/>
                    <a:gd name="connsiteX3" fmla="*/ 8798 w 9684"/>
                    <a:gd name="connsiteY3" fmla="*/ 6203 h 10000"/>
                    <a:gd name="connsiteX4" fmla="*/ 8798 w 9684"/>
                    <a:gd name="connsiteY4" fmla="*/ 6150 h 10000"/>
                    <a:gd name="connsiteX5" fmla="*/ 8798 w 9684"/>
                    <a:gd name="connsiteY5" fmla="*/ 6150 h 10000"/>
                    <a:gd name="connsiteX6" fmla="*/ 9112 w 9684"/>
                    <a:gd name="connsiteY6" fmla="*/ 4706 h 10000"/>
                    <a:gd name="connsiteX7" fmla="*/ 6850 w 9684"/>
                    <a:gd name="connsiteY7" fmla="*/ 1497 h 10000"/>
                    <a:gd name="connsiteX8" fmla="*/ 3833 w 9684"/>
                    <a:gd name="connsiteY8" fmla="*/ 0 h 10000"/>
                    <a:gd name="connsiteX9" fmla="*/ 0 w 9684"/>
                    <a:gd name="connsiteY9" fmla="*/ 4064 h 10000"/>
                    <a:gd name="connsiteX10" fmla="*/ 565 w 9684"/>
                    <a:gd name="connsiteY10" fmla="*/ 6150 h 10000"/>
                    <a:gd name="connsiteX11" fmla="*/ 565 w 9684"/>
                    <a:gd name="connsiteY11" fmla="*/ 6150 h 10000"/>
                    <a:gd name="connsiteX12" fmla="*/ 1194 w 9684"/>
                    <a:gd name="connsiteY12" fmla="*/ 7914 h 10000"/>
                    <a:gd name="connsiteX13" fmla="*/ 1256 w 9684"/>
                    <a:gd name="connsiteY13" fmla="*/ 9840 h 10000"/>
                    <a:gd name="connsiteX14" fmla="*/ 4022 w 9684"/>
                    <a:gd name="connsiteY14" fmla="*/ 10000 h 10000"/>
                    <a:gd name="connsiteX15" fmla="*/ 4210 w 9684"/>
                    <a:gd name="connsiteY15" fmla="*/ 10000 h 10000"/>
                    <a:gd name="connsiteX16" fmla="*/ 4210 w 9684"/>
                    <a:gd name="connsiteY16" fmla="*/ 10000 h 10000"/>
                    <a:gd name="connsiteX17" fmla="*/ 4587 w 9684"/>
                    <a:gd name="connsiteY17" fmla="*/ 10000 h 10000"/>
                    <a:gd name="connsiteX18" fmla="*/ 4713 w 9684"/>
                    <a:gd name="connsiteY18" fmla="*/ 10000 h 10000"/>
                    <a:gd name="connsiteX19" fmla="*/ 4776 w 9684"/>
                    <a:gd name="connsiteY19" fmla="*/ 10000 h 10000"/>
                    <a:gd name="connsiteX20" fmla="*/ 5153 w 9684"/>
                    <a:gd name="connsiteY20" fmla="*/ 10000 h 10000"/>
                    <a:gd name="connsiteX21" fmla="*/ 5153 w 9684"/>
                    <a:gd name="connsiteY21" fmla="*/ 10000 h 10000"/>
                    <a:gd name="connsiteX22" fmla="*/ 5341 w 9684"/>
                    <a:gd name="connsiteY22" fmla="*/ 10000 h 10000"/>
                    <a:gd name="connsiteX23" fmla="*/ 8107 w 9684"/>
                    <a:gd name="connsiteY23" fmla="*/ 9840 h 10000"/>
                    <a:gd name="connsiteX24" fmla="*/ 9678 w 9684"/>
                    <a:gd name="connsiteY24" fmla="*/ 8503 h 10000"/>
                    <a:gd name="connsiteX25" fmla="*/ 9175 w 9684"/>
                    <a:gd name="connsiteY25" fmla="*/ 7914 h 10000"/>
                    <a:gd name="connsiteX0" fmla="*/ 9474 w 10001"/>
                    <a:gd name="connsiteY0" fmla="*/ 7914 h 10957"/>
                    <a:gd name="connsiteX1" fmla="*/ 8436 w 10001"/>
                    <a:gd name="connsiteY1" fmla="*/ 7914 h 10957"/>
                    <a:gd name="connsiteX2" fmla="*/ 8826 w 10001"/>
                    <a:gd name="connsiteY2" fmla="*/ 6631 h 10957"/>
                    <a:gd name="connsiteX3" fmla="*/ 9085 w 10001"/>
                    <a:gd name="connsiteY3" fmla="*/ 6203 h 10957"/>
                    <a:gd name="connsiteX4" fmla="*/ 9085 w 10001"/>
                    <a:gd name="connsiteY4" fmla="*/ 6150 h 10957"/>
                    <a:gd name="connsiteX5" fmla="*/ 9085 w 10001"/>
                    <a:gd name="connsiteY5" fmla="*/ 6150 h 10957"/>
                    <a:gd name="connsiteX6" fmla="*/ 9409 w 10001"/>
                    <a:gd name="connsiteY6" fmla="*/ 4706 h 10957"/>
                    <a:gd name="connsiteX7" fmla="*/ 7074 w 10001"/>
                    <a:gd name="connsiteY7" fmla="*/ 1497 h 10957"/>
                    <a:gd name="connsiteX8" fmla="*/ 3958 w 10001"/>
                    <a:gd name="connsiteY8" fmla="*/ 0 h 10957"/>
                    <a:gd name="connsiteX9" fmla="*/ 0 w 10001"/>
                    <a:gd name="connsiteY9" fmla="*/ 4064 h 10957"/>
                    <a:gd name="connsiteX10" fmla="*/ 583 w 10001"/>
                    <a:gd name="connsiteY10" fmla="*/ 6150 h 10957"/>
                    <a:gd name="connsiteX11" fmla="*/ 583 w 10001"/>
                    <a:gd name="connsiteY11" fmla="*/ 6150 h 10957"/>
                    <a:gd name="connsiteX12" fmla="*/ 1233 w 10001"/>
                    <a:gd name="connsiteY12" fmla="*/ 7914 h 10957"/>
                    <a:gd name="connsiteX13" fmla="*/ 446 w 10001"/>
                    <a:gd name="connsiteY13" fmla="*/ 10911 h 10957"/>
                    <a:gd name="connsiteX14" fmla="*/ 1297 w 10001"/>
                    <a:gd name="connsiteY14" fmla="*/ 9840 h 10957"/>
                    <a:gd name="connsiteX15" fmla="*/ 4153 w 10001"/>
                    <a:gd name="connsiteY15" fmla="*/ 10000 h 10957"/>
                    <a:gd name="connsiteX16" fmla="*/ 4347 w 10001"/>
                    <a:gd name="connsiteY16" fmla="*/ 10000 h 10957"/>
                    <a:gd name="connsiteX17" fmla="*/ 4347 w 10001"/>
                    <a:gd name="connsiteY17" fmla="*/ 10000 h 10957"/>
                    <a:gd name="connsiteX18" fmla="*/ 4737 w 10001"/>
                    <a:gd name="connsiteY18" fmla="*/ 10000 h 10957"/>
                    <a:gd name="connsiteX19" fmla="*/ 4867 w 10001"/>
                    <a:gd name="connsiteY19" fmla="*/ 10000 h 10957"/>
                    <a:gd name="connsiteX20" fmla="*/ 4932 w 10001"/>
                    <a:gd name="connsiteY20" fmla="*/ 10000 h 10957"/>
                    <a:gd name="connsiteX21" fmla="*/ 5321 w 10001"/>
                    <a:gd name="connsiteY21" fmla="*/ 10000 h 10957"/>
                    <a:gd name="connsiteX22" fmla="*/ 5321 w 10001"/>
                    <a:gd name="connsiteY22" fmla="*/ 10000 h 10957"/>
                    <a:gd name="connsiteX23" fmla="*/ 5515 w 10001"/>
                    <a:gd name="connsiteY23" fmla="*/ 10000 h 10957"/>
                    <a:gd name="connsiteX24" fmla="*/ 8372 w 10001"/>
                    <a:gd name="connsiteY24" fmla="*/ 9840 h 10957"/>
                    <a:gd name="connsiteX25" fmla="*/ 9994 w 10001"/>
                    <a:gd name="connsiteY25" fmla="*/ 8503 h 10957"/>
                    <a:gd name="connsiteX26" fmla="*/ 9474 w 10001"/>
                    <a:gd name="connsiteY26" fmla="*/ 7914 h 10957"/>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4153 w 10001"/>
                    <a:gd name="connsiteY15" fmla="*/ 10000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1"/>
                    <a:gd name="connsiteX1" fmla="*/ 8436 w 10001"/>
                    <a:gd name="connsiteY1" fmla="*/ 7914 h 10961"/>
                    <a:gd name="connsiteX2" fmla="*/ 8826 w 10001"/>
                    <a:gd name="connsiteY2" fmla="*/ 6631 h 10961"/>
                    <a:gd name="connsiteX3" fmla="*/ 9085 w 10001"/>
                    <a:gd name="connsiteY3" fmla="*/ 6203 h 10961"/>
                    <a:gd name="connsiteX4" fmla="*/ 9085 w 10001"/>
                    <a:gd name="connsiteY4" fmla="*/ 6150 h 10961"/>
                    <a:gd name="connsiteX5" fmla="*/ 9085 w 10001"/>
                    <a:gd name="connsiteY5" fmla="*/ 6150 h 10961"/>
                    <a:gd name="connsiteX6" fmla="*/ 9409 w 10001"/>
                    <a:gd name="connsiteY6" fmla="*/ 4706 h 10961"/>
                    <a:gd name="connsiteX7" fmla="*/ 7074 w 10001"/>
                    <a:gd name="connsiteY7" fmla="*/ 1497 h 10961"/>
                    <a:gd name="connsiteX8" fmla="*/ 3958 w 10001"/>
                    <a:gd name="connsiteY8" fmla="*/ 0 h 10961"/>
                    <a:gd name="connsiteX9" fmla="*/ 0 w 10001"/>
                    <a:gd name="connsiteY9" fmla="*/ 4064 h 10961"/>
                    <a:gd name="connsiteX10" fmla="*/ 583 w 10001"/>
                    <a:gd name="connsiteY10" fmla="*/ 6150 h 10961"/>
                    <a:gd name="connsiteX11" fmla="*/ 583 w 10001"/>
                    <a:gd name="connsiteY11" fmla="*/ 6150 h 10961"/>
                    <a:gd name="connsiteX12" fmla="*/ 1233 w 10001"/>
                    <a:gd name="connsiteY12" fmla="*/ 7914 h 10961"/>
                    <a:gd name="connsiteX13" fmla="*/ 446 w 10001"/>
                    <a:gd name="connsiteY13" fmla="*/ 10911 h 10961"/>
                    <a:gd name="connsiteX14" fmla="*/ 2377 w 10001"/>
                    <a:gd name="connsiteY14" fmla="*/ 9974 h 10961"/>
                    <a:gd name="connsiteX15" fmla="*/ 3181 w 10001"/>
                    <a:gd name="connsiteY15" fmla="*/ 10849 h 10961"/>
                    <a:gd name="connsiteX16" fmla="*/ 4347 w 10001"/>
                    <a:gd name="connsiteY16" fmla="*/ 10000 h 10961"/>
                    <a:gd name="connsiteX17" fmla="*/ 4347 w 10001"/>
                    <a:gd name="connsiteY17" fmla="*/ 10000 h 10961"/>
                    <a:gd name="connsiteX18" fmla="*/ 4737 w 10001"/>
                    <a:gd name="connsiteY18" fmla="*/ 10000 h 10961"/>
                    <a:gd name="connsiteX19" fmla="*/ 4867 w 10001"/>
                    <a:gd name="connsiteY19" fmla="*/ 10000 h 10961"/>
                    <a:gd name="connsiteX20" fmla="*/ 4932 w 10001"/>
                    <a:gd name="connsiteY20" fmla="*/ 10000 h 10961"/>
                    <a:gd name="connsiteX21" fmla="*/ 5321 w 10001"/>
                    <a:gd name="connsiteY21" fmla="*/ 10000 h 10961"/>
                    <a:gd name="connsiteX22" fmla="*/ 5321 w 10001"/>
                    <a:gd name="connsiteY22" fmla="*/ 10000 h 10961"/>
                    <a:gd name="connsiteX23" fmla="*/ 5515 w 10001"/>
                    <a:gd name="connsiteY23" fmla="*/ 10000 h 10961"/>
                    <a:gd name="connsiteX24" fmla="*/ 8372 w 10001"/>
                    <a:gd name="connsiteY24" fmla="*/ 9840 h 10961"/>
                    <a:gd name="connsiteX25" fmla="*/ 9994 w 10001"/>
                    <a:gd name="connsiteY25" fmla="*/ 8503 h 10961"/>
                    <a:gd name="connsiteX26" fmla="*/ 9474 w 10001"/>
                    <a:gd name="connsiteY26" fmla="*/ 7914 h 10961"/>
                    <a:gd name="connsiteX0" fmla="*/ 9474 w 10001"/>
                    <a:gd name="connsiteY0" fmla="*/ 7914 h 10969"/>
                    <a:gd name="connsiteX1" fmla="*/ 8436 w 10001"/>
                    <a:gd name="connsiteY1" fmla="*/ 7914 h 10969"/>
                    <a:gd name="connsiteX2" fmla="*/ 8826 w 10001"/>
                    <a:gd name="connsiteY2" fmla="*/ 6631 h 10969"/>
                    <a:gd name="connsiteX3" fmla="*/ 9085 w 10001"/>
                    <a:gd name="connsiteY3" fmla="*/ 6203 h 10969"/>
                    <a:gd name="connsiteX4" fmla="*/ 9085 w 10001"/>
                    <a:gd name="connsiteY4" fmla="*/ 6150 h 10969"/>
                    <a:gd name="connsiteX5" fmla="*/ 9085 w 10001"/>
                    <a:gd name="connsiteY5" fmla="*/ 6150 h 10969"/>
                    <a:gd name="connsiteX6" fmla="*/ 9409 w 10001"/>
                    <a:gd name="connsiteY6" fmla="*/ 4706 h 10969"/>
                    <a:gd name="connsiteX7" fmla="*/ 7074 w 10001"/>
                    <a:gd name="connsiteY7" fmla="*/ 1497 h 10969"/>
                    <a:gd name="connsiteX8" fmla="*/ 3958 w 10001"/>
                    <a:gd name="connsiteY8" fmla="*/ 0 h 10969"/>
                    <a:gd name="connsiteX9" fmla="*/ 0 w 10001"/>
                    <a:gd name="connsiteY9" fmla="*/ 4064 h 10969"/>
                    <a:gd name="connsiteX10" fmla="*/ 583 w 10001"/>
                    <a:gd name="connsiteY10" fmla="*/ 6150 h 10969"/>
                    <a:gd name="connsiteX11" fmla="*/ 583 w 10001"/>
                    <a:gd name="connsiteY11" fmla="*/ 6150 h 10969"/>
                    <a:gd name="connsiteX12" fmla="*/ 1233 w 10001"/>
                    <a:gd name="connsiteY12" fmla="*/ 7914 h 10969"/>
                    <a:gd name="connsiteX13" fmla="*/ 446 w 10001"/>
                    <a:gd name="connsiteY13" fmla="*/ 10911 h 10969"/>
                    <a:gd name="connsiteX14" fmla="*/ 2377 w 10001"/>
                    <a:gd name="connsiteY14" fmla="*/ 9974 h 10969"/>
                    <a:gd name="connsiteX15" fmla="*/ 2227 w 10001"/>
                    <a:gd name="connsiteY15" fmla="*/ 10151 h 10969"/>
                    <a:gd name="connsiteX16" fmla="*/ 3181 w 10001"/>
                    <a:gd name="connsiteY16" fmla="*/ 10849 h 10969"/>
                    <a:gd name="connsiteX17" fmla="*/ 4347 w 10001"/>
                    <a:gd name="connsiteY17" fmla="*/ 10000 h 10969"/>
                    <a:gd name="connsiteX18" fmla="*/ 4347 w 10001"/>
                    <a:gd name="connsiteY18" fmla="*/ 10000 h 10969"/>
                    <a:gd name="connsiteX19" fmla="*/ 4737 w 10001"/>
                    <a:gd name="connsiteY19" fmla="*/ 10000 h 10969"/>
                    <a:gd name="connsiteX20" fmla="*/ 4867 w 10001"/>
                    <a:gd name="connsiteY20" fmla="*/ 10000 h 10969"/>
                    <a:gd name="connsiteX21" fmla="*/ 4932 w 10001"/>
                    <a:gd name="connsiteY21" fmla="*/ 10000 h 10969"/>
                    <a:gd name="connsiteX22" fmla="*/ 5321 w 10001"/>
                    <a:gd name="connsiteY22" fmla="*/ 10000 h 10969"/>
                    <a:gd name="connsiteX23" fmla="*/ 5321 w 10001"/>
                    <a:gd name="connsiteY23" fmla="*/ 10000 h 10969"/>
                    <a:gd name="connsiteX24" fmla="*/ 5515 w 10001"/>
                    <a:gd name="connsiteY24" fmla="*/ 10000 h 10969"/>
                    <a:gd name="connsiteX25" fmla="*/ 8372 w 10001"/>
                    <a:gd name="connsiteY25" fmla="*/ 9840 h 10969"/>
                    <a:gd name="connsiteX26" fmla="*/ 9994 w 10001"/>
                    <a:gd name="connsiteY26" fmla="*/ 8503 h 10969"/>
                    <a:gd name="connsiteX27" fmla="*/ 9474 w 10001"/>
                    <a:gd name="connsiteY27" fmla="*/ 7914 h 10969"/>
                    <a:gd name="connsiteX0" fmla="*/ 9474 w 10001"/>
                    <a:gd name="connsiteY0" fmla="*/ 7914 h 10986"/>
                    <a:gd name="connsiteX1" fmla="*/ 8436 w 10001"/>
                    <a:gd name="connsiteY1" fmla="*/ 7914 h 10986"/>
                    <a:gd name="connsiteX2" fmla="*/ 8826 w 10001"/>
                    <a:gd name="connsiteY2" fmla="*/ 6631 h 10986"/>
                    <a:gd name="connsiteX3" fmla="*/ 9085 w 10001"/>
                    <a:gd name="connsiteY3" fmla="*/ 6203 h 10986"/>
                    <a:gd name="connsiteX4" fmla="*/ 9085 w 10001"/>
                    <a:gd name="connsiteY4" fmla="*/ 6150 h 10986"/>
                    <a:gd name="connsiteX5" fmla="*/ 9085 w 10001"/>
                    <a:gd name="connsiteY5" fmla="*/ 6150 h 10986"/>
                    <a:gd name="connsiteX6" fmla="*/ 9409 w 10001"/>
                    <a:gd name="connsiteY6" fmla="*/ 4706 h 10986"/>
                    <a:gd name="connsiteX7" fmla="*/ 7074 w 10001"/>
                    <a:gd name="connsiteY7" fmla="*/ 1497 h 10986"/>
                    <a:gd name="connsiteX8" fmla="*/ 3958 w 10001"/>
                    <a:gd name="connsiteY8" fmla="*/ 0 h 10986"/>
                    <a:gd name="connsiteX9" fmla="*/ 0 w 10001"/>
                    <a:gd name="connsiteY9" fmla="*/ 4064 h 10986"/>
                    <a:gd name="connsiteX10" fmla="*/ 583 w 10001"/>
                    <a:gd name="connsiteY10" fmla="*/ 6150 h 10986"/>
                    <a:gd name="connsiteX11" fmla="*/ 583 w 10001"/>
                    <a:gd name="connsiteY11" fmla="*/ 6150 h 10986"/>
                    <a:gd name="connsiteX12" fmla="*/ 1233 w 10001"/>
                    <a:gd name="connsiteY12" fmla="*/ 7914 h 10986"/>
                    <a:gd name="connsiteX13" fmla="*/ 446 w 10001"/>
                    <a:gd name="connsiteY13" fmla="*/ 10911 h 10986"/>
                    <a:gd name="connsiteX14" fmla="*/ 2227 w 10001"/>
                    <a:gd name="connsiteY14" fmla="*/ 10151 h 10986"/>
                    <a:gd name="connsiteX15" fmla="*/ 3181 w 10001"/>
                    <a:gd name="connsiteY15" fmla="*/ 10849 h 10986"/>
                    <a:gd name="connsiteX16" fmla="*/ 4347 w 10001"/>
                    <a:gd name="connsiteY16" fmla="*/ 10000 h 10986"/>
                    <a:gd name="connsiteX17" fmla="*/ 4347 w 10001"/>
                    <a:gd name="connsiteY17" fmla="*/ 10000 h 10986"/>
                    <a:gd name="connsiteX18" fmla="*/ 4737 w 10001"/>
                    <a:gd name="connsiteY18" fmla="*/ 10000 h 10986"/>
                    <a:gd name="connsiteX19" fmla="*/ 4867 w 10001"/>
                    <a:gd name="connsiteY19" fmla="*/ 10000 h 10986"/>
                    <a:gd name="connsiteX20" fmla="*/ 4932 w 10001"/>
                    <a:gd name="connsiteY20" fmla="*/ 10000 h 10986"/>
                    <a:gd name="connsiteX21" fmla="*/ 5321 w 10001"/>
                    <a:gd name="connsiteY21" fmla="*/ 10000 h 10986"/>
                    <a:gd name="connsiteX22" fmla="*/ 5321 w 10001"/>
                    <a:gd name="connsiteY22" fmla="*/ 10000 h 10986"/>
                    <a:gd name="connsiteX23" fmla="*/ 5515 w 10001"/>
                    <a:gd name="connsiteY23" fmla="*/ 10000 h 10986"/>
                    <a:gd name="connsiteX24" fmla="*/ 8372 w 10001"/>
                    <a:gd name="connsiteY24" fmla="*/ 9840 h 10986"/>
                    <a:gd name="connsiteX25" fmla="*/ 9994 w 10001"/>
                    <a:gd name="connsiteY25" fmla="*/ 8503 h 10986"/>
                    <a:gd name="connsiteX26" fmla="*/ 9474 w 10001"/>
                    <a:gd name="connsiteY26" fmla="*/ 7914 h 10986"/>
                    <a:gd name="connsiteX0" fmla="*/ 9474 w 10001"/>
                    <a:gd name="connsiteY0" fmla="*/ 7914 h 11028"/>
                    <a:gd name="connsiteX1" fmla="*/ 8436 w 10001"/>
                    <a:gd name="connsiteY1" fmla="*/ 7914 h 11028"/>
                    <a:gd name="connsiteX2" fmla="*/ 8826 w 10001"/>
                    <a:gd name="connsiteY2" fmla="*/ 6631 h 11028"/>
                    <a:gd name="connsiteX3" fmla="*/ 9085 w 10001"/>
                    <a:gd name="connsiteY3" fmla="*/ 6203 h 11028"/>
                    <a:gd name="connsiteX4" fmla="*/ 9085 w 10001"/>
                    <a:gd name="connsiteY4" fmla="*/ 6150 h 11028"/>
                    <a:gd name="connsiteX5" fmla="*/ 9085 w 10001"/>
                    <a:gd name="connsiteY5" fmla="*/ 6150 h 11028"/>
                    <a:gd name="connsiteX6" fmla="*/ 9409 w 10001"/>
                    <a:gd name="connsiteY6" fmla="*/ 4706 h 11028"/>
                    <a:gd name="connsiteX7" fmla="*/ 7074 w 10001"/>
                    <a:gd name="connsiteY7" fmla="*/ 1497 h 11028"/>
                    <a:gd name="connsiteX8" fmla="*/ 3958 w 10001"/>
                    <a:gd name="connsiteY8" fmla="*/ 0 h 11028"/>
                    <a:gd name="connsiteX9" fmla="*/ 0 w 10001"/>
                    <a:gd name="connsiteY9" fmla="*/ 4064 h 11028"/>
                    <a:gd name="connsiteX10" fmla="*/ 583 w 10001"/>
                    <a:gd name="connsiteY10" fmla="*/ 6150 h 11028"/>
                    <a:gd name="connsiteX11" fmla="*/ 583 w 10001"/>
                    <a:gd name="connsiteY11" fmla="*/ 6150 h 11028"/>
                    <a:gd name="connsiteX12" fmla="*/ 1233 w 10001"/>
                    <a:gd name="connsiteY12" fmla="*/ 7914 h 11028"/>
                    <a:gd name="connsiteX13" fmla="*/ 446 w 10001"/>
                    <a:gd name="connsiteY13" fmla="*/ 10911 h 11028"/>
                    <a:gd name="connsiteX14" fmla="*/ 2227 w 10001"/>
                    <a:gd name="connsiteY14" fmla="*/ 10643 h 11028"/>
                    <a:gd name="connsiteX15" fmla="*/ 3181 w 10001"/>
                    <a:gd name="connsiteY15" fmla="*/ 10849 h 11028"/>
                    <a:gd name="connsiteX16" fmla="*/ 4347 w 10001"/>
                    <a:gd name="connsiteY16" fmla="*/ 10000 h 11028"/>
                    <a:gd name="connsiteX17" fmla="*/ 4347 w 10001"/>
                    <a:gd name="connsiteY17" fmla="*/ 10000 h 11028"/>
                    <a:gd name="connsiteX18" fmla="*/ 4737 w 10001"/>
                    <a:gd name="connsiteY18" fmla="*/ 10000 h 11028"/>
                    <a:gd name="connsiteX19" fmla="*/ 4867 w 10001"/>
                    <a:gd name="connsiteY19" fmla="*/ 10000 h 11028"/>
                    <a:gd name="connsiteX20" fmla="*/ 4932 w 10001"/>
                    <a:gd name="connsiteY20" fmla="*/ 10000 h 11028"/>
                    <a:gd name="connsiteX21" fmla="*/ 5321 w 10001"/>
                    <a:gd name="connsiteY21" fmla="*/ 10000 h 11028"/>
                    <a:gd name="connsiteX22" fmla="*/ 5321 w 10001"/>
                    <a:gd name="connsiteY22" fmla="*/ 10000 h 11028"/>
                    <a:gd name="connsiteX23" fmla="*/ 5515 w 10001"/>
                    <a:gd name="connsiteY23" fmla="*/ 10000 h 11028"/>
                    <a:gd name="connsiteX24" fmla="*/ 8372 w 10001"/>
                    <a:gd name="connsiteY24" fmla="*/ 9840 h 11028"/>
                    <a:gd name="connsiteX25" fmla="*/ 9994 w 10001"/>
                    <a:gd name="connsiteY25" fmla="*/ 8503 h 11028"/>
                    <a:gd name="connsiteX26" fmla="*/ 9474 w 10001"/>
                    <a:gd name="connsiteY26" fmla="*/ 7914 h 1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1" h="11028">
                      <a:moveTo>
                        <a:pt x="9474" y="7914"/>
                      </a:moveTo>
                      <a:cubicBezTo>
                        <a:pt x="9215" y="8449"/>
                        <a:pt x="8631" y="8289"/>
                        <a:pt x="8436" y="7914"/>
                      </a:cubicBezTo>
                      <a:cubicBezTo>
                        <a:pt x="8372" y="7647"/>
                        <a:pt x="8631" y="7059"/>
                        <a:pt x="8826" y="6631"/>
                      </a:cubicBezTo>
                      <a:cubicBezTo>
                        <a:pt x="8955" y="6524"/>
                        <a:pt x="9020" y="6364"/>
                        <a:pt x="9085" y="6203"/>
                      </a:cubicBezTo>
                      <a:lnTo>
                        <a:pt x="9085" y="6150"/>
                      </a:lnTo>
                      <a:lnTo>
                        <a:pt x="9085" y="6150"/>
                      </a:lnTo>
                      <a:cubicBezTo>
                        <a:pt x="9345" y="5722"/>
                        <a:pt x="9409" y="5241"/>
                        <a:pt x="9409" y="4706"/>
                      </a:cubicBezTo>
                      <a:cubicBezTo>
                        <a:pt x="9409" y="3209"/>
                        <a:pt x="8436" y="1925"/>
                        <a:pt x="7074" y="1497"/>
                      </a:cubicBezTo>
                      <a:cubicBezTo>
                        <a:pt x="6360" y="588"/>
                        <a:pt x="5256" y="0"/>
                        <a:pt x="3958" y="0"/>
                      </a:cubicBezTo>
                      <a:cubicBezTo>
                        <a:pt x="1752" y="0"/>
                        <a:pt x="0" y="1818"/>
                        <a:pt x="0" y="4064"/>
                      </a:cubicBezTo>
                      <a:cubicBezTo>
                        <a:pt x="0" y="4866"/>
                        <a:pt x="194" y="5561"/>
                        <a:pt x="583" y="6150"/>
                      </a:cubicBezTo>
                      <a:lnTo>
                        <a:pt x="583" y="6150"/>
                      </a:lnTo>
                      <a:cubicBezTo>
                        <a:pt x="583" y="6150"/>
                        <a:pt x="1121" y="7322"/>
                        <a:pt x="1233" y="7914"/>
                      </a:cubicBezTo>
                      <a:cubicBezTo>
                        <a:pt x="1345" y="8506"/>
                        <a:pt x="280" y="10538"/>
                        <a:pt x="446" y="10911"/>
                      </a:cubicBezTo>
                      <a:cubicBezTo>
                        <a:pt x="612" y="11284"/>
                        <a:pt x="1771" y="10653"/>
                        <a:pt x="2227" y="10643"/>
                      </a:cubicBezTo>
                      <a:cubicBezTo>
                        <a:pt x="2683" y="10633"/>
                        <a:pt x="2828" y="10956"/>
                        <a:pt x="3181" y="10849"/>
                      </a:cubicBezTo>
                      <a:cubicBezTo>
                        <a:pt x="3534" y="10742"/>
                        <a:pt x="4153" y="10142"/>
                        <a:pt x="4347" y="10000"/>
                      </a:cubicBezTo>
                      <a:lnTo>
                        <a:pt x="4347" y="10000"/>
                      </a:lnTo>
                      <a:lnTo>
                        <a:pt x="4737" y="10000"/>
                      </a:lnTo>
                      <a:lnTo>
                        <a:pt x="4867" y="10000"/>
                      </a:lnTo>
                      <a:lnTo>
                        <a:pt x="4932" y="10000"/>
                      </a:lnTo>
                      <a:lnTo>
                        <a:pt x="5321" y="10000"/>
                      </a:lnTo>
                      <a:lnTo>
                        <a:pt x="5321" y="10000"/>
                      </a:lnTo>
                      <a:lnTo>
                        <a:pt x="5515" y="10000"/>
                      </a:lnTo>
                      <a:cubicBezTo>
                        <a:pt x="6489" y="10000"/>
                        <a:pt x="7139" y="10000"/>
                        <a:pt x="8372" y="9840"/>
                      </a:cubicBezTo>
                      <a:cubicBezTo>
                        <a:pt x="9800" y="9679"/>
                        <a:pt x="9994" y="8984"/>
                        <a:pt x="9994" y="8503"/>
                      </a:cubicBezTo>
                      <a:cubicBezTo>
                        <a:pt x="10059" y="8021"/>
                        <a:pt x="9669" y="7326"/>
                        <a:pt x="9474" y="79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 name="Freeform 118"/>
                <p:cNvSpPr>
                  <a:spLocks/>
                </p:cNvSpPr>
                <p:nvPr/>
              </p:nvSpPr>
              <p:spPr bwMode="auto">
                <a:xfrm>
                  <a:off x="6226575" y="3998585"/>
                  <a:ext cx="98865" cy="579733"/>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 name="Freeform 120"/>
                <p:cNvSpPr>
                  <a:spLocks/>
                </p:cNvSpPr>
                <p:nvPr/>
              </p:nvSpPr>
              <p:spPr bwMode="auto">
                <a:xfrm>
                  <a:off x="6325440" y="3998585"/>
                  <a:ext cx="96667" cy="579733"/>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2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2" name="Oval 170"/>
                <p:cNvSpPr>
                  <a:spLocks noChangeArrowheads="1"/>
                </p:cNvSpPr>
                <p:nvPr/>
              </p:nvSpPr>
              <p:spPr bwMode="auto">
                <a:xfrm>
                  <a:off x="6263181" y="3486117"/>
                  <a:ext cx="3175"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3" name="Oval 171"/>
                <p:cNvSpPr>
                  <a:spLocks noChangeArrowheads="1"/>
                </p:cNvSpPr>
                <p:nvPr/>
              </p:nvSpPr>
              <p:spPr bwMode="auto">
                <a:xfrm>
                  <a:off x="6385419" y="3486117"/>
                  <a:ext cx="4763" cy="3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grpSp>
        <p:nvGrpSpPr>
          <p:cNvPr id="34" name="Group 33"/>
          <p:cNvGrpSpPr/>
          <p:nvPr/>
        </p:nvGrpSpPr>
        <p:grpSpPr>
          <a:xfrm>
            <a:off x="3234218" y="3844124"/>
            <a:ext cx="1525545" cy="4107243"/>
            <a:chOff x="4763661" y="2954623"/>
            <a:chExt cx="1015788" cy="2734817"/>
          </a:xfrm>
          <a:solidFill>
            <a:schemeClr val="accent4">
              <a:lumMod val="75000"/>
            </a:schemeClr>
          </a:solidFill>
        </p:grpSpPr>
        <p:sp>
          <p:nvSpPr>
            <p:cNvPr id="35"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 name="Group 35"/>
            <p:cNvGrpSpPr/>
            <p:nvPr/>
          </p:nvGrpSpPr>
          <p:grpSpPr>
            <a:xfrm>
              <a:off x="4763661" y="2954623"/>
              <a:ext cx="1015788" cy="2734817"/>
              <a:chOff x="5166219" y="3359117"/>
              <a:chExt cx="454025" cy="1222376"/>
            </a:xfrm>
            <a:grpFill/>
          </p:grpSpPr>
          <p:sp>
            <p:nvSpPr>
              <p:cNvPr id="37"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8"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39"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0"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1"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2"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3"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4"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5"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6"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7"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8"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49"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0"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1"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2"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3"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4"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5"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6"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7"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8"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59"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0"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1"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2"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sp>
        <p:nvSpPr>
          <p:cNvPr id="64" name="Freeform 111"/>
          <p:cNvSpPr>
            <a:spLocks/>
          </p:cNvSpPr>
          <p:nvPr/>
        </p:nvSpPr>
        <p:spPr bwMode="auto">
          <a:xfrm>
            <a:off x="8355348" y="3936730"/>
            <a:ext cx="1751139" cy="3962476"/>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accent4">
              <a:lumMod val="75000"/>
            </a:schemeClr>
          </a:solidFill>
          <a:ln>
            <a:noFill/>
          </a:ln>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65" name="Freeform 113"/>
          <p:cNvSpPr>
            <a:spLocks/>
          </p:cNvSpPr>
          <p:nvPr/>
        </p:nvSpPr>
        <p:spPr bwMode="auto">
          <a:xfrm>
            <a:off x="7384184" y="3600641"/>
            <a:ext cx="1331440" cy="3981638"/>
          </a:xfrm>
          <a:custGeom>
            <a:avLst/>
            <a:gdLst>
              <a:gd name="T0" fmla="*/ 230 w 279"/>
              <a:gd name="T1" fmla="*/ 169 h 833"/>
              <a:gd name="T2" fmla="*/ 166 w 279"/>
              <a:gd name="T3" fmla="*/ 162 h 833"/>
              <a:gd name="T4" fmla="*/ 160 w 279"/>
              <a:gd name="T5" fmla="*/ 156 h 833"/>
              <a:gd name="T6" fmla="*/ 209 w 279"/>
              <a:gd name="T7" fmla="*/ 133 h 833"/>
              <a:gd name="T8" fmla="*/ 189 w 279"/>
              <a:gd name="T9" fmla="*/ 123 h 833"/>
              <a:gd name="T10" fmla="*/ 197 w 279"/>
              <a:gd name="T11" fmla="*/ 97 h 833"/>
              <a:gd name="T12" fmla="*/ 197 w 279"/>
              <a:gd name="T13" fmla="*/ 96 h 833"/>
              <a:gd name="T14" fmla="*/ 172 w 279"/>
              <a:gd name="T15" fmla="*/ 24 h 833"/>
              <a:gd name="T16" fmla="*/ 81 w 279"/>
              <a:gd name="T17" fmla="*/ 64 h 833"/>
              <a:gd name="T18" fmla="*/ 88 w 279"/>
              <a:gd name="T19" fmla="*/ 96 h 833"/>
              <a:gd name="T20" fmla="*/ 84 w 279"/>
              <a:gd name="T21" fmla="*/ 123 h 833"/>
              <a:gd name="T22" fmla="*/ 98 w 279"/>
              <a:gd name="T23" fmla="*/ 153 h 833"/>
              <a:gd name="T24" fmla="*/ 122 w 279"/>
              <a:gd name="T25" fmla="*/ 162 h 833"/>
              <a:gd name="T26" fmla="*/ 51 w 279"/>
              <a:gd name="T27" fmla="*/ 169 h 833"/>
              <a:gd name="T28" fmla="*/ 51 w 279"/>
              <a:gd name="T29" fmla="*/ 169 h 833"/>
              <a:gd name="T30" fmla="*/ 5 w 279"/>
              <a:gd name="T31" fmla="*/ 383 h 833"/>
              <a:gd name="T32" fmla="*/ 18 w 279"/>
              <a:gd name="T33" fmla="*/ 411 h 833"/>
              <a:gd name="T34" fmla="*/ 31 w 279"/>
              <a:gd name="T35" fmla="*/ 383 h 833"/>
              <a:gd name="T36" fmla="*/ 56 w 279"/>
              <a:gd name="T37" fmla="*/ 258 h 833"/>
              <a:gd name="T38" fmla="*/ 65 w 279"/>
              <a:gd name="T39" fmla="*/ 629 h 833"/>
              <a:gd name="T40" fmla="*/ 96 w 279"/>
              <a:gd name="T41" fmla="*/ 820 h 833"/>
              <a:gd name="T42" fmla="*/ 97 w 279"/>
              <a:gd name="T43" fmla="*/ 833 h 833"/>
              <a:gd name="T44" fmla="*/ 138 w 279"/>
              <a:gd name="T45" fmla="*/ 833 h 833"/>
              <a:gd name="T46" fmla="*/ 138 w 279"/>
              <a:gd name="T47" fmla="*/ 629 h 833"/>
              <a:gd name="T48" fmla="*/ 153 w 279"/>
              <a:gd name="T49" fmla="*/ 820 h 833"/>
              <a:gd name="T50" fmla="*/ 154 w 279"/>
              <a:gd name="T51" fmla="*/ 833 h 833"/>
              <a:gd name="T52" fmla="*/ 195 w 279"/>
              <a:gd name="T53" fmla="*/ 833 h 833"/>
              <a:gd name="T54" fmla="*/ 195 w 279"/>
              <a:gd name="T55" fmla="*/ 629 h 833"/>
              <a:gd name="T56" fmla="*/ 216 w 279"/>
              <a:gd name="T57" fmla="*/ 438 h 833"/>
              <a:gd name="T58" fmla="*/ 245 w 279"/>
              <a:gd name="T59" fmla="*/ 383 h 833"/>
              <a:gd name="T60" fmla="*/ 249 w 279"/>
              <a:gd name="T61" fmla="*/ 398 h 833"/>
              <a:gd name="T62" fmla="*/ 274 w 279"/>
              <a:gd name="T63" fmla="*/ 398 h 833"/>
              <a:gd name="T64" fmla="*/ 279 w 279"/>
              <a:gd name="T65" fmla="*/ 38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833">
                <a:moveTo>
                  <a:pt x="230" y="169"/>
                </a:moveTo>
                <a:cubicBezTo>
                  <a:pt x="230" y="169"/>
                  <a:pt x="230" y="169"/>
                  <a:pt x="230" y="169"/>
                </a:cubicBezTo>
                <a:cubicBezTo>
                  <a:pt x="166" y="162"/>
                  <a:pt x="166" y="162"/>
                  <a:pt x="166" y="162"/>
                </a:cubicBezTo>
                <a:cubicBezTo>
                  <a:pt x="166" y="162"/>
                  <a:pt x="166" y="162"/>
                  <a:pt x="166" y="162"/>
                </a:cubicBezTo>
                <a:cubicBezTo>
                  <a:pt x="159" y="162"/>
                  <a:pt x="159" y="162"/>
                  <a:pt x="159" y="162"/>
                </a:cubicBezTo>
                <a:cubicBezTo>
                  <a:pt x="160" y="156"/>
                  <a:pt x="160" y="156"/>
                  <a:pt x="160" y="156"/>
                </a:cubicBezTo>
                <a:cubicBezTo>
                  <a:pt x="168" y="156"/>
                  <a:pt x="176" y="155"/>
                  <a:pt x="188" y="153"/>
                </a:cubicBezTo>
                <a:cubicBezTo>
                  <a:pt x="206" y="150"/>
                  <a:pt x="208" y="140"/>
                  <a:pt x="209" y="133"/>
                </a:cubicBezTo>
                <a:cubicBezTo>
                  <a:pt x="210" y="125"/>
                  <a:pt x="205" y="114"/>
                  <a:pt x="202" y="123"/>
                </a:cubicBezTo>
                <a:cubicBezTo>
                  <a:pt x="199" y="132"/>
                  <a:pt x="191" y="129"/>
                  <a:pt x="189" y="123"/>
                </a:cubicBezTo>
                <a:cubicBezTo>
                  <a:pt x="188" y="119"/>
                  <a:pt x="191" y="110"/>
                  <a:pt x="194" y="103"/>
                </a:cubicBezTo>
                <a:cubicBezTo>
                  <a:pt x="195" y="101"/>
                  <a:pt x="196" y="99"/>
                  <a:pt x="197" y="97"/>
                </a:cubicBezTo>
                <a:cubicBezTo>
                  <a:pt x="197" y="96"/>
                  <a:pt x="197" y="96"/>
                  <a:pt x="197" y="96"/>
                </a:cubicBezTo>
                <a:cubicBezTo>
                  <a:pt x="197" y="96"/>
                  <a:pt x="197" y="96"/>
                  <a:pt x="197" y="96"/>
                </a:cubicBezTo>
                <a:cubicBezTo>
                  <a:pt x="200" y="89"/>
                  <a:pt x="201" y="82"/>
                  <a:pt x="201" y="74"/>
                </a:cubicBezTo>
                <a:cubicBezTo>
                  <a:pt x="201" y="50"/>
                  <a:pt x="189" y="30"/>
                  <a:pt x="172" y="24"/>
                </a:cubicBezTo>
                <a:cubicBezTo>
                  <a:pt x="162" y="9"/>
                  <a:pt x="148" y="0"/>
                  <a:pt x="132" y="0"/>
                </a:cubicBezTo>
                <a:cubicBezTo>
                  <a:pt x="104" y="0"/>
                  <a:pt x="81" y="29"/>
                  <a:pt x="81" y="64"/>
                </a:cubicBezTo>
                <a:cubicBezTo>
                  <a:pt x="81" y="76"/>
                  <a:pt x="83" y="87"/>
                  <a:pt x="88" y="96"/>
                </a:cubicBezTo>
                <a:cubicBezTo>
                  <a:pt x="88" y="96"/>
                  <a:pt x="88" y="96"/>
                  <a:pt x="88" y="96"/>
                </a:cubicBezTo>
                <a:cubicBezTo>
                  <a:pt x="88" y="96"/>
                  <a:pt x="99" y="117"/>
                  <a:pt x="96" y="123"/>
                </a:cubicBezTo>
                <a:cubicBezTo>
                  <a:pt x="94" y="129"/>
                  <a:pt x="87" y="132"/>
                  <a:pt x="84" y="123"/>
                </a:cubicBezTo>
                <a:cubicBezTo>
                  <a:pt x="80" y="114"/>
                  <a:pt x="76" y="125"/>
                  <a:pt x="76" y="133"/>
                </a:cubicBezTo>
                <a:cubicBezTo>
                  <a:pt x="77" y="140"/>
                  <a:pt x="79" y="150"/>
                  <a:pt x="98" y="153"/>
                </a:cubicBezTo>
                <a:cubicBezTo>
                  <a:pt x="107" y="155"/>
                  <a:pt x="114" y="156"/>
                  <a:pt x="121" y="156"/>
                </a:cubicBezTo>
                <a:cubicBezTo>
                  <a:pt x="122" y="162"/>
                  <a:pt x="122" y="162"/>
                  <a:pt x="122" y="162"/>
                </a:cubicBezTo>
                <a:cubicBezTo>
                  <a:pt x="115" y="162"/>
                  <a:pt x="115" y="162"/>
                  <a:pt x="115" y="162"/>
                </a:cubicBezTo>
                <a:cubicBezTo>
                  <a:pt x="51" y="169"/>
                  <a:pt x="51" y="169"/>
                  <a:pt x="51" y="169"/>
                </a:cubicBezTo>
                <a:cubicBezTo>
                  <a:pt x="51" y="169"/>
                  <a:pt x="51" y="169"/>
                  <a:pt x="51" y="169"/>
                </a:cubicBezTo>
                <a:cubicBezTo>
                  <a:pt x="51" y="169"/>
                  <a:pt x="51" y="169"/>
                  <a:pt x="51" y="169"/>
                </a:cubicBezTo>
                <a:cubicBezTo>
                  <a:pt x="18" y="238"/>
                  <a:pt x="8" y="307"/>
                  <a:pt x="0" y="383"/>
                </a:cubicBezTo>
                <a:cubicBezTo>
                  <a:pt x="5" y="383"/>
                  <a:pt x="5" y="383"/>
                  <a:pt x="5" y="383"/>
                </a:cubicBezTo>
                <a:cubicBezTo>
                  <a:pt x="5" y="398"/>
                  <a:pt x="5" y="398"/>
                  <a:pt x="5" y="398"/>
                </a:cubicBezTo>
                <a:cubicBezTo>
                  <a:pt x="5" y="405"/>
                  <a:pt x="11" y="411"/>
                  <a:pt x="18" y="411"/>
                </a:cubicBezTo>
                <a:cubicBezTo>
                  <a:pt x="25" y="411"/>
                  <a:pt x="31" y="405"/>
                  <a:pt x="31" y="398"/>
                </a:cubicBezTo>
                <a:cubicBezTo>
                  <a:pt x="31" y="383"/>
                  <a:pt x="31" y="383"/>
                  <a:pt x="31" y="383"/>
                </a:cubicBezTo>
                <a:cubicBezTo>
                  <a:pt x="35" y="383"/>
                  <a:pt x="35" y="383"/>
                  <a:pt x="35" y="383"/>
                </a:cubicBezTo>
                <a:cubicBezTo>
                  <a:pt x="40" y="339"/>
                  <a:pt x="46" y="298"/>
                  <a:pt x="56" y="258"/>
                </a:cubicBezTo>
                <a:cubicBezTo>
                  <a:pt x="65" y="438"/>
                  <a:pt x="65" y="438"/>
                  <a:pt x="65" y="438"/>
                </a:cubicBezTo>
                <a:cubicBezTo>
                  <a:pt x="65" y="629"/>
                  <a:pt x="65" y="629"/>
                  <a:pt x="65" y="629"/>
                </a:cubicBezTo>
                <a:cubicBezTo>
                  <a:pt x="91" y="629"/>
                  <a:pt x="91" y="629"/>
                  <a:pt x="91" y="629"/>
                </a:cubicBezTo>
                <a:cubicBezTo>
                  <a:pt x="96" y="820"/>
                  <a:pt x="96" y="820"/>
                  <a:pt x="96" y="820"/>
                </a:cubicBezTo>
                <a:cubicBezTo>
                  <a:pt x="93" y="823"/>
                  <a:pt x="92" y="828"/>
                  <a:pt x="92" y="833"/>
                </a:cubicBezTo>
                <a:cubicBezTo>
                  <a:pt x="97" y="833"/>
                  <a:pt x="97" y="833"/>
                  <a:pt x="97" y="833"/>
                </a:cubicBezTo>
                <a:cubicBezTo>
                  <a:pt x="133" y="833"/>
                  <a:pt x="133" y="833"/>
                  <a:pt x="133" y="833"/>
                </a:cubicBezTo>
                <a:cubicBezTo>
                  <a:pt x="138" y="833"/>
                  <a:pt x="138" y="833"/>
                  <a:pt x="138" y="833"/>
                </a:cubicBezTo>
                <a:cubicBezTo>
                  <a:pt x="138" y="828"/>
                  <a:pt x="136" y="823"/>
                  <a:pt x="133" y="820"/>
                </a:cubicBezTo>
                <a:cubicBezTo>
                  <a:pt x="138" y="629"/>
                  <a:pt x="138" y="629"/>
                  <a:pt x="138" y="629"/>
                </a:cubicBezTo>
                <a:cubicBezTo>
                  <a:pt x="149" y="629"/>
                  <a:pt x="149" y="629"/>
                  <a:pt x="149" y="629"/>
                </a:cubicBezTo>
                <a:cubicBezTo>
                  <a:pt x="153" y="820"/>
                  <a:pt x="153" y="820"/>
                  <a:pt x="153" y="820"/>
                </a:cubicBezTo>
                <a:cubicBezTo>
                  <a:pt x="151" y="823"/>
                  <a:pt x="149" y="828"/>
                  <a:pt x="149" y="833"/>
                </a:cubicBezTo>
                <a:cubicBezTo>
                  <a:pt x="154" y="833"/>
                  <a:pt x="154" y="833"/>
                  <a:pt x="154" y="833"/>
                </a:cubicBezTo>
                <a:cubicBezTo>
                  <a:pt x="190" y="833"/>
                  <a:pt x="190" y="833"/>
                  <a:pt x="190" y="833"/>
                </a:cubicBezTo>
                <a:cubicBezTo>
                  <a:pt x="195" y="833"/>
                  <a:pt x="195" y="833"/>
                  <a:pt x="195" y="833"/>
                </a:cubicBezTo>
                <a:cubicBezTo>
                  <a:pt x="195" y="828"/>
                  <a:pt x="193" y="823"/>
                  <a:pt x="190" y="820"/>
                </a:cubicBezTo>
                <a:cubicBezTo>
                  <a:pt x="195" y="629"/>
                  <a:pt x="195" y="629"/>
                  <a:pt x="195" y="629"/>
                </a:cubicBezTo>
                <a:cubicBezTo>
                  <a:pt x="216" y="629"/>
                  <a:pt x="216" y="629"/>
                  <a:pt x="216" y="629"/>
                </a:cubicBezTo>
                <a:cubicBezTo>
                  <a:pt x="216" y="438"/>
                  <a:pt x="216" y="438"/>
                  <a:pt x="216" y="438"/>
                </a:cubicBezTo>
                <a:cubicBezTo>
                  <a:pt x="225" y="259"/>
                  <a:pt x="225" y="259"/>
                  <a:pt x="225" y="259"/>
                </a:cubicBezTo>
                <a:cubicBezTo>
                  <a:pt x="235" y="299"/>
                  <a:pt x="240" y="340"/>
                  <a:pt x="245" y="383"/>
                </a:cubicBezTo>
                <a:cubicBezTo>
                  <a:pt x="249" y="383"/>
                  <a:pt x="249" y="383"/>
                  <a:pt x="249" y="383"/>
                </a:cubicBezTo>
                <a:cubicBezTo>
                  <a:pt x="249" y="398"/>
                  <a:pt x="249" y="398"/>
                  <a:pt x="249" y="398"/>
                </a:cubicBezTo>
                <a:cubicBezTo>
                  <a:pt x="249" y="405"/>
                  <a:pt x="255" y="411"/>
                  <a:pt x="262" y="411"/>
                </a:cubicBezTo>
                <a:cubicBezTo>
                  <a:pt x="269" y="411"/>
                  <a:pt x="274" y="405"/>
                  <a:pt x="274" y="398"/>
                </a:cubicBezTo>
                <a:cubicBezTo>
                  <a:pt x="274" y="383"/>
                  <a:pt x="274" y="383"/>
                  <a:pt x="274" y="383"/>
                </a:cubicBezTo>
                <a:cubicBezTo>
                  <a:pt x="279" y="383"/>
                  <a:pt x="279" y="383"/>
                  <a:pt x="279" y="383"/>
                </a:cubicBezTo>
                <a:cubicBezTo>
                  <a:pt x="272" y="307"/>
                  <a:pt x="262" y="238"/>
                  <a:pt x="230" y="169"/>
                </a:cubicBezTo>
                <a:close/>
              </a:path>
            </a:pathLst>
          </a:custGeom>
          <a:solidFill>
            <a:schemeClr val="accent4">
              <a:lumMod val="75000"/>
            </a:schemeClr>
          </a:solidFill>
          <a:ln>
            <a:noFill/>
          </a:ln>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66" name="Group 65"/>
          <p:cNvGrpSpPr/>
          <p:nvPr/>
        </p:nvGrpSpPr>
        <p:grpSpPr>
          <a:xfrm>
            <a:off x="4654709" y="3195976"/>
            <a:ext cx="1679300" cy="4521198"/>
            <a:chOff x="4763661" y="2954623"/>
            <a:chExt cx="1015788" cy="2734817"/>
          </a:xfrm>
        </p:grpSpPr>
        <p:sp>
          <p:nvSpPr>
            <p:cNvPr id="67" name="Rectangle 3"/>
            <p:cNvSpPr/>
            <p:nvPr/>
          </p:nvSpPr>
          <p:spPr bwMode="auto">
            <a:xfrm>
              <a:off x="5168899" y="3419473"/>
              <a:ext cx="197831" cy="874368"/>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 name="connsiteX0" fmla="*/ 0 w 193796"/>
                <a:gd name="connsiteY0" fmla="*/ 3897 h 848968"/>
                <a:gd name="connsiteX1" fmla="*/ 94632 w 193796"/>
                <a:gd name="connsiteY1" fmla="*/ 0 h 848968"/>
                <a:gd name="connsiteX2" fmla="*/ 186972 w 193796"/>
                <a:gd name="connsiteY2" fmla="*/ 959 h 848968"/>
                <a:gd name="connsiteX3" fmla="*/ 193796 w 193796"/>
                <a:gd name="connsiteY3" fmla="*/ 848968 h 848968"/>
                <a:gd name="connsiteX4" fmla="*/ 19761 w 193796"/>
                <a:gd name="connsiteY4" fmla="*/ 848968 h 848968"/>
                <a:gd name="connsiteX5" fmla="*/ 0 w 193796"/>
                <a:gd name="connsiteY5" fmla="*/ 3897 h 848968"/>
                <a:gd name="connsiteX0" fmla="*/ 0 w 193796"/>
                <a:gd name="connsiteY0" fmla="*/ 29297 h 874368"/>
                <a:gd name="connsiteX1" fmla="*/ 94632 w 193796"/>
                <a:gd name="connsiteY1" fmla="*/ 0 h 874368"/>
                <a:gd name="connsiteX2" fmla="*/ 186972 w 193796"/>
                <a:gd name="connsiteY2" fmla="*/ 26359 h 874368"/>
                <a:gd name="connsiteX3" fmla="*/ 193796 w 193796"/>
                <a:gd name="connsiteY3" fmla="*/ 874368 h 874368"/>
                <a:gd name="connsiteX4" fmla="*/ 19761 w 193796"/>
                <a:gd name="connsiteY4" fmla="*/ 874368 h 874368"/>
                <a:gd name="connsiteX5" fmla="*/ 0 w 193796"/>
                <a:gd name="connsiteY5" fmla="*/ 29297 h 874368"/>
                <a:gd name="connsiteX0" fmla="*/ 4103 w 197899"/>
                <a:gd name="connsiteY0" fmla="*/ 29297 h 874368"/>
                <a:gd name="connsiteX1" fmla="*/ 310 w 197899"/>
                <a:gd name="connsiteY1" fmla="*/ 41275 h 874368"/>
                <a:gd name="connsiteX2" fmla="*/ 98735 w 197899"/>
                <a:gd name="connsiteY2" fmla="*/ 0 h 874368"/>
                <a:gd name="connsiteX3" fmla="*/ 191075 w 197899"/>
                <a:gd name="connsiteY3" fmla="*/ 26359 h 874368"/>
                <a:gd name="connsiteX4" fmla="*/ 197899 w 197899"/>
                <a:gd name="connsiteY4" fmla="*/ 874368 h 874368"/>
                <a:gd name="connsiteX5" fmla="*/ 23864 w 197899"/>
                <a:gd name="connsiteY5" fmla="*/ 874368 h 874368"/>
                <a:gd name="connsiteX6" fmla="*/ 4103 w 197899"/>
                <a:gd name="connsiteY6" fmla="*/ 29297 h 874368"/>
                <a:gd name="connsiteX0" fmla="*/ 4103 w 198141"/>
                <a:gd name="connsiteY0" fmla="*/ 29297 h 874368"/>
                <a:gd name="connsiteX1" fmla="*/ 310 w 198141"/>
                <a:gd name="connsiteY1" fmla="*/ 41275 h 874368"/>
                <a:gd name="connsiteX2" fmla="*/ 98735 w 198141"/>
                <a:gd name="connsiteY2" fmla="*/ 0 h 874368"/>
                <a:gd name="connsiteX3" fmla="*/ 197425 w 198141"/>
                <a:gd name="connsiteY3" fmla="*/ 45409 h 874368"/>
                <a:gd name="connsiteX4" fmla="*/ 197899 w 198141"/>
                <a:gd name="connsiteY4" fmla="*/ 874368 h 874368"/>
                <a:gd name="connsiteX5" fmla="*/ 23864 w 198141"/>
                <a:gd name="connsiteY5" fmla="*/ 874368 h 874368"/>
                <a:gd name="connsiteX6" fmla="*/ 4103 w 198141"/>
                <a:gd name="connsiteY6" fmla="*/ 29297 h 874368"/>
                <a:gd name="connsiteX0" fmla="*/ 23554 w 197831"/>
                <a:gd name="connsiteY0" fmla="*/ 874368 h 874368"/>
                <a:gd name="connsiteX1" fmla="*/ 0 w 197831"/>
                <a:gd name="connsiteY1" fmla="*/ 41275 h 874368"/>
                <a:gd name="connsiteX2" fmla="*/ 98425 w 197831"/>
                <a:gd name="connsiteY2" fmla="*/ 0 h 874368"/>
                <a:gd name="connsiteX3" fmla="*/ 197115 w 197831"/>
                <a:gd name="connsiteY3" fmla="*/ 45409 h 874368"/>
                <a:gd name="connsiteX4" fmla="*/ 197589 w 197831"/>
                <a:gd name="connsiteY4" fmla="*/ 874368 h 874368"/>
                <a:gd name="connsiteX5" fmla="*/ 23554 w 197831"/>
                <a:gd name="connsiteY5" fmla="*/ 874368 h 8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31" h="874368">
                  <a:moveTo>
                    <a:pt x="23554" y="874368"/>
                  </a:moveTo>
                  <a:lnTo>
                    <a:pt x="0" y="41275"/>
                  </a:lnTo>
                  <a:lnTo>
                    <a:pt x="98425" y="0"/>
                  </a:lnTo>
                  <a:lnTo>
                    <a:pt x="197115" y="45409"/>
                  </a:lnTo>
                  <a:cubicBezTo>
                    <a:pt x="199390" y="328079"/>
                    <a:pt x="195314" y="591698"/>
                    <a:pt x="197589" y="874368"/>
                  </a:cubicBezTo>
                  <a:lnTo>
                    <a:pt x="23554" y="87436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8" name="Group 67"/>
            <p:cNvGrpSpPr/>
            <p:nvPr/>
          </p:nvGrpSpPr>
          <p:grpSpPr>
            <a:xfrm>
              <a:off x="4763661" y="2954623"/>
              <a:ext cx="1015788" cy="2734817"/>
              <a:chOff x="5166219" y="3359117"/>
              <a:chExt cx="454025" cy="1222376"/>
            </a:xfrm>
          </p:grpSpPr>
          <p:sp>
            <p:nvSpPr>
              <p:cNvPr id="69" name="Freeform 140"/>
              <p:cNvSpPr>
                <a:spLocks/>
              </p:cNvSpPr>
              <p:nvPr/>
            </p:nvSpPr>
            <p:spPr bwMode="auto">
              <a:xfrm>
                <a:off x="5321794" y="3378167"/>
                <a:ext cx="153988" cy="1857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0" name="Freeform 141"/>
              <p:cNvSpPr>
                <a:spLocks/>
              </p:cNvSpPr>
              <p:nvPr/>
            </p:nvSpPr>
            <p:spPr bwMode="auto">
              <a:xfrm>
                <a:off x="5301156" y="3359117"/>
                <a:ext cx="153988" cy="171450"/>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1" name="Freeform 142"/>
              <p:cNvSpPr>
                <a:spLocks/>
              </p:cNvSpPr>
              <p:nvPr/>
            </p:nvSpPr>
            <p:spPr bwMode="auto">
              <a:xfrm>
                <a:off x="5353544" y="3519455"/>
                <a:ext cx="77788" cy="84138"/>
              </a:xfrm>
              <a:custGeom>
                <a:avLst/>
                <a:gdLst>
                  <a:gd name="T0" fmla="*/ 49 w 49"/>
                  <a:gd name="T1" fmla="*/ 40 h 53"/>
                  <a:gd name="T2" fmla="*/ 25 w 49"/>
                  <a:gd name="T3" fmla="*/ 53 h 53"/>
                  <a:gd name="T4" fmla="*/ 0 w 49"/>
                  <a:gd name="T5" fmla="*/ 40 h 53"/>
                  <a:gd name="T6" fmla="*/ 0 w 49"/>
                  <a:gd name="T7" fmla="*/ 0 h 53"/>
                  <a:gd name="T8" fmla="*/ 49 w 49"/>
                  <a:gd name="T9" fmla="*/ 0 h 53"/>
                  <a:gd name="T10" fmla="*/ 49 w 49"/>
                  <a:gd name="T11" fmla="*/ 40 h 53"/>
                </a:gdLst>
                <a:ahLst/>
                <a:cxnLst>
                  <a:cxn ang="0">
                    <a:pos x="T0" y="T1"/>
                  </a:cxn>
                  <a:cxn ang="0">
                    <a:pos x="T2" y="T3"/>
                  </a:cxn>
                  <a:cxn ang="0">
                    <a:pos x="T4" y="T5"/>
                  </a:cxn>
                  <a:cxn ang="0">
                    <a:pos x="T6" y="T7"/>
                  </a:cxn>
                  <a:cxn ang="0">
                    <a:pos x="T8" y="T9"/>
                  </a:cxn>
                  <a:cxn ang="0">
                    <a:pos x="T10" y="T11"/>
                  </a:cxn>
                </a:cxnLst>
                <a:rect l="0" t="0" r="r" b="b"/>
                <a:pathLst>
                  <a:path w="49" h="53">
                    <a:moveTo>
                      <a:pt x="49" y="40"/>
                    </a:moveTo>
                    <a:lnTo>
                      <a:pt x="25" y="53"/>
                    </a:lnTo>
                    <a:lnTo>
                      <a:pt x="0" y="40"/>
                    </a:lnTo>
                    <a:lnTo>
                      <a:pt x="0" y="0"/>
                    </a:lnTo>
                    <a:lnTo>
                      <a:pt x="49" y="0"/>
                    </a:lnTo>
                    <a:lnTo>
                      <a:pt x="49" y="4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2" name="Freeform 143"/>
              <p:cNvSpPr>
                <a:spLocks/>
              </p:cNvSpPr>
              <p:nvPr/>
            </p:nvSpPr>
            <p:spPr bwMode="auto">
              <a:xfrm>
                <a:off x="5369419" y="3600417"/>
                <a:ext cx="44450" cy="312738"/>
              </a:xfrm>
              <a:custGeom>
                <a:avLst/>
                <a:gdLst>
                  <a:gd name="T0" fmla="*/ 21 w 28"/>
                  <a:gd name="T1" fmla="*/ 15 h 197"/>
                  <a:gd name="T2" fmla="*/ 28 w 28"/>
                  <a:gd name="T3" fmla="*/ 12 h 197"/>
                  <a:gd name="T4" fmla="*/ 15 w 28"/>
                  <a:gd name="T5" fmla="*/ 0 h 197"/>
                  <a:gd name="T6" fmla="*/ 0 w 28"/>
                  <a:gd name="T7" fmla="*/ 12 h 197"/>
                  <a:gd name="T8" fmla="*/ 7 w 28"/>
                  <a:gd name="T9" fmla="*/ 15 h 197"/>
                  <a:gd name="T10" fmla="*/ 6 w 28"/>
                  <a:gd name="T11" fmla="*/ 182 h 197"/>
                  <a:gd name="T12" fmla="*/ 15 w 28"/>
                  <a:gd name="T13" fmla="*/ 197 h 197"/>
                  <a:gd name="T14" fmla="*/ 23 w 28"/>
                  <a:gd name="T15" fmla="*/ 182 h 197"/>
                  <a:gd name="T16" fmla="*/ 21 w 28"/>
                  <a:gd name="T17" fmla="*/ 1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97">
                    <a:moveTo>
                      <a:pt x="21" y="15"/>
                    </a:moveTo>
                    <a:lnTo>
                      <a:pt x="28" y="12"/>
                    </a:lnTo>
                    <a:lnTo>
                      <a:pt x="15" y="0"/>
                    </a:lnTo>
                    <a:lnTo>
                      <a:pt x="0" y="12"/>
                    </a:lnTo>
                    <a:lnTo>
                      <a:pt x="7" y="15"/>
                    </a:lnTo>
                    <a:lnTo>
                      <a:pt x="6" y="182"/>
                    </a:lnTo>
                    <a:lnTo>
                      <a:pt x="15" y="197"/>
                    </a:lnTo>
                    <a:lnTo>
                      <a:pt x="23" y="182"/>
                    </a:lnTo>
                    <a:lnTo>
                      <a:pt x="21" y="1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3" name="Freeform 144"/>
              <p:cNvSpPr>
                <a:spLocks/>
              </p:cNvSpPr>
              <p:nvPr/>
            </p:nvSpPr>
            <p:spPr bwMode="auto">
              <a:xfrm>
                <a:off x="5166219" y="3606767"/>
                <a:ext cx="168275" cy="4349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4" name="Freeform 145"/>
              <p:cNvSpPr>
                <a:spLocks/>
              </p:cNvSpPr>
              <p:nvPr/>
            </p:nvSpPr>
            <p:spPr bwMode="auto">
              <a:xfrm>
                <a:off x="5451969" y="3606767"/>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5" name="Freeform 146"/>
              <p:cNvSpPr>
                <a:spLocks/>
              </p:cNvSpPr>
              <p:nvPr/>
            </p:nvSpPr>
            <p:spPr bwMode="auto">
              <a:xfrm>
                <a:off x="5288456" y="4083018"/>
                <a:ext cx="100013" cy="458788"/>
              </a:xfrm>
              <a:custGeom>
                <a:avLst/>
                <a:gdLst>
                  <a:gd name="T0" fmla="*/ 53 w 63"/>
                  <a:gd name="T1" fmla="*/ 289 h 289"/>
                  <a:gd name="T2" fmla="*/ 8 w 63"/>
                  <a:gd name="T3" fmla="*/ 289 h 289"/>
                  <a:gd name="T4" fmla="*/ 0 w 63"/>
                  <a:gd name="T5" fmla="*/ 0 h 289"/>
                  <a:gd name="T6" fmla="*/ 63 w 63"/>
                  <a:gd name="T7" fmla="*/ 0 h 289"/>
                  <a:gd name="T8" fmla="*/ 53 w 63"/>
                  <a:gd name="T9" fmla="*/ 289 h 289"/>
                </a:gdLst>
                <a:ahLst/>
                <a:cxnLst>
                  <a:cxn ang="0">
                    <a:pos x="T0" y="T1"/>
                  </a:cxn>
                  <a:cxn ang="0">
                    <a:pos x="T2" y="T3"/>
                  </a:cxn>
                  <a:cxn ang="0">
                    <a:pos x="T4" y="T5"/>
                  </a:cxn>
                  <a:cxn ang="0">
                    <a:pos x="T6" y="T7"/>
                  </a:cxn>
                  <a:cxn ang="0">
                    <a:pos x="T8" y="T9"/>
                  </a:cxn>
                </a:cxnLst>
                <a:rect l="0" t="0" r="r" b="b"/>
                <a:pathLst>
                  <a:path w="63" h="289">
                    <a:moveTo>
                      <a:pt x="53" y="289"/>
                    </a:moveTo>
                    <a:lnTo>
                      <a:pt x="8" y="289"/>
                    </a:lnTo>
                    <a:lnTo>
                      <a:pt x="0" y="0"/>
                    </a:lnTo>
                    <a:lnTo>
                      <a:pt x="63" y="0"/>
                    </a:lnTo>
                    <a:lnTo>
                      <a:pt x="53"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6" name="Freeform 147"/>
              <p:cNvSpPr>
                <a:spLocks/>
              </p:cNvSpPr>
              <p:nvPr/>
            </p:nvSpPr>
            <p:spPr bwMode="auto">
              <a:xfrm>
                <a:off x="5286869" y="4532280"/>
                <a:ext cx="98425"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7" name="Freeform 148"/>
              <p:cNvSpPr>
                <a:spLocks/>
              </p:cNvSpPr>
              <p:nvPr/>
            </p:nvSpPr>
            <p:spPr bwMode="auto">
              <a:xfrm>
                <a:off x="5393231" y="4083018"/>
                <a:ext cx="101600" cy="458788"/>
              </a:xfrm>
              <a:custGeom>
                <a:avLst/>
                <a:gdLst>
                  <a:gd name="T0" fmla="*/ 56 w 64"/>
                  <a:gd name="T1" fmla="*/ 289 h 289"/>
                  <a:gd name="T2" fmla="*/ 11 w 64"/>
                  <a:gd name="T3" fmla="*/ 289 h 289"/>
                  <a:gd name="T4" fmla="*/ 0 w 64"/>
                  <a:gd name="T5" fmla="*/ 0 h 289"/>
                  <a:gd name="T6" fmla="*/ 64 w 64"/>
                  <a:gd name="T7" fmla="*/ 0 h 289"/>
                  <a:gd name="T8" fmla="*/ 56 w 64"/>
                  <a:gd name="T9" fmla="*/ 289 h 289"/>
                </a:gdLst>
                <a:ahLst/>
                <a:cxnLst>
                  <a:cxn ang="0">
                    <a:pos x="T0" y="T1"/>
                  </a:cxn>
                  <a:cxn ang="0">
                    <a:pos x="T2" y="T3"/>
                  </a:cxn>
                  <a:cxn ang="0">
                    <a:pos x="T4" y="T5"/>
                  </a:cxn>
                  <a:cxn ang="0">
                    <a:pos x="T6" y="T7"/>
                  </a:cxn>
                  <a:cxn ang="0">
                    <a:pos x="T8" y="T9"/>
                  </a:cxn>
                </a:cxnLst>
                <a:rect l="0" t="0" r="r" b="b"/>
                <a:pathLst>
                  <a:path w="64" h="289">
                    <a:moveTo>
                      <a:pt x="56" y="289"/>
                    </a:moveTo>
                    <a:lnTo>
                      <a:pt x="11" y="289"/>
                    </a:lnTo>
                    <a:lnTo>
                      <a:pt x="0" y="0"/>
                    </a:lnTo>
                    <a:lnTo>
                      <a:pt x="64" y="0"/>
                    </a:lnTo>
                    <a:lnTo>
                      <a:pt x="56" y="289"/>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8" name="Freeform 149"/>
              <p:cNvSpPr>
                <a:spLocks/>
              </p:cNvSpPr>
              <p:nvPr/>
            </p:nvSpPr>
            <p:spPr bwMode="auto">
              <a:xfrm>
                <a:off x="5397994" y="4532280"/>
                <a:ext cx="96838" cy="49213"/>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79" name="Freeform 150"/>
              <p:cNvSpPr>
                <a:spLocks/>
              </p:cNvSpPr>
              <p:nvPr/>
            </p:nvSpPr>
            <p:spPr bwMode="auto">
              <a:xfrm>
                <a:off x="5174156" y="4041743"/>
                <a:ext cx="50800" cy="55563"/>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0" name="Freeform 151"/>
              <p:cNvSpPr>
                <a:spLocks/>
              </p:cNvSpPr>
              <p:nvPr/>
            </p:nvSpPr>
            <p:spPr bwMode="auto">
              <a:xfrm>
                <a:off x="5561506" y="4041743"/>
                <a:ext cx="49213"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1" name="Freeform 152"/>
              <p:cNvSpPr>
                <a:spLocks/>
              </p:cNvSpPr>
              <p:nvPr/>
            </p:nvSpPr>
            <p:spPr bwMode="auto">
              <a:xfrm>
                <a:off x="5264644" y="3582955"/>
                <a:ext cx="254000" cy="500063"/>
              </a:xfrm>
              <a:custGeom>
                <a:avLst/>
                <a:gdLst>
                  <a:gd name="T0" fmla="*/ 105 w 160"/>
                  <a:gd name="T1" fmla="*/ 0 h 315"/>
                  <a:gd name="T2" fmla="*/ 81 w 160"/>
                  <a:gd name="T3" fmla="*/ 196 h 315"/>
                  <a:gd name="T4" fmla="*/ 56 w 160"/>
                  <a:gd name="T5" fmla="*/ 0 h 315"/>
                  <a:gd name="T6" fmla="*/ 0 w 160"/>
                  <a:gd name="T7" fmla="*/ 15 h 315"/>
                  <a:gd name="T8" fmla="*/ 3 w 160"/>
                  <a:gd name="T9" fmla="*/ 315 h 315"/>
                  <a:gd name="T10" fmla="*/ 157 w 160"/>
                  <a:gd name="T11" fmla="*/ 315 h 315"/>
                  <a:gd name="T12" fmla="*/ 160 w 160"/>
                  <a:gd name="T13" fmla="*/ 15 h 315"/>
                  <a:gd name="T14" fmla="*/ 105 w 160"/>
                  <a:gd name="T15" fmla="*/ 0 h 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315">
                    <a:moveTo>
                      <a:pt x="105" y="0"/>
                    </a:moveTo>
                    <a:lnTo>
                      <a:pt x="81" y="196"/>
                    </a:lnTo>
                    <a:lnTo>
                      <a:pt x="56" y="0"/>
                    </a:lnTo>
                    <a:lnTo>
                      <a:pt x="0" y="15"/>
                    </a:lnTo>
                    <a:lnTo>
                      <a:pt x="3" y="315"/>
                    </a:lnTo>
                    <a:lnTo>
                      <a:pt x="157" y="315"/>
                    </a:lnTo>
                    <a:lnTo>
                      <a:pt x="160" y="15"/>
                    </a:lnTo>
                    <a:lnTo>
                      <a:pt x="105"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2" name="Freeform 153"/>
              <p:cNvSpPr>
                <a:spLocks/>
              </p:cNvSpPr>
              <p:nvPr/>
            </p:nvSpPr>
            <p:spPr bwMode="auto">
              <a:xfrm>
                <a:off x="5456731" y="3438492"/>
                <a:ext cx="0"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3" name="Freeform 154"/>
              <p:cNvSpPr>
                <a:spLocks/>
              </p:cNvSpPr>
              <p:nvPr/>
            </p:nvSpPr>
            <p:spPr bwMode="auto">
              <a:xfrm>
                <a:off x="5456731" y="343690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4" name="Freeform 155"/>
              <p:cNvSpPr>
                <a:spLocks/>
              </p:cNvSpPr>
              <p:nvPr/>
            </p:nvSpPr>
            <p:spPr bwMode="auto">
              <a:xfrm>
                <a:off x="5451969" y="34305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5" name="Freeform 156"/>
              <p:cNvSpPr>
                <a:spLocks/>
              </p:cNvSpPr>
              <p:nvPr/>
            </p:nvSpPr>
            <p:spPr bwMode="auto">
              <a:xfrm>
                <a:off x="5453556" y="3433730"/>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6" name="Freeform 157"/>
              <p:cNvSpPr>
                <a:spLocks/>
              </p:cNvSpPr>
              <p:nvPr/>
            </p:nvSpPr>
            <p:spPr bwMode="auto">
              <a:xfrm>
                <a:off x="5328144" y="34321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7" name="Freeform 158"/>
              <p:cNvSpPr>
                <a:spLocks/>
              </p:cNvSpPr>
              <p:nvPr/>
            </p:nvSpPr>
            <p:spPr bwMode="auto">
              <a:xfrm>
                <a:off x="5456731" y="3441667"/>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8" name="Freeform 159"/>
              <p:cNvSpPr>
                <a:spLocks/>
              </p:cNvSpPr>
              <p:nvPr/>
            </p:nvSpPr>
            <p:spPr bwMode="auto">
              <a:xfrm>
                <a:off x="5456731" y="3444842"/>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89" name="Freeform 160"/>
              <p:cNvSpPr>
                <a:spLocks/>
              </p:cNvSpPr>
              <p:nvPr/>
            </p:nvSpPr>
            <p:spPr bwMode="auto">
              <a:xfrm>
                <a:off x="5451969" y="34289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0" name="Freeform 161"/>
              <p:cNvSpPr>
                <a:spLocks/>
              </p:cNvSpPr>
              <p:nvPr/>
            </p:nvSpPr>
            <p:spPr bwMode="auto">
              <a:xfrm>
                <a:off x="5324969" y="34432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1" name="Freeform 162"/>
              <p:cNvSpPr>
                <a:spLocks/>
              </p:cNvSpPr>
              <p:nvPr/>
            </p:nvSpPr>
            <p:spPr bwMode="auto">
              <a:xfrm>
                <a:off x="5326556" y="3438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2" name="Freeform 163"/>
              <p:cNvSpPr>
                <a:spLocks/>
              </p:cNvSpPr>
              <p:nvPr/>
            </p:nvSpPr>
            <p:spPr bwMode="auto">
              <a:xfrm>
                <a:off x="5326556" y="343373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3" name="Freeform 164"/>
              <p:cNvSpPr>
                <a:spLocks/>
              </p:cNvSpPr>
              <p:nvPr/>
            </p:nvSpPr>
            <p:spPr bwMode="auto">
              <a:xfrm>
                <a:off x="5326556" y="3440080"/>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4" name="Freeform 165"/>
              <p:cNvSpPr>
                <a:spLocks/>
              </p:cNvSpPr>
              <p:nvPr/>
            </p:nvSpPr>
            <p:spPr bwMode="auto">
              <a:xfrm>
                <a:off x="5312269" y="3424205"/>
                <a:ext cx="157163" cy="139700"/>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nvGrpSpPr>
          <p:cNvPr id="95" name="Group 94"/>
          <p:cNvGrpSpPr/>
          <p:nvPr/>
        </p:nvGrpSpPr>
        <p:grpSpPr>
          <a:xfrm>
            <a:off x="6393373" y="3004470"/>
            <a:ext cx="1685170" cy="4662117"/>
            <a:chOff x="5648819" y="3317842"/>
            <a:chExt cx="455612" cy="1260476"/>
          </a:xfrm>
        </p:grpSpPr>
        <p:sp>
          <p:nvSpPr>
            <p:cNvPr id="96" name="Freeform 110"/>
            <p:cNvSpPr>
              <a:spLocks/>
            </p:cNvSpPr>
            <p:nvPr/>
          </p:nvSpPr>
          <p:spPr bwMode="auto">
            <a:xfrm>
              <a:off x="5828206" y="3535330"/>
              <a:ext cx="96838" cy="103188"/>
            </a:xfrm>
            <a:custGeom>
              <a:avLst/>
              <a:gdLst>
                <a:gd name="T0" fmla="*/ 0 w 61"/>
                <a:gd name="T1" fmla="*/ 6 h 65"/>
                <a:gd name="T2" fmla="*/ 6 w 61"/>
                <a:gd name="T3" fmla="*/ 0 h 65"/>
                <a:gd name="T4" fmla="*/ 55 w 61"/>
                <a:gd name="T5" fmla="*/ 0 h 65"/>
                <a:gd name="T6" fmla="*/ 61 w 61"/>
                <a:gd name="T7" fmla="*/ 6 h 65"/>
                <a:gd name="T8" fmla="*/ 45 w 61"/>
                <a:gd name="T9" fmla="*/ 61 h 65"/>
                <a:gd name="T10" fmla="*/ 22 w 61"/>
                <a:gd name="T11" fmla="*/ 65 h 65"/>
                <a:gd name="T12" fmla="*/ 3 w 61"/>
                <a:gd name="T13" fmla="*/ 39 h 65"/>
                <a:gd name="T14" fmla="*/ 0 w 61"/>
                <a:gd name="T15" fmla="*/ 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5">
                  <a:moveTo>
                    <a:pt x="0" y="6"/>
                  </a:moveTo>
                  <a:lnTo>
                    <a:pt x="6" y="0"/>
                  </a:lnTo>
                  <a:lnTo>
                    <a:pt x="55" y="0"/>
                  </a:lnTo>
                  <a:lnTo>
                    <a:pt x="61" y="6"/>
                  </a:lnTo>
                  <a:lnTo>
                    <a:pt x="45" y="61"/>
                  </a:lnTo>
                  <a:lnTo>
                    <a:pt x="22" y="65"/>
                  </a:lnTo>
                  <a:lnTo>
                    <a:pt x="3" y="39"/>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7" name="Freeform 96"/>
            <p:cNvSpPr>
              <a:spLocks/>
            </p:cNvSpPr>
            <p:nvPr/>
          </p:nvSpPr>
          <p:spPr bwMode="auto">
            <a:xfrm>
              <a:off x="5755181" y="3973480"/>
              <a:ext cx="130175" cy="565150"/>
            </a:xfrm>
            <a:custGeom>
              <a:avLst/>
              <a:gdLst>
                <a:gd name="T0" fmla="*/ 61 w 79"/>
                <a:gd name="T1" fmla="*/ 339 h 339"/>
                <a:gd name="T2" fmla="*/ 14 w 79"/>
                <a:gd name="T3" fmla="*/ 339 h 339"/>
                <a:gd name="T4" fmla="*/ 0 w 79"/>
                <a:gd name="T5" fmla="*/ 0 h 339"/>
                <a:gd name="T6" fmla="*/ 79 w 79"/>
                <a:gd name="T7" fmla="*/ 0 h 339"/>
                <a:gd name="T8" fmla="*/ 61 w 79"/>
                <a:gd name="T9" fmla="*/ 339 h 339"/>
              </a:gdLst>
              <a:ahLst/>
              <a:cxnLst>
                <a:cxn ang="0">
                  <a:pos x="T0" y="T1"/>
                </a:cxn>
                <a:cxn ang="0">
                  <a:pos x="T2" y="T3"/>
                </a:cxn>
                <a:cxn ang="0">
                  <a:pos x="T4" y="T5"/>
                </a:cxn>
                <a:cxn ang="0">
                  <a:pos x="T6" y="T7"/>
                </a:cxn>
                <a:cxn ang="0">
                  <a:pos x="T8" y="T9"/>
                </a:cxn>
              </a:cxnLst>
              <a:rect l="0" t="0" r="r" b="b"/>
              <a:pathLst>
                <a:path w="79" h="339">
                  <a:moveTo>
                    <a:pt x="61" y="339"/>
                  </a:moveTo>
                  <a:lnTo>
                    <a:pt x="14" y="339"/>
                  </a:lnTo>
                  <a:lnTo>
                    <a:pt x="0" y="0"/>
                  </a:lnTo>
                  <a:lnTo>
                    <a:pt x="79" y="0"/>
                  </a:lnTo>
                  <a:lnTo>
                    <a:pt x="61"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8" name="Freeform 97"/>
            <p:cNvSpPr>
              <a:spLocks/>
            </p:cNvSpPr>
            <p:nvPr/>
          </p:nvSpPr>
          <p:spPr bwMode="auto">
            <a:xfrm>
              <a:off x="5864719" y="3973480"/>
              <a:ext cx="130175" cy="565150"/>
            </a:xfrm>
            <a:custGeom>
              <a:avLst/>
              <a:gdLst>
                <a:gd name="T0" fmla="*/ 64 w 79"/>
                <a:gd name="T1" fmla="*/ 339 h 339"/>
                <a:gd name="T2" fmla="*/ 17 w 79"/>
                <a:gd name="T3" fmla="*/ 339 h 339"/>
                <a:gd name="T4" fmla="*/ 0 w 79"/>
                <a:gd name="T5" fmla="*/ 0 h 339"/>
                <a:gd name="T6" fmla="*/ 79 w 79"/>
                <a:gd name="T7" fmla="*/ 0 h 339"/>
                <a:gd name="T8" fmla="*/ 64 w 79"/>
                <a:gd name="T9" fmla="*/ 339 h 339"/>
              </a:gdLst>
              <a:ahLst/>
              <a:cxnLst>
                <a:cxn ang="0">
                  <a:pos x="T0" y="T1"/>
                </a:cxn>
                <a:cxn ang="0">
                  <a:pos x="T2" y="T3"/>
                </a:cxn>
                <a:cxn ang="0">
                  <a:pos x="T4" y="T5"/>
                </a:cxn>
                <a:cxn ang="0">
                  <a:pos x="T6" y="T7"/>
                </a:cxn>
                <a:cxn ang="0">
                  <a:pos x="T8" y="T9"/>
                </a:cxn>
              </a:cxnLst>
              <a:rect l="0" t="0" r="r" b="b"/>
              <a:pathLst>
                <a:path w="79" h="339">
                  <a:moveTo>
                    <a:pt x="64" y="339"/>
                  </a:moveTo>
                  <a:lnTo>
                    <a:pt x="17" y="339"/>
                  </a:lnTo>
                  <a:lnTo>
                    <a:pt x="0" y="0"/>
                  </a:lnTo>
                  <a:lnTo>
                    <a:pt x="79" y="0"/>
                  </a:lnTo>
                  <a:lnTo>
                    <a:pt x="64" y="339"/>
                  </a:ln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99" name="Freeform 98"/>
            <p:cNvSpPr>
              <a:spLocks/>
            </p:cNvSpPr>
            <p:nvPr/>
          </p:nvSpPr>
          <p:spPr bwMode="auto">
            <a:xfrm>
              <a:off x="5885356"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0" name="Freeform 99"/>
            <p:cNvSpPr>
              <a:spLocks/>
            </p:cNvSpPr>
            <p:nvPr/>
          </p:nvSpPr>
          <p:spPr bwMode="auto">
            <a:xfrm>
              <a:off x="5818681" y="3546442"/>
              <a:ext cx="120650" cy="328613"/>
            </a:xfrm>
            <a:custGeom>
              <a:avLst/>
              <a:gdLst>
                <a:gd name="T0" fmla="*/ 76 w 76"/>
                <a:gd name="T1" fmla="*/ 43 h 207"/>
                <a:gd name="T2" fmla="*/ 38 w 76"/>
                <a:gd name="T3" fmla="*/ 0 h 207"/>
                <a:gd name="T4" fmla="*/ 0 w 76"/>
                <a:gd name="T5" fmla="*/ 40 h 207"/>
                <a:gd name="T6" fmla="*/ 28 w 76"/>
                <a:gd name="T7" fmla="*/ 192 h 207"/>
                <a:gd name="T8" fmla="*/ 36 w 76"/>
                <a:gd name="T9" fmla="*/ 207 h 207"/>
                <a:gd name="T10" fmla="*/ 45 w 76"/>
                <a:gd name="T11" fmla="*/ 192 h 207"/>
                <a:gd name="T12" fmla="*/ 76 w 76"/>
                <a:gd name="T13" fmla="*/ 43 h 207"/>
              </a:gdLst>
              <a:ahLst/>
              <a:cxnLst>
                <a:cxn ang="0">
                  <a:pos x="T0" y="T1"/>
                </a:cxn>
                <a:cxn ang="0">
                  <a:pos x="T2" y="T3"/>
                </a:cxn>
                <a:cxn ang="0">
                  <a:pos x="T4" y="T5"/>
                </a:cxn>
                <a:cxn ang="0">
                  <a:pos x="T6" y="T7"/>
                </a:cxn>
                <a:cxn ang="0">
                  <a:pos x="T8" y="T9"/>
                </a:cxn>
                <a:cxn ang="0">
                  <a:pos x="T10" y="T11"/>
                </a:cxn>
                <a:cxn ang="0">
                  <a:pos x="T12" y="T13"/>
                </a:cxn>
              </a:cxnLst>
              <a:rect l="0" t="0" r="r" b="b"/>
              <a:pathLst>
                <a:path w="76" h="207">
                  <a:moveTo>
                    <a:pt x="76" y="43"/>
                  </a:moveTo>
                  <a:lnTo>
                    <a:pt x="38" y="0"/>
                  </a:lnTo>
                  <a:lnTo>
                    <a:pt x="0" y="40"/>
                  </a:lnTo>
                  <a:lnTo>
                    <a:pt x="28" y="192"/>
                  </a:lnTo>
                  <a:lnTo>
                    <a:pt x="36" y="207"/>
                  </a:lnTo>
                  <a:lnTo>
                    <a:pt x="45" y="192"/>
                  </a:lnTo>
                  <a:lnTo>
                    <a:pt x="76" y="4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1" name="Freeform 100"/>
            <p:cNvSpPr>
              <a:spLocks/>
            </p:cNvSpPr>
            <p:nvPr/>
          </p:nvSpPr>
          <p:spPr bwMode="auto">
            <a:xfrm>
              <a:off x="5805981" y="3324192"/>
              <a:ext cx="152400" cy="193675"/>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2" name="Freeform 101"/>
            <p:cNvSpPr>
              <a:spLocks/>
            </p:cNvSpPr>
            <p:nvPr/>
          </p:nvSpPr>
          <p:spPr bwMode="auto">
            <a:xfrm>
              <a:off x="5778994" y="3317842"/>
              <a:ext cx="169863" cy="209550"/>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3" name="Freeform 102"/>
            <p:cNvSpPr>
              <a:spLocks/>
            </p:cNvSpPr>
            <p:nvPr/>
          </p:nvSpPr>
          <p:spPr bwMode="auto">
            <a:xfrm>
              <a:off x="5837731" y="3471830"/>
              <a:ext cx="77788" cy="93663"/>
            </a:xfrm>
            <a:custGeom>
              <a:avLst/>
              <a:gdLst>
                <a:gd name="T0" fmla="*/ 49 w 49"/>
                <a:gd name="T1" fmla="*/ 40 h 59"/>
                <a:gd name="T2" fmla="*/ 24 w 49"/>
                <a:gd name="T3" fmla="*/ 59 h 59"/>
                <a:gd name="T4" fmla="*/ 0 w 49"/>
                <a:gd name="T5" fmla="*/ 40 h 59"/>
                <a:gd name="T6" fmla="*/ 0 w 49"/>
                <a:gd name="T7" fmla="*/ 0 h 59"/>
                <a:gd name="T8" fmla="*/ 49 w 49"/>
                <a:gd name="T9" fmla="*/ 0 h 59"/>
                <a:gd name="T10" fmla="*/ 49 w 49"/>
                <a:gd name="T11" fmla="*/ 40 h 59"/>
              </a:gdLst>
              <a:ahLst/>
              <a:cxnLst>
                <a:cxn ang="0">
                  <a:pos x="T0" y="T1"/>
                </a:cxn>
                <a:cxn ang="0">
                  <a:pos x="T2" y="T3"/>
                </a:cxn>
                <a:cxn ang="0">
                  <a:pos x="T4" y="T5"/>
                </a:cxn>
                <a:cxn ang="0">
                  <a:pos x="T6" y="T7"/>
                </a:cxn>
                <a:cxn ang="0">
                  <a:pos x="T8" y="T9"/>
                </a:cxn>
                <a:cxn ang="0">
                  <a:pos x="T10" y="T11"/>
                </a:cxn>
              </a:cxnLst>
              <a:rect l="0" t="0" r="r" b="b"/>
              <a:pathLst>
                <a:path w="49" h="59">
                  <a:moveTo>
                    <a:pt x="49" y="40"/>
                  </a:moveTo>
                  <a:lnTo>
                    <a:pt x="24" y="59"/>
                  </a:lnTo>
                  <a:lnTo>
                    <a:pt x="0" y="40"/>
                  </a:lnTo>
                  <a:lnTo>
                    <a:pt x="0" y="0"/>
                  </a:lnTo>
                  <a:lnTo>
                    <a:pt x="49" y="0"/>
                  </a:lnTo>
                  <a:lnTo>
                    <a:pt x="49" y="4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4" name="Freeform 103"/>
            <p:cNvSpPr>
              <a:spLocks/>
            </p:cNvSpPr>
            <p:nvPr/>
          </p:nvSpPr>
          <p:spPr bwMode="auto">
            <a:xfrm>
              <a:off x="5648819" y="3559142"/>
              <a:ext cx="169863" cy="434975"/>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5" name="Freeform 104"/>
            <p:cNvSpPr>
              <a:spLocks/>
            </p:cNvSpPr>
            <p:nvPr/>
          </p:nvSpPr>
          <p:spPr bwMode="auto">
            <a:xfrm>
              <a:off x="5936156" y="3559142"/>
              <a:ext cx="168275" cy="4349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6" name="Freeform 105"/>
            <p:cNvSpPr>
              <a:spLocks/>
            </p:cNvSpPr>
            <p:nvPr/>
          </p:nvSpPr>
          <p:spPr bwMode="auto">
            <a:xfrm>
              <a:off x="5658344"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7" name="Freeform 106"/>
            <p:cNvSpPr>
              <a:spLocks/>
            </p:cNvSpPr>
            <p:nvPr/>
          </p:nvSpPr>
          <p:spPr bwMode="auto">
            <a:xfrm>
              <a:off x="6044106" y="3994118"/>
              <a:ext cx="50800" cy="55563"/>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8" name="Freeform 107"/>
            <p:cNvSpPr>
              <a:spLocks/>
            </p:cNvSpPr>
            <p:nvPr/>
          </p:nvSpPr>
          <p:spPr bwMode="auto">
            <a:xfrm>
              <a:off x="5750419" y="3544855"/>
              <a:ext cx="252413" cy="441325"/>
            </a:xfrm>
            <a:custGeom>
              <a:avLst/>
              <a:gdLst>
                <a:gd name="T0" fmla="*/ 110 w 159"/>
                <a:gd name="T1" fmla="*/ 0 h 278"/>
                <a:gd name="T2" fmla="*/ 79 w 159"/>
                <a:gd name="T3" fmla="*/ 52 h 278"/>
                <a:gd name="T4" fmla="*/ 49 w 159"/>
                <a:gd name="T5" fmla="*/ 0 h 278"/>
                <a:gd name="T6" fmla="*/ 0 w 159"/>
                <a:gd name="T7" fmla="*/ 9 h 278"/>
                <a:gd name="T8" fmla="*/ 3 w 159"/>
                <a:gd name="T9" fmla="*/ 278 h 278"/>
                <a:gd name="T10" fmla="*/ 156 w 159"/>
                <a:gd name="T11" fmla="*/ 278 h 278"/>
                <a:gd name="T12" fmla="*/ 159 w 159"/>
                <a:gd name="T13" fmla="*/ 9 h 278"/>
                <a:gd name="T14" fmla="*/ 110 w 159"/>
                <a:gd name="T15" fmla="*/ 0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278">
                  <a:moveTo>
                    <a:pt x="110" y="0"/>
                  </a:moveTo>
                  <a:lnTo>
                    <a:pt x="79" y="52"/>
                  </a:lnTo>
                  <a:lnTo>
                    <a:pt x="49" y="0"/>
                  </a:lnTo>
                  <a:lnTo>
                    <a:pt x="0" y="9"/>
                  </a:lnTo>
                  <a:lnTo>
                    <a:pt x="3" y="278"/>
                  </a:lnTo>
                  <a:lnTo>
                    <a:pt x="156" y="278"/>
                  </a:lnTo>
                  <a:lnTo>
                    <a:pt x="159" y="9"/>
                  </a:lnTo>
                  <a:lnTo>
                    <a:pt x="11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09" name="Freeform 108"/>
            <p:cNvSpPr>
              <a:spLocks/>
            </p:cNvSpPr>
            <p:nvPr/>
          </p:nvSpPr>
          <p:spPr bwMode="auto">
            <a:xfrm>
              <a:off x="5940919" y="339086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0" name="Freeform 109"/>
            <p:cNvSpPr>
              <a:spLocks/>
            </p:cNvSpPr>
            <p:nvPr/>
          </p:nvSpPr>
          <p:spPr bwMode="auto">
            <a:xfrm>
              <a:off x="5939331" y="338928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1" name="Freeform 110"/>
            <p:cNvSpPr>
              <a:spLocks/>
            </p:cNvSpPr>
            <p:nvPr/>
          </p:nvSpPr>
          <p:spPr bwMode="auto">
            <a:xfrm>
              <a:off x="5937744" y="338293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2" name="Freeform 111"/>
            <p:cNvSpPr>
              <a:spLocks/>
            </p:cNvSpPr>
            <p:nvPr/>
          </p:nvSpPr>
          <p:spPr bwMode="auto">
            <a:xfrm>
              <a:off x="5939331" y="3384517"/>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3" name="Freeform 112"/>
            <p:cNvSpPr>
              <a:spLocks/>
            </p:cNvSpPr>
            <p:nvPr/>
          </p:nvSpPr>
          <p:spPr bwMode="auto">
            <a:xfrm>
              <a:off x="5813919" y="33845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4" name="Freeform 113"/>
            <p:cNvSpPr>
              <a:spLocks/>
            </p:cNvSpPr>
            <p:nvPr/>
          </p:nvSpPr>
          <p:spPr bwMode="auto">
            <a:xfrm>
              <a:off x="5940919" y="3394042"/>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5" name="Freeform 114"/>
            <p:cNvSpPr>
              <a:spLocks/>
            </p:cNvSpPr>
            <p:nvPr/>
          </p:nvSpPr>
          <p:spPr bwMode="auto">
            <a:xfrm>
              <a:off x="5940919" y="3397217"/>
              <a:ext cx="1588" cy="317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6" name="Freeform 115"/>
            <p:cNvSpPr>
              <a:spLocks/>
            </p:cNvSpPr>
            <p:nvPr/>
          </p:nvSpPr>
          <p:spPr bwMode="auto">
            <a:xfrm>
              <a:off x="5936156" y="33813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7" name="Freeform 116"/>
            <p:cNvSpPr>
              <a:spLocks/>
            </p:cNvSpPr>
            <p:nvPr/>
          </p:nvSpPr>
          <p:spPr bwMode="auto">
            <a:xfrm>
              <a:off x="5807569" y="3395630"/>
              <a:ext cx="1588"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8" name="Freeform 117"/>
            <p:cNvSpPr>
              <a:spLocks/>
            </p:cNvSpPr>
            <p:nvPr/>
          </p:nvSpPr>
          <p:spPr bwMode="auto">
            <a:xfrm>
              <a:off x="5810744" y="33908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19" name="Freeform 118"/>
            <p:cNvSpPr>
              <a:spLocks/>
            </p:cNvSpPr>
            <p:nvPr/>
          </p:nvSpPr>
          <p:spPr bwMode="auto">
            <a:xfrm>
              <a:off x="5812331" y="338610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0" name="Freeform 119"/>
            <p:cNvSpPr>
              <a:spLocks/>
            </p:cNvSpPr>
            <p:nvPr/>
          </p:nvSpPr>
          <p:spPr bwMode="auto">
            <a:xfrm>
              <a:off x="5809156" y="339245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1" name="Freeform 120"/>
            <p:cNvSpPr>
              <a:spLocks/>
            </p:cNvSpPr>
            <p:nvPr/>
          </p:nvSpPr>
          <p:spPr bwMode="auto">
            <a:xfrm>
              <a:off x="5798044" y="3376580"/>
              <a:ext cx="155575" cy="139700"/>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462B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2" name="Freeform 121"/>
            <p:cNvSpPr>
              <a:spLocks/>
            </p:cNvSpPr>
            <p:nvPr/>
          </p:nvSpPr>
          <p:spPr bwMode="auto">
            <a:xfrm>
              <a:off x="5769600" y="4529105"/>
              <a:ext cx="100013" cy="49213"/>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nvGrpSpPr>
          <p:cNvPr id="125" name="Group 124"/>
          <p:cNvGrpSpPr/>
          <p:nvPr/>
        </p:nvGrpSpPr>
        <p:grpSpPr>
          <a:xfrm>
            <a:off x="5658110" y="3126168"/>
            <a:ext cx="1536405" cy="4591008"/>
            <a:chOff x="6877823" y="2981768"/>
            <a:chExt cx="898581" cy="2685093"/>
          </a:xfrm>
        </p:grpSpPr>
        <p:sp>
          <p:nvSpPr>
            <p:cNvPr id="126" name="Rectangle 3"/>
            <p:cNvSpPr/>
            <p:nvPr/>
          </p:nvSpPr>
          <p:spPr bwMode="auto">
            <a:xfrm>
              <a:off x="7229214" y="3504719"/>
              <a:ext cx="193796" cy="848009"/>
            </a:xfrm>
            <a:custGeom>
              <a:avLst/>
              <a:gdLst>
                <a:gd name="connsiteX0" fmla="*/ 0 w 174035"/>
                <a:gd name="connsiteY0" fmla="*/ 0 h 858245"/>
                <a:gd name="connsiteX1" fmla="*/ 174035 w 174035"/>
                <a:gd name="connsiteY1" fmla="*/ 0 h 858245"/>
                <a:gd name="connsiteX2" fmla="*/ 174035 w 174035"/>
                <a:gd name="connsiteY2" fmla="*/ 858245 h 858245"/>
                <a:gd name="connsiteX3" fmla="*/ 0 w 174035"/>
                <a:gd name="connsiteY3" fmla="*/ 858245 h 858245"/>
                <a:gd name="connsiteX4" fmla="*/ 0 w 174035"/>
                <a:gd name="connsiteY4" fmla="*/ 0 h 858245"/>
                <a:gd name="connsiteX0" fmla="*/ 0 w 184271"/>
                <a:gd name="connsiteY0" fmla="*/ 6824 h 858245"/>
                <a:gd name="connsiteX1" fmla="*/ 184271 w 184271"/>
                <a:gd name="connsiteY1" fmla="*/ 0 h 858245"/>
                <a:gd name="connsiteX2" fmla="*/ 184271 w 184271"/>
                <a:gd name="connsiteY2" fmla="*/ 858245 h 858245"/>
                <a:gd name="connsiteX3" fmla="*/ 10236 w 184271"/>
                <a:gd name="connsiteY3" fmla="*/ 858245 h 858245"/>
                <a:gd name="connsiteX4" fmla="*/ 0 w 184271"/>
                <a:gd name="connsiteY4" fmla="*/ 6824 h 858245"/>
                <a:gd name="connsiteX0" fmla="*/ 0 w 184271"/>
                <a:gd name="connsiteY0" fmla="*/ 0 h 851421"/>
                <a:gd name="connsiteX1" fmla="*/ 177447 w 184271"/>
                <a:gd name="connsiteY1" fmla="*/ 3412 h 851421"/>
                <a:gd name="connsiteX2" fmla="*/ 184271 w 184271"/>
                <a:gd name="connsiteY2" fmla="*/ 851421 h 851421"/>
                <a:gd name="connsiteX3" fmla="*/ 10236 w 184271"/>
                <a:gd name="connsiteY3" fmla="*/ 851421 h 851421"/>
                <a:gd name="connsiteX4" fmla="*/ 0 w 184271"/>
                <a:gd name="connsiteY4" fmla="*/ 0 h 851421"/>
                <a:gd name="connsiteX0" fmla="*/ 0 w 193796"/>
                <a:gd name="connsiteY0" fmla="*/ 2938 h 848009"/>
                <a:gd name="connsiteX1" fmla="*/ 186972 w 193796"/>
                <a:gd name="connsiteY1" fmla="*/ 0 h 848009"/>
                <a:gd name="connsiteX2" fmla="*/ 193796 w 193796"/>
                <a:gd name="connsiteY2" fmla="*/ 848009 h 848009"/>
                <a:gd name="connsiteX3" fmla="*/ 19761 w 193796"/>
                <a:gd name="connsiteY3" fmla="*/ 848009 h 848009"/>
                <a:gd name="connsiteX4" fmla="*/ 0 w 193796"/>
                <a:gd name="connsiteY4" fmla="*/ 2938 h 84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96" h="848009">
                  <a:moveTo>
                    <a:pt x="0" y="2938"/>
                  </a:moveTo>
                  <a:lnTo>
                    <a:pt x="186972" y="0"/>
                  </a:lnTo>
                  <a:cubicBezTo>
                    <a:pt x="189247" y="282670"/>
                    <a:pt x="191521" y="565339"/>
                    <a:pt x="193796" y="848009"/>
                  </a:cubicBezTo>
                  <a:lnTo>
                    <a:pt x="19761" y="848009"/>
                  </a:lnTo>
                  <a:lnTo>
                    <a:pt x="0" y="293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7" name="Group 126"/>
            <p:cNvGrpSpPr/>
            <p:nvPr/>
          </p:nvGrpSpPr>
          <p:grpSpPr>
            <a:xfrm>
              <a:off x="6877823" y="2981768"/>
              <a:ext cx="898581" cy="2685093"/>
              <a:chOff x="6125069" y="3378167"/>
              <a:chExt cx="401637" cy="1200151"/>
            </a:xfrm>
          </p:grpSpPr>
          <p:sp>
            <p:nvSpPr>
              <p:cNvPr id="128" name="Freeform 123"/>
              <p:cNvSpPr>
                <a:spLocks/>
              </p:cNvSpPr>
              <p:nvPr/>
            </p:nvSpPr>
            <p:spPr bwMode="auto">
              <a:xfrm>
                <a:off x="6125069" y="3621055"/>
                <a:ext cx="122238" cy="307975"/>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29" name="Freeform 124"/>
              <p:cNvSpPr>
                <a:spLocks/>
              </p:cNvSpPr>
              <p:nvPr/>
            </p:nvSpPr>
            <p:spPr bwMode="auto">
              <a:xfrm>
                <a:off x="6131419" y="3929030"/>
                <a:ext cx="38100" cy="41275"/>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nvGrpSpPr>
              <p:cNvPr id="130" name="Group 129"/>
              <p:cNvGrpSpPr/>
              <p:nvPr/>
            </p:nvGrpSpPr>
            <p:grpSpPr>
              <a:xfrm>
                <a:off x="6199681" y="3378167"/>
                <a:ext cx="327025" cy="1200151"/>
                <a:chOff x="6199681" y="3378167"/>
                <a:chExt cx="327025" cy="1200151"/>
              </a:xfrm>
            </p:grpSpPr>
            <p:sp>
              <p:nvSpPr>
                <p:cNvPr id="131" name="Freeform 115"/>
                <p:cNvSpPr>
                  <a:spLocks/>
                </p:cNvSpPr>
                <p:nvPr/>
              </p:nvSpPr>
              <p:spPr bwMode="auto">
                <a:xfrm>
                  <a:off x="6233019" y="3378167"/>
                  <a:ext cx="193675" cy="223838"/>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2" name="Freeform 117"/>
                <p:cNvSpPr>
                  <a:spLocks/>
                </p:cNvSpPr>
                <p:nvPr/>
              </p:nvSpPr>
              <p:spPr bwMode="auto">
                <a:xfrm>
                  <a:off x="6406056" y="3621055"/>
                  <a:ext cx="120650" cy="307975"/>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3" name="Freeform 118"/>
                <p:cNvSpPr>
                  <a:spLocks/>
                </p:cNvSpPr>
                <p:nvPr/>
              </p:nvSpPr>
              <p:spPr bwMode="auto">
                <a:xfrm>
                  <a:off x="6253656" y="4206843"/>
                  <a:ext cx="71438" cy="371475"/>
                </a:xfrm>
                <a:custGeom>
                  <a:avLst/>
                  <a:gdLst>
                    <a:gd name="T0" fmla="*/ 39 w 45"/>
                    <a:gd name="T1" fmla="*/ 234 h 234"/>
                    <a:gd name="T2" fmla="*/ 6 w 45"/>
                    <a:gd name="T3" fmla="*/ 234 h 234"/>
                    <a:gd name="T4" fmla="*/ 0 w 45"/>
                    <a:gd name="T5" fmla="*/ 0 h 234"/>
                    <a:gd name="T6" fmla="*/ 45 w 45"/>
                    <a:gd name="T7" fmla="*/ 0 h 234"/>
                    <a:gd name="T8" fmla="*/ 39 w 45"/>
                    <a:gd name="T9" fmla="*/ 234 h 234"/>
                  </a:gdLst>
                  <a:ahLst/>
                  <a:cxnLst>
                    <a:cxn ang="0">
                      <a:pos x="T0" y="T1"/>
                    </a:cxn>
                    <a:cxn ang="0">
                      <a:pos x="T2" y="T3"/>
                    </a:cxn>
                    <a:cxn ang="0">
                      <a:pos x="T4" y="T5"/>
                    </a:cxn>
                    <a:cxn ang="0">
                      <a:pos x="T6" y="T7"/>
                    </a:cxn>
                    <a:cxn ang="0">
                      <a:pos x="T8" y="T9"/>
                    </a:cxn>
                  </a:cxnLst>
                  <a:rect l="0" t="0" r="r" b="b"/>
                  <a:pathLst>
                    <a:path w="45" h="234">
                      <a:moveTo>
                        <a:pt x="39" y="234"/>
                      </a:moveTo>
                      <a:lnTo>
                        <a:pt x="6" y="234"/>
                      </a:lnTo>
                      <a:lnTo>
                        <a:pt x="0" y="0"/>
                      </a:lnTo>
                      <a:lnTo>
                        <a:pt x="45" y="0"/>
                      </a:lnTo>
                      <a:lnTo>
                        <a:pt x="39"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4" name="Freeform 119"/>
                <p:cNvSpPr>
                  <a:spLocks/>
                </p:cNvSpPr>
                <p:nvPr/>
              </p:nvSpPr>
              <p:spPr bwMode="auto">
                <a:xfrm>
                  <a:off x="6256831" y="4543393"/>
                  <a:ext cx="65088" cy="3492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5" name="Freeform 120"/>
                <p:cNvSpPr>
                  <a:spLocks/>
                </p:cNvSpPr>
                <p:nvPr/>
              </p:nvSpPr>
              <p:spPr bwMode="auto">
                <a:xfrm>
                  <a:off x="6336206" y="4206843"/>
                  <a:ext cx="69850" cy="371475"/>
                </a:xfrm>
                <a:custGeom>
                  <a:avLst/>
                  <a:gdLst>
                    <a:gd name="T0" fmla="*/ 6 w 44"/>
                    <a:gd name="T1" fmla="*/ 234 h 234"/>
                    <a:gd name="T2" fmla="*/ 39 w 44"/>
                    <a:gd name="T3" fmla="*/ 234 h 234"/>
                    <a:gd name="T4" fmla="*/ 44 w 44"/>
                    <a:gd name="T5" fmla="*/ 0 h 234"/>
                    <a:gd name="T6" fmla="*/ 0 w 44"/>
                    <a:gd name="T7" fmla="*/ 0 h 234"/>
                    <a:gd name="T8" fmla="*/ 6 w 44"/>
                    <a:gd name="T9" fmla="*/ 234 h 234"/>
                  </a:gdLst>
                  <a:ahLst/>
                  <a:cxnLst>
                    <a:cxn ang="0">
                      <a:pos x="T0" y="T1"/>
                    </a:cxn>
                    <a:cxn ang="0">
                      <a:pos x="T2" y="T3"/>
                    </a:cxn>
                    <a:cxn ang="0">
                      <a:pos x="T4" y="T5"/>
                    </a:cxn>
                    <a:cxn ang="0">
                      <a:pos x="T6" y="T7"/>
                    </a:cxn>
                    <a:cxn ang="0">
                      <a:pos x="T8" y="T9"/>
                    </a:cxn>
                  </a:cxnLst>
                  <a:rect l="0" t="0" r="r" b="b"/>
                  <a:pathLst>
                    <a:path w="44" h="234">
                      <a:moveTo>
                        <a:pt x="6" y="234"/>
                      </a:moveTo>
                      <a:lnTo>
                        <a:pt x="39" y="234"/>
                      </a:lnTo>
                      <a:lnTo>
                        <a:pt x="44" y="0"/>
                      </a:lnTo>
                      <a:lnTo>
                        <a:pt x="0" y="0"/>
                      </a:lnTo>
                      <a:lnTo>
                        <a:pt x="6" y="234"/>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6" name="Freeform 121"/>
                <p:cNvSpPr>
                  <a:spLocks/>
                </p:cNvSpPr>
                <p:nvPr/>
              </p:nvSpPr>
              <p:spPr bwMode="auto">
                <a:xfrm>
                  <a:off x="6339381" y="4543393"/>
                  <a:ext cx="65088" cy="3492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chemeClr val="tx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7" name="Freeform 122"/>
                <p:cNvSpPr>
                  <a:spLocks/>
                </p:cNvSpPr>
                <p:nvPr/>
              </p:nvSpPr>
              <p:spPr bwMode="auto">
                <a:xfrm>
                  <a:off x="6483844" y="3929030"/>
                  <a:ext cx="34925" cy="41275"/>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8" name="Freeform 125"/>
                <p:cNvSpPr>
                  <a:spLocks/>
                </p:cNvSpPr>
                <p:nvPr/>
              </p:nvSpPr>
              <p:spPr bwMode="auto">
                <a:xfrm>
                  <a:off x="6199681" y="3611530"/>
                  <a:ext cx="255588" cy="396875"/>
                </a:xfrm>
                <a:custGeom>
                  <a:avLst/>
                  <a:gdLst>
                    <a:gd name="T0" fmla="*/ 103 w 161"/>
                    <a:gd name="T1" fmla="*/ 0 h 250"/>
                    <a:gd name="T2" fmla="*/ 80 w 161"/>
                    <a:gd name="T3" fmla="*/ 181 h 250"/>
                    <a:gd name="T4" fmla="*/ 57 w 161"/>
                    <a:gd name="T5" fmla="*/ 0 h 250"/>
                    <a:gd name="T6" fmla="*/ 0 w 161"/>
                    <a:gd name="T7" fmla="*/ 6 h 250"/>
                    <a:gd name="T8" fmla="*/ 12 w 161"/>
                    <a:gd name="T9" fmla="*/ 250 h 250"/>
                    <a:gd name="T10" fmla="*/ 149 w 161"/>
                    <a:gd name="T11" fmla="*/ 250 h 250"/>
                    <a:gd name="T12" fmla="*/ 161 w 161"/>
                    <a:gd name="T13" fmla="*/ 6 h 250"/>
                    <a:gd name="T14" fmla="*/ 103 w 161"/>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50">
                      <a:moveTo>
                        <a:pt x="103" y="0"/>
                      </a:moveTo>
                      <a:lnTo>
                        <a:pt x="80" y="181"/>
                      </a:lnTo>
                      <a:lnTo>
                        <a:pt x="57" y="0"/>
                      </a:lnTo>
                      <a:lnTo>
                        <a:pt x="0" y="6"/>
                      </a:lnTo>
                      <a:lnTo>
                        <a:pt x="12" y="250"/>
                      </a:lnTo>
                      <a:lnTo>
                        <a:pt x="149" y="250"/>
                      </a:lnTo>
                      <a:lnTo>
                        <a:pt x="161" y="6"/>
                      </a:lnTo>
                      <a:lnTo>
                        <a:pt x="103"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39" name="Freeform 126"/>
                <p:cNvSpPr>
                  <a:spLocks/>
                </p:cNvSpPr>
                <p:nvPr/>
              </p:nvSpPr>
              <p:spPr bwMode="auto">
                <a:xfrm>
                  <a:off x="6387006" y="3468655"/>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0" name="Freeform 127"/>
                <p:cNvSpPr>
                  <a:spLocks/>
                </p:cNvSpPr>
                <p:nvPr/>
              </p:nvSpPr>
              <p:spPr bwMode="auto">
                <a:xfrm>
                  <a:off x="6385419"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1" name="Freeform 128"/>
                <p:cNvSpPr>
                  <a:spLocks/>
                </p:cNvSpPr>
                <p:nvPr/>
              </p:nvSpPr>
              <p:spPr bwMode="auto">
                <a:xfrm>
                  <a:off x="63822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2" name="Freeform 129"/>
                <p:cNvSpPr>
                  <a:spLocks/>
                </p:cNvSpPr>
                <p:nvPr/>
              </p:nvSpPr>
              <p:spPr bwMode="auto">
                <a:xfrm>
                  <a:off x="6383831" y="3463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3" name="Freeform 130"/>
                <p:cNvSpPr>
                  <a:spLocks/>
                </p:cNvSpPr>
                <p:nvPr/>
              </p:nvSpPr>
              <p:spPr bwMode="auto">
                <a:xfrm>
                  <a:off x="6267944" y="34623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4" name="Freeform 131"/>
                <p:cNvSpPr>
                  <a:spLocks/>
                </p:cNvSpPr>
                <p:nvPr/>
              </p:nvSpPr>
              <p:spPr bwMode="auto">
                <a:xfrm>
                  <a:off x="6387006" y="3471830"/>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5" name="Freeform 132"/>
                <p:cNvSpPr>
                  <a:spLocks/>
                </p:cNvSpPr>
                <p:nvPr/>
              </p:nvSpPr>
              <p:spPr bwMode="auto">
                <a:xfrm>
                  <a:off x="6387006" y="3475005"/>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6" name="Freeform 133"/>
                <p:cNvSpPr>
                  <a:spLocks/>
                </p:cNvSpPr>
                <p:nvPr/>
              </p:nvSpPr>
              <p:spPr bwMode="auto">
                <a:xfrm>
                  <a:off x="6382244" y="34591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7" name="Freeform 134"/>
                <p:cNvSpPr>
                  <a:spLocks/>
                </p:cNvSpPr>
                <p:nvPr/>
              </p:nvSpPr>
              <p:spPr bwMode="auto">
                <a:xfrm>
                  <a:off x="6264769" y="34734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8" name="Freeform 135"/>
                <p:cNvSpPr>
                  <a:spLocks/>
                </p:cNvSpPr>
                <p:nvPr/>
              </p:nvSpPr>
              <p:spPr bwMode="auto">
                <a:xfrm>
                  <a:off x="6266356" y="346706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49" name="Freeform 136"/>
                <p:cNvSpPr>
                  <a:spLocks/>
                </p:cNvSpPr>
                <p:nvPr/>
              </p:nvSpPr>
              <p:spPr bwMode="auto">
                <a:xfrm>
                  <a:off x="6266356" y="34654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0" name="Freeform 137"/>
                <p:cNvSpPr>
                  <a:spLocks/>
                </p:cNvSpPr>
                <p:nvPr/>
              </p:nvSpPr>
              <p:spPr bwMode="auto">
                <a:xfrm>
                  <a:off x="6264769" y="347024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1" name="Freeform 138"/>
                <p:cNvSpPr>
                  <a:spLocks/>
                </p:cNvSpPr>
                <p:nvPr/>
              </p:nvSpPr>
              <p:spPr bwMode="auto">
                <a:xfrm>
                  <a:off x="6253656" y="3455955"/>
                  <a:ext cx="142875" cy="17303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866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2" name="Freeform 139"/>
                <p:cNvSpPr>
                  <a:spLocks/>
                </p:cNvSpPr>
                <p:nvPr/>
              </p:nvSpPr>
              <p:spPr bwMode="auto">
                <a:xfrm>
                  <a:off x="6218731" y="4008405"/>
                  <a:ext cx="217488" cy="238125"/>
                </a:xfrm>
                <a:custGeom>
                  <a:avLst/>
                  <a:gdLst>
                    <a:gd name="T0" fmla="*/ 131 w 137"/>
                    <a:gd name="T1" fmla="*/ 150 h 150"/>
                    <a:gd name="T2" fmla="*/ 6 w 137"/>
                    <a:gd name="T3" fmla="*/ 150 h 150"/>
                    <a:gd name="T4" fmla="*/ 0 w 137"/>
                    <a:gd name="T5" fmla="*/ 0 h 150"/>
                    <a:gd name="T6" fmla="*/ 137 w 137"/>
                    <a:gd name="T7" fmla="*/ 0 h 150"/>
                    <a:gd name="T8" fmla="*/ 131 w 137"/>
                    <a:gd name="T9" fmla="*/ 150 h 150"/>
                  </a:gdLst>
                  <a:ahLst/>
                  <a:cxnLst>
                    <a:cxn ang="0">
                      <a:pos x="T0" y="T1"/>
                    </a:cxn>
                    <a:cxn ang="0">
                      <a:pos x="T2" y="T3"/>
                    </a:cxn>
                    <a:cxn ang="0">
                      <a:pos x="T4" y="T5"/>
                    </a:cxn>
                    <a:cxn ang="0">
                      <a:pos x="T6" y="T7"/>
                    </a:cxn>
                    <a:cxn ang="0">
                      <a:pos x="T8" y="T9"/>
                    </a:cxn>
                  </a:cxnLst>
                  <a:rect l="0" t="0" r="r" b="b"/>
                  <a:pathLst>
                    <a:path w="137" h="150">
                      <a:moveTo>
                        <a:pt x="131" y="150"/>
                      </a:moveTo>
                      <a:lnTo>
                        <a:pt x="6" y="150"/>
                      </a:lnTo>
                      <a:lnTo>
                        <a:pt x="0" y="0"/>
                      </a:lnTo>
                      <a:lnTo>
                        <a:pt x="137" y="0"/>
                      </a:lnTo>
                      <a:lnTo>
                        <a:pt x="131" y="15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B4009E"/>
                    </a:solidFill>
                    <a:latin typeface="Segoe UI"/>
                  </a:endParaRPr>
                </a:p>
              </p:txBody>
            </p:sp>
            <p:sp>
              <p:nvSpPr>
                <p:cNvPr id="153" name="Oval 170"/>
                <p:cNvSpPr>
                  <a:spLocks noChangeArrowheads="1"/>
                </p:cNvSpPr>
                <p:nvPr/>
              </p:nvSpPr>
              <p:spPr bwMode="auto">
                <a:xfrm>
                  <a:off x="6263181" y="3486117"/>
                  <a:ext cx="3175"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sp>
              <p:nvSpPr>
                <p:cNvPr id="154" name="Oval 171"/>
                <p:cNvSpPr>
                  <a:spLocks noChangeArrowheads="1"/>
                </p:cNvSpPr>
                <p:nvPr/>
              </p:nvSpPr>
              <p:spPr bwMode="auto">
                <a:xfrm>
                  <a:off x="6385419" y="3486117"/>
                  <a:ext cx="4763" cy="3175"/>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sz="1836" dirty="0">
                    <a:solidFill>
                      <a:srgbClr val="FFFFFF"/>
                    </a:solidFill>
                    <a:latin typeface="Segoe UI"/>
                  </a:endParaRPr>
                </a:p>
              </p:txBody>
            </p:sp>
          </p:grpSp>
        </p:grpSp>
      </p:grpSp>
      <p:grpSp>
        <p:nvGrpSpPr>
          <p:cNvPr id="158" name="Group 157"/>
          <p:cNvGrpSpPr/>
          <p:nvPr/>
        </p:nvGrpSpPr>
        <p:grpSpPr>
          <a:xfrm>
            <a:off x="716858" y="3972990"/>
            <a:ext cx="2588725" cy="851650"/>
            <a:chOff x="8950455" y="380415"/>
            <a:chExt cx="2913486" cy="958491"/>
          </a:xfrm>
        </p:grpSpPr>
        <p:sp>
          <p:nvSpPr>
            <p:cNvPr id="11" name="Rectangle 10"/>
            <p:cNvSpPr/>
            <p:nvPr/>
          </p:nvSpPr>
          <p:spPr bwMode="auto">
            <a:xfrm>
              <a:off x="8950455" y="380415"/>
              <a:ext cx="2592394" cy="9584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Detect &amp; debug errors in my apps</a:t>
              </a:r>
            </a:p>
          </p:txBody>
        </p:sp>
        <p:sp>
          <p:nvSpPr>
            <p:cNvPr id="155" name="Right Triangle 154"/>
            <p:cNvSpPr/>
            <p:nvPr/>
          </p:nvSpPr>
          <p:spPr bwMode="auto">
            <a:xfrm rot="10800000" flipH="1">
              <a:off x="11530113" y="914542"/>
              <a:ext cx="333828"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9" name="Group 158"/>
          <p:cNvGrpSpPr/>
          <p:nvPr/>
        </p:nvGrpSpPr>
        <p:grpSpPr>
          <a:xfrm>
            <a:off x="1012513" y="2573012"/>
            <a:ext cx="2811414" cy="932422"/>
            <a:chOff x="8683483" y="289511"/>
            <a:chExt cx="3164113" cy="1049396"/>
          </a:xfrm>
        </p:grpSpPr>
        <p:sp>
          <p:nvSpPr>
            <p:cNvPr id="160" name="Rectangle 159"/>
            <p:cNvSpPr/>
            <p:nvPr/>
          </p:nvSpPr>
          <p:spPr bwMode="auto">
            <a:xfrm>
              <a:off x="8683483" y="289511"/>
              <a:ext cx="2859365"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Understand &amp; optimize performance of my app</a:t>
              </a:r>
            </a:p>
          </p:txBody>
        </p:sp>
        <p:sp>
          <p:nvSpPr>
            <p:cNvPr id="161" name="Right Triangle 160"/>
            <p:cNvSpPr/>
            <p:nvPr/>
          </p:nvSpPr>
          <p:spPr bwMode="auto">
            <a:xfrm rot="5400000" flipH="1">
              <a:off x="11513768" y="870809"/>
              <a:ext cx="333827"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3" name="Group 162"/>
          <p:cNvGrpSpPr/>
          <p:nvPr/>
        </p:nvGrpSpPr>
        <p:grpSpPr>
          <a:xfrm>
            <a:off x="4008182" y="1618216"/>
            <a:ext cx="2809265" cy="1229038"/>
            <a:chOff x="8381155" y="289511"/>
            <a:chExt cx="3161694" cy="1383224"/>
          </a:xfrm>
        </p:grpSpPr>
        <p:sp>
          <p:nvSpPr>
            <p:cNvPr id="164" name="Rectangle 163"/>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Diagnose problems across my app, VMs, networks, and PaaS services</a:t>
              </a:r>
            </a:p>
          </p:txBody>
        </p:sp>
        <p:sp>
          <p:nvSpPr>
            <p:cNvPr id="165" name="Right Triangle 164"/>
            <p:cNvSpPr/>
            <p:nvPr/>
          </p:nvSpPr>
          <p:spPr bwMode="auto">
            <a:xfrm rot="16200000" flipH="1">
              <a:off x="9036961"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6" name="Group 165"/>
          <p:cNvGrpSpPr/>
          <p:nvPr/>
        </p:nvGrpSpPr>
        <p:grpSpPr>
          <a:xfrm>
            <a:off x="7210023" y="1804928"/>
            <a:ext cx="2809265" cy="1229038"/>
            <a:chOff x="8381155" y="289511"/>
            <a:chExt cx="3161694" cy="1383224"/>
          </a:xfrm>
        </p:grpSpPr>
        <p:sp>
          <p:nvSpPr>
            <p:cNvPr id="167" name="Rectangle 166"/>
            <p:cNvSpPr/>
            <p:nvPr/>
          </p:nvSpPr>
          <p:spPr bwMode="auto">
            <a:xfrm>
              <a:off x="8381155" y="289511"/>
              <a:ext cx="3161694" cy="10493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Show exec dashboards of application SLAs &amp; KPIs</a:t>
              </a:r>
            </a:p>
          </p:txBody>
        </p:sp>
        <p:sp>
          <p:nvSpPr>
            <p:cNvPr id="168" name="Right Triangle 167"/>
            <p:cNvSpPr/>
            <p:nvPr/>
          </p:nvSpPr>
          <p:spPr bwMode="auto">
            <a:xfrm rot="5400000">
              <a:off x="8765362" y="1338907"/>
              <a:ext cx="333828"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69" name="Group 168"/>
          <p:cNvGrpSpPr/>
          <p:nvPr/>
        </p:nvGrpSpPr>
        <p:grpSpPr>
          <a:xfrm>
            <a:off x="9055826" y="2981596"/>
            <a:ext cx="3019708" cy="949261"/>
            <a:chOff x="8047327" y="270559"/>
            <a:chExt cx="3398538" cy="1068348"/>
          </a:xfrm>
        </p:grpSpPr>
        <p:sp>
          <p:nvSpPr>
            <p:cNvPr id="170" name="Rectangle 169"/>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32239">
                <a:lnSpc>
                  <a:spcPct val="90000"/>
                </a:lnSpc>
                <a:spcAft>
                  <a:spcPts val="612"/>
                </a:spcAft>
                <a:buSzPct val="90000"/>
                <a:defRPr/>
              </a:pPr>
              <a:r>
                <a:rPr lang="en-US" sz="1632" dirty="0">
                  <a:solidFill>
                    <a:srgbClr val="0078D7"/>
                  </a:solidFill>
                  <a:latin typeface="Segoe UI"/>
                  <a:cs typeface="Segoe Pro"/>
                </a:rPr>
                <a:t>Track usage, engagement &amp; retention of my app</a:t>
              </a:r>
            </a:p>
          </p:txBody>
        </p:sp>
        <p:sp>
          <p:nvSpPr>
            <p:cNvPr id="171" name="Right Triangle 170"/>
            <p:cNvSpPr/>
            <p:nvPr/>
          </p:nvSpPr>
          <p:spPr bwMode="auto">
            <a:xfrm rot="16200000">
              <a:off x="8047326" y="430071"/>
              <a:ext cx="333829" cy="333828"/>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2" name="Group 171">
            <a:extLst>
              <a:ext uri="{FF2B5EF4-FFF2-40B4-BE49-F238E27FC236}">
                <a16:creationId xmlns:a16="http://schemas.microsoft.com/office/drawing/2014/main" id="{489DA2F6-38D9-4C9B-98D0-03AE9A37A424}"/>
              </a:ext>
            </a:extLst>
          </p:cNvPr>
          <p:cNvGrpSpPr/>
          <p:nvPr/>
        </p:nvGrpSpPr>
        <p:grpSpPr>
          <a:xfrm>
            <a:off x="9910520" y="4511432"/>
            <a:ext cx="2210552" cy="813212"/>
            <a:chOff x="8062763" y="270559"/>
            <a:chExt cx="3383102" cy="1068348"/>
          </a:xfrm>
        </p:grpSpPr>
        <p:sp>
          <p:nvSpPr>
            <p:cNvPr id="173" name="Rectangle 172">
              <a:extLst>
                <a:ext uri="{FF2B5EF4-FFF2-40B4-BE49-F238E27FC236}">
                  <a16:creationId xmlns:a16="http://schemas.microsoft.com/office/drawing/2014/main" id="{998A5AE1-94BD-4A4C-9E7D-5A09E8D42B0D}"/>
                </a:ext>
              </a:extLst>
            </p:cNvPr>
            <p:cNvSpPr/>
            <p:nvPr/>
          </p:nvSpPr>
          <p:spPr bwMode="auto">
            <a:xfrm>
              <a:off x="8381154" y="270559"/>
              <a:ext cx="3064711" cy="106834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defTabSz="950973">
                <a:lnSpc>
                  <a:spcPct val="90000"/>
                </a:lnSpc>
                <a:spcAft>
                  <a:spcPts val="624"/>
                </a:spcAft>
                <a:buSzPct val="90000"/>
              </a:pPr>
              <a:r>
                <a:rPr lang="en-US" sz="1632" dirty="0">
                  <a:solidFill>
                    <a:srgbClr val="0078D7"/>
                  </a:solidFill>
                  <a:latin typeface="Segoe UI"/>
                  <a:cs typeface="Segoe Pro"/>
                </a:rPr>
                <a:t>Is there is a security threat!!!!!</a:t>
              </a:r>
            </a:p>
          </p:txBody>
        </p:sp>
        <p:sp>
          <p:nvSpPr>
            <p:cNvPr id="174" name="Right Triangle 173">
              <a:extLst>
                <a:ext uri="{FF2B5EF4-FFF2-40B4-BE49-F238E27FC236}">
                  <a16:creationId xmlns:a16="http://schemas.microsoft.com/office/drawing/2014/main" id="{8D4342CA-5334-4828-9A2A-40DD92D5B2C4}"/>
                </a:ext>
              </a:extLst>
            </p:cNvPr>
            <p:cNvSpPr/>
            <p:nvPr/>
          </p:nvSpPr>
          <p:spPr bwMode="auto">
            <a:xfrm rot="10987962">
              <a:off x="8062763" y="460602"/>
              <a:ext cx="333829" cy="333827"/>
            </a:xfrm>
            <a:prstGeom prst="r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030" name="Picture 6" descr="Image result for mustache">
            <a:extLst>
              <a:ext uri="{FF2B5EF4-FFF2-40B4-BE49-F238E27FC236}">
                <a16:creationId xmlns:a16="http://schemas.microsoft.com/office/drawing/2014/main" id="{E76CB2D7-3F82-4137-A331-F1048B05C319}"/>
              </a:ext>
            </a:extLst>
          </p:cNvPr>
          <p:cNvPicPr>
            <a:picLocks noChangeAspect="1" noChangeArrowheads="1"/>
          </p:cNvPicPr>
          <p:nvPr/>
        </p:nvPicPr>
        <p:blipFill>
          <a:blip r:embed="rId3" cstate="email">
            <a:biLevel thresh="75000"/>
            <a:extLst>
              <a:ext uri="{BEBA8EAE-BF5A-486C-A8C5-ECC9F3942E4B}">
                <a14:imgProps xmlns:a14="http://schemas.microsoft.com/office/drawing/2010/main">
                  <a14:imgLayer r:embed="rId4">
                    <a14:imgEffect>
                      <a14:sharpenSoften amount="100000"/>
                    </a14:imgEffect>
                    <a14:imgEffect>
                      <a14:colorTemperature colorTemp="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848084" y="4029999"/>
            <a:ext cx="754537" cy="754537"/>
          </a:xfrm>
          <a:prstGeom prst="rect">
            <a:avLst/>
          </a:prstGeom>
          <a:solidFill>
            <a:schemeClr val="accent1">
              <a:alpha val="0"/>
            </a:schemeClr>
          </a:solidFill>
        </p:spPr>
      </p:pic>
    </p:spTree>
    <p:extLst>
      <p:ext uri="{BB962C8B-B14F-4D97-AF65-F5344CB8AC3E}">
        <p14:creationId xmlns:p14="http://schemas.microsoft.com/office/powerpoint/2010/main" val="1521297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8"/>
                                        </p:tgtEl>
                                        <p:attrNameLst>
                                          <p:attrName>style.visibility</p:attrName>
                                        </p:attrNameLst>
                                      </p:cBhvr>
                                      <p:to>
                                        <p:strVal val="visible"/>
                                      </p:to>
                                    </p:set>
                                    <p:animEffect transition="in" filter="fade">
                                      <p:cBhvr>
                                        <p:cTn id="7" dur="750"/>
                                        <p:tgtEl>
                                          <p:spTgt spid="15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59"/>
                                        </p:tgtEl>
                                        <p:attrNameLst>
                                          <p:attrName>style.visibility</p:attrName>
                                        </p:attrNameLst>
                                      </p:cBhvr>
                                      <p:to>
                                        <p:strVal val="visible"/>
                                      </p:to>
                                    </p:set>
                                    <p:animEffect transition="in" filter="fade">
                                      <p:cBhvr>
                                        <p:cTn id="11" dur="750"/>
                                        <p:tgtEl>
                                          <p:spTgt spid="159"/>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63"/>
                                        </p:tgtEl>
                                        <p:attrNameLst>
                                          <p:attrName>style.visibility</p:attrName>
                                        </p:attrNameLst>
                                      </p:cBhvr>
                                      <p:to>
                                        <p:strVal val="visible"/>
                                      </p:to>
                                    </p:set>
                                    <p:animEffect transition="in" filter="fade">
                                      <p:cBhvr>
                                        <p:cTn id="15" dur="750"/>
                                        <p:tgtEl>
                                          <p:spTgt spid="163"/>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166"/>
                                        </p:tgtEl>
                                        <p:attrNameLst>
                                          <p:attrName>style.visibility</p:attrName>
                                        </p:attrNameLst>
                                      </p:cBhvr>
                                      <p:to>
                                        <p:strVal val="visible"/>
                                      </p:to>
                                    </p:set>
                                    <p:animEffect transition="in" filter="fade">
                                      <p:cBhvr>
                                        <p:cTn id="19" dur="750"/>
                                        <p:tgtEl>
                                          <p:spTgt spid="16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169"/>
                                        </p:tgtEl>
                                        <p:attrNameLst>
                                          <p:attrName>style.visibility</p:attrName>
                                        </p:attrNameLst>
                                      </p:cBhvr>
                                      <p:to>
                                        <p:strVal val="visible"/>
                                      </p:to>
                                    </p:set>
                                    <p:animEffect transition="in" filter="fade">
                                      <p:cBhvr>
                                        <p:cTn id="23" dur="750"/>
                                        <p:tgtEl>
                                          <p:spTgt spid="169"/>
                                        </p:tgtEl>
                                      </p:cBhvr>
                                    </p:animEffect>
                                  </p:childTnLst>
                                </p:cTn>
                              </p:par>
                            </p:childTnLst>
                          </p:cTn>
                        </p:par>
                        <p:par>
                          <p:cTn id="24" fill="hold">
                            <p:stCondLst>
                              <p:cond delay="3750"/>
                            </p:stCondLst>
                            <p:childTnLst>
                              <p:par>
                                <p:cTn id="25" presetID="10" presetClass="entr" presetSubtype="0" fill="hold" nodeType="afterEffect">
                                  <p:stCondLst>
                                    <p:cond delay="0"/>
                                  </p:stCondLst>
                                  <p:childTnLst>
                                    <p:set>
                                      <p:cBhvr>
                                        <p:cTn id="26" dur="1" fill="hold">
                                          <p:stCondLst>
                                            <p:cond delay="0"/>
                                          </p:stCondLst>
                                        </p:cTn>
                                        <p:tgtEl>
                                          <p:spTgt spid="172"/>
                                        </p:tgtEl>
                                        <p:attrNameLst>
                                          <p:attrName>style.visibility</p:attrName>
                                        </p:attrNameLst>
                                      </p:cBhvr>
                                      <p:to>
                                        <p:strVal val="visible"/>
                                      </p:to>
                                    </p:set>
                                    <p:animEffect transition="in" filter="fade">
                                      <p:cBhvr>
                                        <p:cTn id="27" dur="850"/>
                                        <p:tgtEl>
                                          <p:spTgt spid="17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850"/>
                                        <p:tgtEl>
                                          <p:spTgt spid="64"/>
                                        </p:tgtEl>
                                      </p:cBhvr>
                                    </p:animEffect>
                                  </p:childTnLst>
                                </p:cTn>
                              </p:par>
                              <p:par>
                                <p:cTn id="31" presetID="10" presetClass="entr" presetSubtype="0" fill="hold" nodeType="withEffect">
                                  <p:stCondLst>
                                    <p:cond delay="0"/>
                                  </p:stCondLst>
                                  <p:childTnLst>
                                    <p:set>
                                      <p:cBhvr>
                                        <p:cTn id="32" dur="1" fill="hold">
                                          <p:stCondLst>
                                            <p:cond delay="0"/>
                                          </p:stCondLst>
                                        </p:cTn>
                                        <p:tgtEl>
                                          <p:spTgt spid="1030"/>
                                        </p:tgtEl>
                                        <p:attrNameLst>
                                          <p:attrName>style.visibility</p:attrName>
                                        </p:attrNameLst>
                                      </p:cBhvr>
                                      <p:to>
                                        <p:strVal val="visible"/>
                                      </p:to>
                                    </p:set>
                                    <p:animEffect transition="in" filter="fade">
                                      <p:cBhvr>
                                        <p:cTn id="33" dur="85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30" name="Title 1"/>
          <p:cNvSpPr txBox="1">
            <a:spLocks/>
          </p:cNvSpPr>
          <p:nvPr/>
        </p:nvSpPr>
        <p:spPr>
          <a:xfrm>
            <a:off x="883" y="498"/>
            <a:ext cx="12434711"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Export Log Data</a:t>
            </a:r>
          </a:p>
        </p:txBody>
      </p:sp>
      <p:pic>
        <p:nvPicPr>
          <p:cNvPr id="4" name="Picture 3" descr="A screenshot of a cell phone&#10;&#10;Description generated with high confidence">
            <a:extLst>
              <a:ext uri="{FF2B5EF4-FFF2-40B4-BE49-F238E27FC236}">
                <a16:creationId xmlns:a16="http://schemas.microsoft.com/office/drawing/2014/main" id="{E5717CE8-1A17-4DD3-A452-6BCBA57E0BA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2337"/>
          <a:stretch/>
        </p:blipFill>
        <p:spPr>
          <a:xfrm>
            <a:off x="21880" y="1499267"/>
            <a:ext cx="12413714" cy="5175250"/>
          </a:xfrm>
          <a:prstGeom prst="rect">
            <a:avLst/>
          </a:prstGeom>
        </p:spPr>
      </p:pic>
      <p:sp>
        <p:nvSpPr>
          <p:cNvPr id="5" name="TextBox 4">
            <a:extLst>
              <a:ext uri="{FF2B5EF4-FFF2-40B4-BE49-F238E27FC236}">
                <a16:creationId xmlns:a16="http://schemas.microsoft.com/office/drawing/2014/main" id="{CA3FF84A-B25E-40B8-97B8-57014479F8D3}"/>
              </a:ext>
            </a:extLst>
          </p:cNvPr>
          <p:cNvSpPr txBox="1"/>
          <p:nvPr/>
        </p:nvSpPr>
        <p:spPr>
          <a:xfrm>
            <a:off x="21880" y="5483422"/>
            <a:ext cx="2578445" cy="1191095"/>
          </a:xfrm>
          <a:prstGeom prst="rect">
            <a:avLst/>
          </a:prstGeom>
          <a:noFill/>
        </p:spPr>
        <p:txBody>
          <a:bodyPr wrap="square" lIns="182880" tIns="146304" rIns="182880" bIns="146304" rtlCol="0">
            <a:spAutoFit/>
          </a:bodyPr>
          <a:lstStyle/>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AD Audit Log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Activity Log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Security Center Alerts</a:t>
            </a:r>
          </a:p>
          <a:p>
            <a:pPr marL="171450" marR="0" lvl="0"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source Diagnostics Logs</a:t>
            </a:r>
          </a:p>
        </p:txBody>
      </p:sp>
    </p:spTree>
    <p:extLst>
      <p:ext uri="{BB962C8B-B14F-4D97-AF65-F5344CB8AC3E}">
        <p14:creationId xmlns:p14="http://schemas.microsoft.com/office/powerpoint/2010/main" val="2180341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500"/>
                                        <p:tgtEl>
                                          <p:spTgt spid="5">
                                            <p:txEl>
                                              <p:pRg st="1" end="1"/>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left)">
                                      <p:cBhvr>
                                        <p:cTn id="15" dur="500"/>
                                        <p:tgtEl>
                                          <p:spTgt spid="5">
                                            <p:txEl>
                                              <p:pRg st="2" end="2"/>
                                            </p:txEl>
                                          </p:spTgt>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wipe(left)">
                                      <p:cBhvr>
                                        <p:cTn id="19"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Maintenance</a:t>
            </a:r>
          </a:p>
        </p:txBody>
      </p:sp>
      <p:graphicFrame>
        <p:nvGraphicFramePr>
          <p:cNvPr id="2" name="Diagram 1">
            <a:extLst>
              <a:ext uri="{FF2B5EF4-FFF2-40B4-BE49-F238E27FC236}">
                <a16:creationId xmlns:a16="http://schemas.microsoft.com/office/drawing/2014/main" id="{C1AF1F33-C3BF-4850-AD10-D4522A24BFF5}"/>
              </a:ext>
            </a:extLst>
          </p:cNvPr>
          <p:cNvGraphicFramePr/>
          <p:nvPr>
            <p:extLst/>
          </p:nvPr>
        </p:nvGraphicFramePr>
        <p:xfrm>
          <a:off x="6609204" y="2333625"/>
          <a:ext cx="5687571" cy="4575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0581027B-91D6-41AC-AE32-3FDF48CB4E5D}"/>
              </a:ext>
            </a:extLst>
          </p:cNvPr>
          <p:cNvGraphicFramePr/>
          <p:nvPr>
            <p:extLst/>
          </p:nvPr>
        </p:nvGraphicFramePr>
        <p:xfrm>
          <a:off x="91545" y="2333625"/>
          <a:ext cx="6423555" cy="45749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Box 14">
            <a:extLst>
              <a:ext uri="{FF2B5EF4-FFF2-40B4-BE49-F238E27FC236}">
                <a16:creationId xmlns:a16="http://schemas.microsoft.com/office/drawing/2014/main" id="{9EAE32DE-C767-41DB-B7A2-BE94ECB74797}"/>
              </a:ext>
            </a:extLst>
          </p:cNvPr>
          <p:cNvSpPr txBox="1"/>
          <p:nvPr/>
        </p:nvSpPr>
        <p:spPr>
          <a:xfrm>
            <a:off x="9154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Maintenance Events</a:t>
            </a:r>
          </a:p>
        </p:txBody>
      </p:sp>
      <p:sp>
        <p:nvSpPr>
          <p:cNvPr id="33" name="TextBox 32">
            <a:extLst>
              <a:ext uri="{FF2B5EF4-FFF2-40B4-BE49-F238E27FC236}">
                <a16:creationId xmlns:a16="http://schemas.microsoft.com/office/drawing/2014/main" id="{D5B30A22-B8C1-4B1A-9FBC-48B062AB03B1}"/>
              </a:ext>
            </a:extLst>
          </p:cNvPr>
          <p:cNvSpPr txBox="1"/>
          <p:nvPr/>
        </p:nvSpPr>
        <p:spPr>
          <a:xfrm>
            <a:off x="6538825" y="1442339"/>
            <a:ext cx="5709180"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Recovery Modes</a:t>
            </a:r>
          </a:p>
        </p:txBody>
      </p:sp>
    </p:spTree>
    <p:extLst>
      <p:ext uri="{BB962C8B-B14F-4D97-AF65-F5344CB8AC3E}">
        <p14:creationId xmlns:p14="http://schemas.microsoft.com/office/powerpoint/2010/main" val="170289672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VM SLAs</a:t>
            </a:r>
          </a:p>
        </p:txBody>
      </p:sp>
      <p:sp>
        <p:nvSpPr>
          <p:cNvPr id="54" name="Freeform: Shape 53">
            <a:extLst>
              <a:ext uri="{FF2B5EF4-FFF2-40B4-BE49-F238E27FC236}">
                <a16:creationId xmlns:a16="http://schemas.microsoft.com/office/drawing/2014/main" id="{EF83A564-3358-4399-AF65-2E72EA1C1B3E}"/>
              </a:ext>
            </a:extLst>
          </p:cNvPr>
          <p:cNvSpPr/>
          <p:nvPr/>
        </p:nvSpPr>
        <p:spPr bwMode="auto">
          <a:xfrm>
            <a:off x="558509" y="5089358"/>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6" name="Freeform: Shape 55">
            <a:extLst>
              <a:ext uri="{FF2B5EF4-FFF2-40B4-BE49-F238E27FC236}">
                <a16:creationId xmlns:a16="http://schemas.microsoft.com/office/drawing/2014/main" id="{400AA23C-FE22-43D9-A13A-880691EF113B}"/>
              </a:ext>
            </a:extLst>
          </p:cNvPr>
          <p:cNvSpPr/>
          <p:nvPr/>
        </p:nvSpPr>
        <p:spPr bwMode="auto">
          <a:xfrm>
            <a:off x="2842513" y="5089358"/>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292BF1F4-F3D3-4100-8674-7831724FBEBB}"/>
              </a:ext>
            </a:extLst>
          </p:cNvPr>
          <p:cNvSpPr/>
          <p:nvPr/>
        </p:nvSpPr>
        <p:spPr bwMode="auto">
          <a:xfrm>
            <a:off x="5666158" y="5089358"/>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65" name="Freeform: Shape 64">
            <a:extLst>
              <a:ext uri="{FF2B5EF4-FFF2-40B4-BE49-F238E27FC236}">
                <a16:creationId xmlns:a16="http://schemas.microsoft.com/office/drawing/2014/main" id="{A2DE9940-8445-46CD-9DAF-14DF5C462A9E}"/>
              </a:ext>
            </a:extLst>
          </p:cNvPr>
          <p:cNvSpPr/>
          <p:nvPr/>
        </p:nvSpPr>
        <p:spPr bwMode="auto">
          <a:xfrm>
            <a:off x="9023885" y="5089358"/>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30A6C8E6-EC55-4C5A-99F4-DBA4ED61FAB1}"/>
              </a:ext>
            </a:extLst>
          </p:cNvPr>
          <p:cNvGrpSpPr/>
          <p:nvPr/>
        </p:nvGrpSpPr>
        <p:grpSpPr>
          <a:xfrm>
            <a:off x="491844" y="5210502"/>
            <a:ext cx="1987825" cy="836032"/>
            <a:chOff x="522514" y="4739119"/>
            <a:chExt cx="1988107" cy="836151"/>
          </a:xfrm>
        </p:grpSpPr>
        <p:sp>
          <p:nvSpPr>
            <p:cNvPr id="75" name="Rectangle 74">
              <a:extLst>
                <a:ext uri="{FF2B5EF4-FFF2-40B4-BE49-F238E27FC236}">
                  <a16:creationId xmlns:a16="http://schemas.microsoft.com/office/drawing/2014/main" id="{5692CB3A-438D-4346-8062-EA1DA3534AF7}"/>
                </a:ext>
              </a:extLst>
            </p:cNvPr>
            <p:cNvSpPr/>
            <p:nvPr/>
          </p:nvSpPr>
          <p:spPr>
            <a:xfrm>
              <a:off x="522514" y="4739119"/>
              <a:ext cx="1398377"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SINGLE VM</a:t>
              </a:r>
            </a:p>
          </p:txBody>
        </p:sp>
        <p:sp>
          <p:nvSpPr>
            <p:cNvPr id="76" name="Rectangle 75">
              <a:extLst>
                <a:ext uri="{FF2B5EF4-FFF2-40B4-BE49-F238E27FC236}">
                  <a16:creationId xmlns:a16="http://schemas.microsoft.com/office/drawing/2014/main" id="{311AC373-18EC-42FB-B197-035E0D47D13C}"/>
                </a:ext>
              </a:extLst>
            </p:cNvPr>
            <p:cNvSpPr/>
            <p:nvPr/>
          </p:nvSpPr>
          <p:spPr>
            <a:xfrm>
              <a:off x="522514" y="4979030"/>
              <a:ext cx="198810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with Premium Storage</a:t>
              </a:r>
            </a:p>
          </p:txBody>
        </p:sp>
      </p:grpSp>
      <p:grpSp>
        <p:nvGrpSpPr>
          <p:cNvPr id="77" name="Group 76">
            <a:extLst>
              <a:ext uri="{FF2B5EF4-FFF2-40B4-BE49-F238E27FC236}">
                <a16:creationId xmlns:a16="http://schemas.microsoft.com/office/drawing/2014/main" id="{1BB2EACA-CA24-42A7-A0F3-494F6E3AC8BE}"/>
              </a:ext>
            </a:extLst>
          </p:cNvPr>
          <p:cNvGrpSpPr/>
          <p:nvPr/>
        </p:nvGrpSpPr>
        <p:grpSpPr>
          <a:xfrm>
            <a:off x="558508" y="2539857"/>
            <a:ext cx="1024528" cy="623106"/>
            <a:chOff x="522514" y="1920087"/>
            <a:chExt cx="1024673" cy="623195"/>
          </a:xfrm>
        </p:grpSpPr>
        <p:sp>
          <p:nvSpPr>
            <p:cNvPr id="78" name="Rectangle 362">
              <a:extLst>
                <a:ext uri="{FF2B5EF4-FFF2-40B4-BE49-F238E27FC236}">
                  <a16:creationId xmlns:a16="http://schemas.microsoft.com/office/drawing/2014/main" id="{2E3AF6B4-BF98-452D-AFB2-8C9055F3178E}"/>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80" name="Rectangle 365">
              <a:extLst>
                <a:ext uri="{FF2B5EF4-FFF2-40B4-BE49-F238E27FC236}">
                  <a16:creationId xmlns:a16="http://schemas.microsoft.com/office/drawing/2014/main" id="{8E1CA208-C96E-47C0-B5D2-C31132433269}"/>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96" name="Group 95">
            <a:extLst>
              <a:ext uri="{FF2B5EF4-FFF2-40B4-BE49-F238E27FC236}">
                <a16:creationId xmlns:a16="http://schemas.microsoft.com/office/drawing/2014/main" id="{2FAFF28C-FDB0-4260-B875-1E986D88DE42}"/>
              </a:ext>
            </a:extLst>
          </p:cNvPr>
          <p:cNvGrpSpPr/>
          <p:nvPr/>
        </p:nvGrpSpPr>
        <p:grpSpPr>
          <a:xfrm>
            <a:off x="2775847" y="5210502"/>
            <a:ext cx="2823645" cy="836032"/>
            <a:chOff x="2806842" y="4739119"/>
            <a:chExt cx="2390527" cy="836151"/>
          </a:xfrm>
        </p:grpSpPr>
        <p:sp>
          <p:nvSpPr>
            <p:cNvPr id="97" name="Rectangle 96">
              <a:extLst>
                <a:ext uri="{FF2B5EF4-FFF2-40B4-BE49-F238E27FC236}">
                  <a16:creationId xmlns:a16="http://schemas.microsoft.com/office/drawing/2014/main" id="{23FD1D21-9D5F-43C5-8F67-F57498319F69}"/>
                </a:ext>
              </a:extLst>
            </p:cNvPr>
            <p:cNvSpPr/>
            <p:nvPr/>
          </p:nvSpPr>
          <p:spPr>
            <a:xfrm>
              <a:off x="2806842" y="4739119"/>
              <a:ext cx="187423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SETS</a:t>
              </a:r>
            </a:p>
          </p:txBody>
        </p:sp>
        <p:sp>
          <p:nvSpPr>
            <p:cNvPr id="98" name="Rectangle 97">
              <a:extLst>
                <a:ext uri="{FF2B5EF4-FFF2-40B4-BE49-F238E27FC236}">
                  <a16:creationId xmlns:a16="http://schemas.microsoft.com/office/drawing/2014/main" id="{6B210C6B-7CE8-448A-8B60-C4087C89BC3F}"/>
                </a:ext>
              </a:extLst>
            </p:cNvPr>
            <p:cNvSpPr/>
            <p:nvPr/>
          </p:nvSpPr>
          <p:spPr>
            <a:xfrm>
              <a:off x="2806842" y="4979030"/>
              <a:ext cx="2390527"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against failures within datacenters</a:t>
              </a:r>
            </a:p>
          </p:txBody>
        </p:sp>
      </p:grpSp>
      <p:grpSp>
        <p:nvGrpSpPr>
          <p:cNvPr id="99" name="Group 98">
            <a:extLst>
              <a:ext uri="{FF2B5EF4-FFF2-40B4-BE49-F238E27FC236}">
                <a16:creationId xmlns:a16="http://schemas.microsoft.com/office/drawing/2014/main" id="{0A9368D9-2232-4284-8E0C-5F6953BD2CD5}"/>
              </a:ext>
            </a:extLst>
          </p:cNvPr>
          <p:cNvGrpSpPr/>
          <p:nvPr/>
        </p:nvGrpSpPr>
        <p:grpSpPr>
          <a:xfrm>
            <a:off x="5599492" y="5210502"/>
            <a:ext cx="3061548" cy="836032"/>
            <a:chOff x="5630888" y="4739119"/>
            <a:chExt cx="2284328" cy="836151"/>
          </a:xfrm>
        </p:grpSpPr>
        <p:sp>
          <p:nvSpPr>
            <p:cNvPr id="100" name="Rectangle 99">
              <a:extLst>
                <a:ext uri="{FF2B5EF4-FFF2-40B4-BE49-F238E27FC236}">
                  <a16:creationId xmlns:a16="http://schemas.microsoft.com/office/drawing/2014/main" id="{6B8F2B23-96C0-4D4C-A1D0-A425ADBAD1EA}"/>
                </a:ext>
              </a:extLst>
            </p:cNvPr>
            <p:cNvSpPr/>
            <p:nvPr/>
          </p:nvSpPr>
          <p:spPr>
            <a:xfrm>
              <a:off x="5630888" y="4739119"/>
              <a:ext cx="1830240"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AVAILABILITY ZONES</a:t>
              </a:r>
            </a:p>
          </p:txBody>
        </p:sp>
        <p:sp>
          <p:nvSpPr>
            <p:cNvPr id="101" name="Rectangle 100">
              <a:extLst>
                <a:ext uri="{FF2B5EF4-FFF2-40B4-BE49-F238E27FC236}">
                  <a16:creationId xmlns:a16="http://schemas.microsoft.com/office/drawing/2014/main" id="{E181E5E3-E2C5-4AC5-9C4D-E5C6ECCFB99D}"/>
                </a:ext>
              </a:extLst>
            </p:cNvPr>
            <p:cNvSpPr/>
            <p:nvPr/>
          </p:nvSpPr>
          <p:spPr>
            <a:xfrm>
              <a:off x="5630888"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entire datacenter failures</a:t>
              </a:r>
            </a:p>
          </p:txBody>
        </p:sp>
      </p:grpSp>
      <p:grpSp>
        <p:nvGrpSpPr>
          <p:cNvPr id="102" name="Group 101">
            <a:extLst>
              <a:ext uri="{FF2B5EF4-FFF2-40B4-BE49-F238E27FC236}">
                <a16:creationId xmlns:a16="http://schemas.microsoft.com/office/drawing/2014/main" id="{BF47C5AB-BD00-44DF-99C5-A2E5BE347D92}"/>
              </a:ext>
            </a:extLst>
          </p:cNvPr>
          <p:cNvGrpSpPr/>
          <p:nvPr/>
        </p:nvGrpSpPr>
        <p:grpSpPr>
          <a:xfrm>
            <a:off x="8957219" y="5210502"/>
            <a:ext cx="2989759" cy="836032"/>
            <a:chOff x="8989092" y="4739119"/>
            <a:chExt cx="2284328" cy="836151"/>
          </a:xfrm>
        </p:grpSpPr>
        <p:sp>
          <p:nvSpPr>
            <p:cNvPr id="103" name="Rectangle 102">
              <a:extLst>
                <a:ext uri="{FF2B5EF4-FFF2-40B4-BE49-F238E27FC236}">
                  <a16:creationId xmlns:a16="http://schemas.microsoft.com/office/drawing/2014/main" id="{4566CDCA-2BF5-438B-8AB9-8B10C0357893}"/>
                </a:ext>
              </a:extLst>
            </p:cNvPr>
            <p:cNvSpPr/>
            <p:nvPr/>
          </p:nvSpPr>
          <p:spPr>
            <a:xfrm>
              <a:off x="8989092" y="4739119"/>
              <a:ext cx="1326956" cy="376738"/>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 PAIRS</a:t>
              </a:r>
            </a:p>
          </p:txBody>
        </p:sp>
        <p:sp>
          <p:nvSpPr>
            <p:cNvPr id="104" name="Rectangle 103">
              <a:extLst>
                <a:ext uri="{FF2B5EF4-FFF2-40B4-BE49-F238E27FC236}">
                  <a16:creationId xmlns:a16="http://schemas.microsoft.com/office/drawing/2014/main" id="{8DAB634A-8533-4AC1-A56E-91263FF3C7F9}"/>
                </a:ext>
              </a:extLst>
            </p:cNvPr>
            <p:cNvSpPr/>
            <p:nvPr/>
          </p:nvSpPr>
          <p:spPr>
            <a:xfrm>
              <a:off x="8989092" y="4979030"/>
              <a:ext cx="2284328" cy="596240"/>
            </a:xfrm>
            <a:prstGeom prst="rect">
              <a:avLst/>
            </a:prstGeom>
          </p:spPr>
          <p:txBody>
            <a:bodyPr wrap="squar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Protection from disaster with</a:t>
              </a:r>
              <a:b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br>
              <a:r>
                <a:rPr kumimoji="0" lang="en-US" sz="1599"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Data Residency compliance</a:t>
              </a:r>
            </a:p>
          </p:txBody>
        </p:sp>
      </p:grpSp>
      <p:sp>
        <p:nvSpPr>
          <p:cNvPr id="105" name="Freeform: Shape 104">
            <a:extLst>
              <a:ext uri="{FF2B5EF4-FFF2-40B4-BE49-F238E27FC236}">
                <a16:creationId xmlns:a16="http://schemas.microsoft.com/office/drawing/2014/main" id="{13D4AD12-9B32-46C0-B204-F100B4753C6F}"/>
              </a:ext>
            </a:extLst>
          </p:cNvPr>
          <p:cNvSpPr/>
          <p:nvPr/>
        </p:nvSpPr>
        <p:spPr bwMode="auto">
          <a:xfrm>
            <a:off x="558509" y="3204039"/>
            <a:ext cx="2158564"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40000"/>
                <a:lumOff val="6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6" name="Freeform: Shape 105">
            <a:extLst>
              <a:ext uri="{FF2B5EF4-FFF2-40B4-BE49-F238E27FC236}">
                <a16:creationId xmlns:a16="http://schemas.microsoft.com/office/drawing/2014/main" id="{DAE5B52C-C9C8-4058-888E-B6216E75A248}"/>
              </a:ext>
            </a:extLst>
          </p:cNvPr>
          <p:cNvSpPr/>
          <p:nvPr/>
        </p:nvSpPr>
        <p:spPr bwMode="auto">
          <a:xfrm>
            <a:off x="2842513" y="3204039"/>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60000"/>
                <a:lumOff val="40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7" name="Freeform: Shape 106">
            <a:extLst>
              <a:ext uri="{FF2B5EF4-FFF2-40B4-BE49-F238E27FC236}">
                <a16:creationId xmlns:a16="http://schemas.microsoft.com/office/drawing/2014/main" id="{AC6855F8-63BA-4AAF-8611-FA7CAC9CADFD}"/>
              </a:ext>
            </a:extLst>
          </p:cNvPr>
          <p:cNvSpPr/>
          <p:nvPr/>
        </p:nvSpPr>
        <p:spPr bwMode="auto">
          <a:xfrm>
            <a:off x="5666158" y="3204039"/>
            <a:ext cx="323228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08" name="Freeform: Shape 107">
            <a:extLst>
              <a:ext uri="{FF2B5EF4-FFF2-40B4-BE49-F238E27FC236}">
                <a16:creationId xmlns:a16="http://schemas.microsoft.com/office/drawing/2014/main" id="{EE055B8C-5C1A-4699-9871-4B18F95F38D2}"/>
              </a:ext>
            </a:extLst>
          </p:cNvPr>
          <p:cNvSpPr/>
          <p:nvPr/>
        </p:nvSpPr>
        <p:spPr bwMode="auto">
          <a:xfrm>
            <a:off x="9023885" y="3204039"/>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5875" cap="flat" cmpd="sng" algn="ctr">
            <a:solidFill>
              <a:srgbClr val="0078D7">
                <a:lumMod val="75000"/>
              </a:srgbClr>
            </a:solidFill>
            <a:prstDash val="solid"/>
            <a:headEnd type="none" w="med" len="med"/>
            <a:tailEnd type="none" w="med" len="med"/>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09" name="Group 108">
            <a:extLst>
              <a:ext uri="{FF2B5EF4-FFF2-40B4-BE49-F238E27FC236}">
                <a16:creationId xmlns:a16="http://schemas.microsoft.com/office/drawing/2014/main" id="{372EE0E5-4C47-47AF-9C7D-0B2600E97843}"/>
              </a:ext>
            </a:extLst>
          </p:cNvPr>
          <p:cNvGrpSpPr/>
          <p:nvPr/>
        </p:nvGrpSpPr>
        <p:grpSpPr>
          <a:xfrm>
            <a:off x="2842511" y="2544111"/>
            <a:ext cx="1024528" cy="620582"/>
            <a:chOff x="2806842" y="2107278"/>
            <a:chExt cx="1024673" cy="620670"/>
          </a:xfrm>
        </p:grpSpPr>
        <p:sp>
          <p:nvSpPr>
            <p:cNvPr id="110" name="Rectangle 362">
              <a:extLst>
                <a:ext uri="{FF2B5EF4-FFF2-40B4-BE49-F238E27FC236}">
                  <a16:creationId xmlns:a16="http://schemas.microsoft.com/office/drawing/2014/main" id="{E4AAD51B-6F26-47B5-996B-049836AC0341}"/>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1" name="Rectangle 365">
              <a:extLst>
                <a:ext uri="{FF2B5EF4-FFF2-40B4-BE49-F238E27FC236}">
                  <a16:creationId xmlns:a16="http://schemas.microsoft.com/office/drawing/2014/main" id="{4DAE4532-A072-435A-9405-7CB894A27587}"/>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5%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grpSp>
        <p:nvGrpSpPr>
          <p:cNvPr id="112" name="Group 111">
            <a:extLst>
              <a:ext uri="{FF2B5EF4-FFF2-40B4-BE49-F238E27FC236}">
                <a16:creationId xmlns:a16="http://schemas.microsoft.com/office/drawing/2014/main" id="{AC1BA281-1D7C-4123-B631-8C38E886A2D2}"/>
              </a:ext>
            </a:extLst>
          </p:cNvPr>
          <p:cNvGrpSpPr/>
          <p:nvPr/>
        </p:nvGrpSpPr>
        <p:grpSpPr>
          <a:xfrm>
            <a:off x="5666155" y="2539856"/>
            <a:ext cx="1024528" cy="624837"/>
            <a:chOff x="5630888" y="2103022"/>
            <a:chExt cx="1024673" cy="624926"/>
          </a:xfrm>
        </p:grpSpPr>
        <p:sp>
          <p:nvSpPr>
            <p:cNvPr id="113" name="Rectangle 362">
              <a:extLst>
                <a:ext uri="{FF2B5EF4-FFF2-40B4-BE49-F238E27FC236}">
                  <a16:creationId xmlns:a16="http://schemas.microsoft.com/office/drawing/2014/main" id="{1D9DB778-5142-46AD-8E11-73E77628860B}"/>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VM SLA</a:t>
              </a:r>
            </a:p>
          </p:txBody>
        </p:sp>
        <p:sp>
          <p:nvSpPr>
            <p:cNvPr id="114" name="Rectangle 365">
              <a:extLst>
                <a:ext uri="{FF2B5EF4-FFF2-40B4-BE49-F238E27FC236}">
                  <a16:creationId xmlns:a16="http://schemas.microsoft.com/office/drawing/2014/main" id="{640E3894-499E-49C1-9E05-66E7E7155E13}"/>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99.99% </a:t>
              </a:r>
              <a:endPar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endParaRPr>
            </a:p>
          </p:txBody>
        </p:sp>
      </p:grpSp>
      <p:sp>
        <p:nvSpPr>
          <p:cNvPr id="115" name="Rectangle 365">
            <a:extLst>
              <a:ext uri="{FF2B5EF4-FFF2-40B4-BE49-F238E27FC236}">
                <a16:creationId xmlns:a16="http://schemas.microsoft.com/office/drawing/2014/main" id="{1C9F52A1-5EAE-42FF-B32D-496BD05CAD39}"/>
              </a:ext>
            </a:extLst>
          </p:cNvPr>
          <p:cNvSpPr>
            <a:spLocks noChangeArrowheads="1"/>
          </p:cNvSpPr>
          <p:nvPr/>
        </p:nvSpPr>
        <p:spPr bwMode="auto">
          <a:xfrm>
            <a:off x="9020292" y="2546013"/>
            <a:ext cx="1172128"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REGIONS</a:t>
            </a:r>
            <a:b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en-US" sz="1800" b="0" i="0" u="none" strike="noStrike" kern="1200" cap="none" spc="0" normalizeH="0" baseline="0" noProof="0" dirty="0">
                <a:ln>
                  <a:noFill/>
                </a:ln>
                <a:gradFill>
                  <a:gsLst>
                    <a:gs pos="78761">
                      <a:srgbClr val="353535"/>
                    </a:gs>
                    <a:gs pos="0">
                      <a:srgbClr val="353535"/>
                    </a:gs>
                  </a:gsLst>
                  <a:lin ang="5400000" scaled="0"/>
                </a:gradFill>
                <a:effectLst/>
                <a:uLnTx/>
                <a:uFillTx/>
                <a:latin typeface="Segoe UI" panose="020B0502040204020203" pitchFamily="34" charset="0"/>
                <a:ea typeface="+mn-ea"/>
                <a:cs typeface="Segoe UI" panose="020B0502040204020203" pitchFamily="34" charset="0"/>
              </a:rPr>
              <a:t>42</a:t>
            </a:r>
          </a:p>
        </p:txBody>
      </p:sp>
      <p:sp>
        <p:nvSpPr>
          <p:cNvPr id="116" name="PC1_E977">
            <a:extLst>
              <a:ext uri="{FF2B5EF4-FFF2-40B4-BE49-F238E27FC236}">
                <a16:creationId xmlns:a16="http://schemas.microsoft.com/office/drawing/2014/main" id="{841D67ED-FFAF-47D2-95AA-3608FE744EC8}"/>
              </a:ext>
            </a:extLst>
          </p:cNvPr>
          <p:cNvSpPr>
            <a:spLocks noChangeAspect="1" noEditPoints="1"/>
          </p:cNvSpPr>
          <p:nvPr/>
        </p:nvSpPr>
        <p:spPr bwMode="auto">
          <a:xfrm>
            <a:off x="1332026" y="3901989"/>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117" name="Group 116">
            <a:extLst>
              <a:ext uri="{FF2B5EF4-FFF2-40B4-BE49-F238E27FC236}">
                <a16:creationId xmlns:a16="http://schemas.microsoft.com/office/drawing/2014/main" id="{606A5942-AB1A-4477-B31F-F42B49A91046}"/>
              </a:ext>
            </a:extLst>
          </p:cNvPr>
          <p:cNvGrpSpPr/>
          <p:nvPr/>
        </p:nvGrpSpPr>
        <p:grpSpPr>
          <a:xfrm>
            <a:off x="3494673" y="3742245"/>
            <a:ext cx="1399593" cy="808907"/>
            <a:chOff x="3459095" y="2961602"/>
            <a:chExt cx="1399792" cy="809022"/>
          </a:xfrm>
        </p:grpSpPr>
        <p:sp>
          <p:nvSpPr>
            <p:cNvPr id="118" name="monitor">
              <a:extLst>
                <a:ext uri="{FF2B5EF4-FFF2-40B4-BE49-F238E27FC236}">
                  <a16:creationId xmlns:a16="http://schemas.microsoft.com/office/drawing/2014/main" id="{E835812D-BE2C-4AE7-A906-B3DBB4B59160}"/>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9" name="monitor">
              <a:extLst>
                <a:ext uri="{FF2B5EF4-FFF2-40B4-BE49-F238E27FC236}">
                  <a16:creationId xmlns:a16="http://schemas.microsoft.com/office/drawing/2014/main" id="{61CE00CD-5B82-48B6-98B3-4AF39DBA9313}"/>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0" name="Rectangle 119">
              <a:extLst>
                <a:ext uri="{FF2B5EF4-FFF2-40B4-BE49-F238E27FC236}">
                  <a16:creationId xmlns:a16="http://schemas.microsoft.com/office/drawing/2014/main" id="{AE42FDA7-4008-43D7-BB9C-DB44B6587176}"/>
                </a:ext>
              </a:extLst>
            </p:cNvPr>
            <p:cNvSpPr/>
            <p:nvPr/>
          </p:nvSpPr>
          <p:spPr bwMode="auto">
            <a:xfrm>
              <a:off x="3475778" y="2961602"/>
              <a:ext cx="1353672" cy="473134"/>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 name="monitor">
              <a:extLst>
                <a:ext uri="{FF2B5EF4-FFF2-40B4-BE49-F238E27FC236}">
                  <a16:creationId xmlns:a16="http://schemas.microsoft.com/office/drawing/2014/main" id="{BD3A6A65-79CB-4C48-BEA2-FF941B3CEEEB}"/>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2" name="monitor">
              <a:extLst>
                <a:ext uri="{FF2B5EF4-FFF2-40B4-BE49-F238E27FC236}">
                  <a16:creationId xmlns:a16="http://schemas.microsoft.com/office/drawing/2014/main" id="{19B084F6-968E-4359-BD3C-F91F8A0AFF04}"/>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3" name="monitor">
              <a:extLst>
                <a:ext uri="{FF2B5EF4-FFF2-40B4-BE49-F238E27FC236}">
                  <a16:creationId xmlns:a16="http://schemas.microsoft.com/office/drawing/2014/main" id="{F6260D9E-40D7-4B36-BFED-C1B59B0A72BB}"/>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4" name="monitor">
              <a:extLst>
                <a:ext uri="{FF2B5EF4-FFF2-40B4-BE49-F238E27FC236}">
                  <a16:creationId xmlns:a16="http://schemas.microsoft.com/office/drawing/2014/main" id="{FC0AF924-21BD-49AC-AAFF-0463DE351C80}"/>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25" name="Group 124">
            <a:extLst>
              <a:ext uri="{FF2B5EF4-FFF2-40B4-BE49-F238E27FC236}">
                <a16:creationId xmlns:a16="http://schemas.microsoft.com/office/drawing/2014/main" id="{C0DCFCBA-DDB7-4BE0-A29F-9CFDD633B2B7}"/>
              </a:ext>
            </a:extLst>
          </p:cNvPr>
          <p:cNvGrpSpPr/>
          <p:nvPr/>
        </p:nvGrpSpPr>
        <p:grpSpPr>
          <a:xfrm>
            <a:off x="6709442" y="3609323"/>
            <a:ext cx="1145720" cy="1074750"/>
            <a:chOff x="6265202" y="2921103"/>
            <a:chExt cx="1145883" cy="1074902"/>
          </a:xfrm>
        </p:grpSpPr>
        <p:sp>
          <p:nvSpPr>
            <p:cNvPr id="126" name="server">
              <a:extLst>
                <a:ext uri="{FF2B5EF4-FFF2-40B4-BE49-F238E27FC236}">
                  <a16:creationId xmlns:a16="http://schemas.microsoft.com/office/drawing/2014/main" id="{2467C0F8-305C-46C5-8D53-E0C8644F4774}"/>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7" name="server">
              <a:extLst>
                <a:ext uri="{FF2B5EF4-FFF2-40B4-BE49-F238E27FC236}">
                  <a16:creationId xmlns:a16="http://schemas.microsoft.com/office/drawing/2014/main" id="{D51D131D-F35B-4CB8-BF4C-CB4E82A596DB}"/>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28" name="server">
              <a:extLst>
                <a:ext uri="{FF2B5EF4-FFF2-40B4-BE49-F238E27FC236}">
                  <a16:creationId xmlns:a16="http://schemas.microsoft.com/office/drawing/2014/main" id="{EA37D4E9-9D5F-475A-9940-5060B2471559}"/>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29" name="Freeform: Shape 128">
            <a:extLst>
              <a:ext uri="{FF2B5EF4-FFF2-40B4-BE49-F238E27FC236}">
                <a16:creationId xmlns:a16="http://schemas.microsoft.com/office/drawing/2014/main" id="{B3653DA1-EDCF-4020-AF38-3FA61E92BF39}"/>
              </a:ext>
            </a:extLst>
          </p:cNvPr>
          <p:cNvSpPr/>
          <p:nvPr/>
        </p:nvSpPr>
        <p:spPr bwMode="auto">
          <a:xfrm>
            <a:off x="7066186" y="385151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0" name="Freeform: Shape 129">
            <a:extLst>
              <a:ext uri="{FF2B5EF4-FFF2-40B4-BE49-F238E27FC236}">
                <a16:creationId xmlns:a16="http://schemas.microsoft.com/office/drawing/2014/main" id="{7FA6B6D4-2C98-493C-B3A1-EEC7C348EC07}"/>
              </a:ext>
            </a:extLst>
          </p:cNvPr>
          <p:cNvSpPr/>
          <p:nvPr/>
        </p:nvSpPr>
        <p:spPr bwMode="auto">
          <a:xfrm rot="2700000">
            <a:off x="6661411" y="4369572"/>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A79636AA-BE4D-4174-B1A5-E8DE067A1F76}"/>
              </a:ext>
            </a:extLst>
          </p:cNvPr>
          <p:cNvSpPr/>
          <p:nvPr/>
        </p:nvSpPr>
        <p:spPr bwMode="auto">
          <a:xfrm rot="18900000" flipH="1">
            <a:off x="7431989" y="436357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132" name="Group 131">
            <a:extLst>
              <a:ext uri="{FF2B5EF4-FFF2-40B4-BE49-F238E27FC236}">
                <a16:creationId xmlns:a16="http://schemas.microsoft.com/office/drawing/2014/main" id="{0C57D113-C8B7-4438-A1A8-F63D7C2C9DD1}"/>
              </a:ext>
            </a:extLst>
          </p:cNvPr>
          <p:cNvGrpSpPr/>
          <p:nvPr/>
        </p:nvGrpSpPr>
        <p:grpSpPr>
          <a:xfrm>
            <a:off x="9141307" y="3513314"/>
            <a:ext cx="2733181" cy="1285331"/>
            <a:chOff x="9106531" y="3479339"/>
            <a:chExt cx="2733568" cy="1285513"/>
          </a:xfrm>
        </p:grpSpPr>
        <p:grpSp>
          <p:nvGrpSpPr>
            <p:cNvPr id="133" name="Group 132">
              <a:extLst>
                <a:ext uri="{FF2B5EF4-FFF2-40B4-BE49-F238E27FC236}">
                  <a16:creationId xmlns:a16="http://schemas.microsoft.com/office/drawing/2014/main" id="{1DF2DC22-0CB1-4EBD-BD2B-DC222AECCEF8}"/>
                </a:ext>
              </a:extLst>
            </p:cNvPr>
            <p:cNvGrpSpPr/>
            <p:nvPr/>
          </p:nvGrpSpPr>
          <p:grpSpPr>
            <a:xfrm>
              <a:off x="9106531" y="3479339"/>
              <a:ext cx="2733568" cy="1285513"/>
              <a:chOff x="9106531" y="3070266"/>
              <a:chExt cx="2733568" cy="1285513"/>
            </a:xfrm>
          </p:grpSpPr>
          <p:sp>
            <p:nvSpPr>
              <p:cNvPr id="136" name="Freeform 11">
                <a:extLst>
                  <a:ext uri="{FF2B5EF4-FFF2-40B4-BE49-F238E27FC236}">
                    <a16:creationId xmlns:a16="http://schemas.microsoft.com/office/drawing/2014/main" id="{2191DCC8-FA6A-455E-87FF-C93E2C763744}"/>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7" name="Freeform 11">
                <a:extLst>
                  <a:ext uri="{FF2B5EF4-FFF2-40B4-BE49-F238E27FC236}">
                    <a16:creationId xmlns:a16="http://schemas.microsoft.com/office/drawing/2014/main" id="{202F9C09-0AAD-4E9C-9C2F-85C258D669B2}"/>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5875"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C735B551-DA51-488B-9050-2A4AC19C85E3}"/>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cap="flat" cmpd="sng" algn="ctr">
                <a:solidFill>
                  <a:srgbClr val="FFFFFF">
                    <a:lumMod val="65000"/>
                  </a:srgbClr>
                </a:solidFill>
                <a:prstDash val="solid"/>
                <a:headEnd type="arrow" w="lg" len="sm"/>
                <a:tailEnd type="arrow" w="lg" len="sm"/>
              </a:ln>
              <a:effectLst/>
            </p:spPr>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39" name="Rectangle 138">
                <a:extLst>
                  <a:ext uri="{FF2B5EF4-FFF2-40B4-BE49-F238E27FC236}">
                    <a16:creationId xmlns:a16="http://schemas.microsoft.com/office/drawing/2014/main" id="{4DBA2994-8065-439A-A15B-58A45C2834C6}"/>
                  </a:ext>
                </a:extLst>
              </p:cNvPr>
              <p:cNvSpPr/>
              <p:nvPr/>
            </p:nvSpPr>
            <p:spPr bwMode="auto">
              <a:xfrm>
                <a:off x="9106531" y="3070266"/>
                <a:ext cx="2733568" cy="1285513"/>
              </a:xfrm>
              <a:prstGeom prst="rect">
                <a:avLst/>
              </a:prstGeom>
              <a:noFill/>
              <a:ln w="15875" cap="flat" cmpd="sng" algn="ctr">
                <a:solidFill>
                  <a:srgbClr val="E6E6E6">
                    <a:lumMod val="50000"/>
                  </a:srgbClr>
                </a:solidFill>
                <a:prstDash val="sysDash"/>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25"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134" name="Rectangle 133">
              <a:extLst>
                <a:ext uri="{FF2B5EF4-FFF2-40B4-BE49-F238E27FC236}">
                  <a16:creationId xmlns:a16="http://schemas.microsoft.com/office/drawing/2014/main" id="{47D5A12D-EE3C-480C-8307-2FC4F669805F}"/>
                </a:ext>
              </a:extLst>
            </p:cNvPr>
            <p:cNvSpPr/>
            <p:nvPr/>
          </p:nvSpPr>
          <p:spPr>
            <a:xfrm>
              <a:off x="9497050" y="4354349"/>
              <a:ext cx="760670"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1</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35" name="Rectangle 134">
              <a:extLst>
                <a:ext uri="{FF2B5EF4-FFF2-40B4-BE49-F238E27FC236}">
                  <a16:creationId xmlns:a16="http://schemas.microsoft.com/office/drawing/2014/main" id="{F45B0F68-04FA-4D40-AF6D-A297753AFF07}"/>
                </a:ext>
              </a:extLst>
            </p:cNvPr>
            <p:cNvSpPr/>
            <p:nvPr/>
          </p:nvSpPr>
          <p:spPr>
            <a:xfrm>
              <a:off x="10700758" y="4352010"/>
              <a:ext cx="785198" cy="282423"/>
            </a:xfrm>
            <a:prstGeom prst="rect">
              <a:avLst/>
            </a:prstGeom>
          </p:spPr>
          <p:txBody>
            <a:bodyPr wrap="none">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78761">
                        <a:srgbClr val="353535"/>
                      </a:gs>
                      <a:gs pos="0">
                        <a:srgbClr val="353535"/>
                      </a:gs>
                    </a:gsLst>
                    <a:lin ang="5400000" scaled="0"/>
                  </a:gradFill>
                  <a:effectLst/>
                  <a:uLnTx/>
                  <a:uFillTx/>
                  <a:latin typeface="Segoe UI Semilight"/>
                  <a:ea typeface="+mn-ea"/>
                  <a:cs typeface="+mn-cs"/>
                </a:rPr>
                <a:t>Region 2</a:t>
              </a:r>
              <a:endParaRPr kumimoji="0" lang="en-US" sz="1199"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140" name="Group 139">
            <a:extLst>
              <a:ext uri="{FF2B5EF4-FFF2-40B4-BE49-F238E27FC236}">
                <a16:creationId xmlns:a16="http://schemas.microsoft.com/office/drawing/2014/main" id="{B13D324E-25F1-468C-8B1A-8A70D9BCFE22}"/>
              </a:ext>
            </a:extLst>
          </p:cNvPr>
          <p:cNvGrpSpPr/>
          <p:nvPr/>
        </p:nvGrpSpPr>
        <p:grpSpPr>
          <a:xfrm>
            <a:off x="545810" y="1978457"/>
            <a:ext cx="2171262" cy="714758"/>
            <a:chOff x="425344" y="1636360"/>
            <a:chExt cx="2171570" cy="714860"/>
          </a:xfrm>
        </p:grpSpPr>
        <p:sp>
          <p:nvSpPr>
            <p:cNvPr id="141" name="Right Triangle 140">
              <a:extLst>
                <a:ext uri="{FF2B5EF4-FFF2-40B4-BE49-F238E27FC236}">
                  <a16:creationId xmlns:a16="http://schemas.microsoft.com/office/drawing/2014/main" id="{23EB5F09-CDCC-42CB-B344-015C6CE2935D}"/>
                </a:ext>
              </a:extLst>
            </p:cNvPr>
            <p:cNvSpPr/>
            <p:nvPr/>
          </p:nvSpPr>
          <p:spPr bwMode="auto">
            <a:xfrm flipV="1">
              <a:off x="2364684" y="2118990"/>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2" name="Group 141">
              <a:extLst>
                <a:ext uri="{FF2B5EF4-FFF2-40B4-BE49-F238E27FC236}">
                  <a16:creationId xmlns:a16="http://schemas.microsoft.com/office/drawing/2014/main" id="{A9F3D34A-CC3E-49D2-8EC1-F5CB06E0510E}"/>
                </a:ext>
              </a:extLst>
            </p:cNvPr>
            <p:cNvGrpSpPr/>
            <p:nvPr/>
          </p:nvGrpSpPr>
          <p:grpSpPr>
            <a:xfrm>
              <a:off x="425344" y="1636360"/>
              <a:ext cx="2171570" cy="517065"/>
              <a:chOff x="425344" y="1636360"/>
              <a:chExt cx="2171570" cy="517065"/>
            </a:xfrm>
          </p:grpSpPr>
          <p:sp>
            <p:nvSpPr>
              <p:cNvPr id="143" name="Rectangle 142">
                <a:extLst>
                  <a:ext uri="{FF2B5EF4-FFF2-40B4-BE49-F238E27FC236}">
                    <a16:creationId xmlns:a16="http://schemas.microsoft.com/office/drawing/2014/main" id="{FB988ABE-4FDF-4EF0-931F-00D12A19DDE7}"/>
                  </a:ext>
                </a:extLst>
              </p:cNvPr>
              <p:cNvSpPr/>
              <p:nvPr/>
            </p:nvSpPr>
            <p:spPr bwMode="auto">
              <a:xfrm>
                <a:off x="438044" y="1640081"/>
                <a:ext cx="2158870"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TextBox 143">
                <a:extLst>
                  <a:ext uri="{FF2B5EF4-FFF2-40B4-BE49-F238E27FC236}">
                    <a16:creationId xmlns:a16="http://schemas.microsoft.com/office/drawing/2014/main" id="{C48641A3-5EF9-4353-8D05-BD7D4E5D8961}"/>
                  </a:ext>
                </a:extLst>
              </p:cNvPr>
              <p:cNvSpPr txBox="1"/>
              <p:nvPr/>
            </p:nvSpPr>
            <p:spPr>
              <a:xfrm>
                <a:off x="425344" y="1636360"/>
                <a:ext cx="2159468" cy="517065"/>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ONLY</a:t>
                </a:r>
              </a:p>
            </p:txBody>
          </p:sp>
        </p:grpSp>
      </p:grpSp>
      <p:grpSp>
        <p:nvGrpSpPr>
          <p:cNvPr id="145" name="Group 144">
            <a:extLst>
              <a:ext uri="{FF2B5EF4-FFF2-40B4-BE49-F238E27FC236}">
                <a16:creationId xmlns:a16="http://schemas.microsoft.com/office/drawing/2014/main" id="{B08168BB-224F-4862-806E-E73A372118C7}"/>
              </a:ext>
            </a:extLst>
          </p:cNvPr>
          <p:cNvGrpSpPr/>
          <p:nvPr/>
        </p:nvGrpSpPr>
        <p:grpSpPr>
          <a:xfrm>
            <a:off x="2836901" y="1878376"/>
            <a:ext cx="6061542" cy="810178"/>
            <a:chOff x="2716760" y="1536265"/>
            <a:chExt cx="6062402" cy="810293"/>
          </a:xfrm>
        </p:grpSpPr>
        <p:sp>
          <p:nvSpPr>
            <p:cNvPr id="146" name="Right Triangle 145">
              <a:extLst>
                <a:ext uri="{FF2B5EF4-FFF2-40B4-BE49-F238E27FC236}">
                  <a16:creationId xmlns:a16="http://schemas.microsoft.com/office/drawing/2014/main" id="{1C706829-A8AE-4B30-81EC-273C9757256E}"/>
                </a:ext>
              </a:extLst>
            </p:cNvPr>
            <p:cNvSpPr/>
            <p:nvPr/>
          </p:nvSpPr>
          <p:spPr bwMode="auto">
            <a:xfrm flipV="1">
              <a:off x="8543756"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BBD1B75B-A4EF-4B7A-98D0-50A0A1FFE52F}"/>
                </a:ext>
              </a:extLst>
            </p:cNvPr>
            <p:cNvSpPr/>
            <p:nvPr/>
          </p:nvSpPr>
          <p:spPr bwMode="auto">
            <a:xfrm>
              <a:off x="2719936" y="1646427"/>
              <a:ext cx="6059226" cy="48352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TextBox 147">
              <a:extLst>
                <a:ext uri="{FF2B5EF4-FFF2-40B4-BE49-F238E27FC236}">
                  <a16:creationId xmlns:a16="http://schemas.microsoft.com/office/drawing/2014/main" id="{CCFC0460-7F53-4E45-B065-1607C91B39B5}"/>
                </a:ext>
              </a:extLst>
            </p:cNvPr>
            <p:cNvSpPr txBox="1"/>
            <p:nvPr/>
          </p:nvSpPr>
          <p:spPr>
            <a:xfrm>
              <a:off x="2716760" y="1536265"/>
              <a:ext cx="6059225"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HIGH AVAILABILITY SLA</a:t>
              </a:r>
            </a:p>
          </p:txBody>
        </p:sp>
      </p:grpSp>
      <p:grpSp>
        <p:nvGrpSpPr>
          <p:cNvPr id="149" name="Group 148">
            <a:extLst>
              <a:ext uri="{FF2B5EF4-FFF2-40B4-BE49-F238E27FC236}">
                <a16:creationId xmlns:a16="http://schemas.microsoft.com/office/drawing/2014/main" id="{2D2050FE-DEEC-4659-BB24-6C0A537A13F4}"/>
              </a:ext>
            </a:extLst>
          </p:cNvPr>
          <p:cNvGrpSpPr/>
          <p:nvPr/>
        </p:nvGrpSpPr>
        <p:grpSpPr>
          <a:xfrm>
            <a:off x="9018272" y="1858092"/>
            <a:ext cx="2973638" cy="830462"/>
            <a:chOff x="8899008" y="1515979"/>
            <a:chExt cx="2974060" cy="830579"/>
          </a:xfrm>
        </p:grpSpPr>
        <p:sp>
          <p:nvSpPr>
            <p:cNvPr id="150" name="Right Triangle 149">
              <a:extLst>
                <a:ext uri="{FF2B5EF4-FFF2-40B4-BE49-F238E27FC236}">
                  <a16:creationId xmlns:a16="http://schemas.microsoft.com/office/drawing/2014/main" id="{9C84FDB2-3B52-4572-8FE1-7CA201C05117}"/>
                </a:ext>
              </a:extLst>
            </p:cNvPr>
            <p:cNvSpPr/>
            <p:nvPr/>
          </p:nvSpPr>
          <p:spPr bwMode="auto">
            <a:xfrm flipV="1">
              <a:off x="11640838" y="2114328"/>
              <a:ext cx="232230" cy="232230"/>
            </a:xfrm>
            <a:prstGeom prst="rtTriangle">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1" name="Rectangle 150">
              <a:extLst>
                <a:ext uri="{FF2B5EF4-FFF2-40B4-BE49-F238E27FC236}">
                  <a16:creationId xmlns:a16="http://schemas.microsoft.com/office/drawing/2014/main" id="{DF0EBBBB-E369-461E-A67D-AFE0767FF0D7}"/>
                </a:ext>
              </a:extLst>
            </p:cNvPr>
            <p:cNvSpPr/>
            <p:nvPr/>
          </p:nvSpPr>
          <p:spPr bwMode="auto">
            <a:xfrm>
              <a:off x="8902185" y="1635419"/>
              <a:ext cx="2970883" cy="49453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2" name="TextBox 151">
              <a:extLst>
                <a:ext uri="{FF2B5EF4-FFF2-40B4-BE49-F238E27FC236}">
                  <a16:creationId xmlns:a16="http://schemas.microsoft.com/office/drawing/2014/main" id="{7F3BBABC-F5AF-43D6-89B8-59EA1CAE07FE}"/>
                </a:ext>
              </a:extLst>
            </p:cNvPr>
            <p:cNvSpPr txBox="1"/>
            <p:nvPr/>
          </p:nvSpPr>
          <p:spPr>
            <a:xfrm>
              <a:off x="8899008" y="1515979"/>
              <a:ext cx="2974059" cy="747289"/>
            </a:xfrm>
            <a:prstGeom prst="rect">
              <a:avLst/>
            </a:prstGeom>
            <a:noFill/>
          </p:spPr>
          <p:txBody>
            <a:bodyPr wrap="square" lIns="91427" tIns="146283" rIns="91427"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INDUSTRY-LEADING </a:t>
              </a:r>
              <a:b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br>
              <a:r>
                <a:rPr kumimoji="0" lang="en-US" sz="1599" b="1" i="0" u="none" strike="noStrike" kern="0" cap="small" spc="0" normalizeH="0" baseline="0" noProof="0" dirty="0">
                  <a:ln>
                    <a:noFill/>
                  </a:ln>
                  <a:gradFill>
                    <a:gsLst>
                      <a:gs pos="0">
                        <a:srgbClr val="FFFFFF"/>
                      </a:gs>
                      <a:gs pos="100000">
                        <a:srgbClr val="FFFFFF"/>
                      </a:gs>
                    </a:gsLst>
                    <a:lin ang="5400000" scaled="0"/>
                  </a:gradFill>
                  <a:effectLst/>
                  <a:uLnTx/>
                  <a:uFillTx/>
                  <a:latin typeface="Segoe UI"/>
                  <a:ea typeface="+mn-ea"/>
                  <a:cs typeface="Segoe UI" panose="020B0502040204020203" pitchFamily="34" charset="0"/>
                </a:rPr>
                <a:t>DISASTER RECOVERY</a:t>
              </a:r>
            </a:p>
          </p:txBody>
        </p:sp>
      </p:grpSp>
    </p:spTree>
    <p:extLst>
      <p:ext uri="{BB962C8B-B14F-4D97-AF65-F5344CB8AC3E}">
        <p14:creationId xmlns:p14="http://schemas.microsoft.com/office/powerpoint/2010/main" val="2679890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105"/>
                                        </p:tgtEl>
                                        <p:attrNameLst>
                                          <p:attrName>style.visibility</p:attrName>
                                        </p:attrNameLst>
                                      </p:cBhvr>
                                      <p:to>
                                        <p:strVal val="visible"/>
                                      </p:to>
                                    </p:set>
                                    <p:animEffect transition="in" filter="wipe(left)">
                                      <p:cBhvr>
                                        <p:cTn id="7" dur="500"/>
                                        <p:tgtEl>
                                          <p:spTgt spid="105"/>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54"/>
                                        </p:tgtEl>
                                        <p:attrNameLst>
                                          <p:attrName>style.visibility</p:attrName>
                                        </p:attrNameLst>
                                      </p:cBhvr>
                                      <p:to>
                                        <p:strVal val="visible"/>
                                      </p:to>
                                    </p:set>
                                    <p:animEffect transition="in" filter="wipe(left)">
                                      <p:cBhvr>
                                        <p:cTn id="10" dur="500"/>
                                        <p:tgtEl>
                                          <p:spTgt spid="54"/>
                                        </p:tgtEl>
                                      </p:cBhvr>
                                    </p:animEffect>
                                  </p:childTnLst>
                                </p:cTn>
                              </p:par>
                              <p:par>
                                <p:cTn id="11" presetID="10" presetClass="entr" presetSubtype="0" fill="hold" nodeType="withEffect">
                                  <p:stCondLst>
                                    <p:cond delay="9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400"/>
                                        <p:tgtEl>
                                          <p:spTgt spid="66"/>
                                        </p:tgtEl>
                                      </p:cBhvr>
                                    </p:animEffect>
                                  </p:childTnLst>
                                </p:cTn>
                              </p:par>
                              <p:par>
                                <p:cTn id="14" presetID="10" presetClass="entr" presetSubtype="0" fill="hold" nodeType="withEffect">
                                  <p:stCondLst>
                                    <p:cond delay="90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400"/>
                                        <p:tgtEl>
                                          <p:spTgt spid="77"/>
                                        </p:tgtEl>
                                      </p:cBhvr>
                                    </p:animEffect>
                                  </p:childTnLst>
                                </p:cTn>
                              </p:par>
                              <p:par>
                                <p:cTn id="17" presetID="42" presetClass="path" presetSubtype="0" decel="100000" fill="hold" nodeType="withEffect">
                                  <p:stCondLst>
                                    <p:cond delay="600"/>
                                  </p:stCondLst>
                                  <p:childTnLst>
                                    <p:animMotion origin="layout" path="M 4.76896E-6 4.03541E-6 L 4.76896E-6 0.09623 " pathEditMode="relative" rAng="0" ptsTypes="AA">
                                      <p:cBhvr>
                                        <p:cTn id="18" dur="700" spd="-100000" fill="hold"/>
                                        <p:tgtEl>
                                          <p:spTgt spid="77"/>
                                        </p:tgtEl>
                                        <p:attrNameLst>
                                          <p:attrName>ppt_x</p:attrName>
                                          <p:attrName>ppt_y</p:attrName>
                                        </p:attrNameLst>
                                      </p:cBhvr>
                                      <p:rCtr x="0" y="4812"/>
                                    </p:animMotion>
                                  </p:childTnLst>
                                </p:cTn>
                              </p:par>
                              <p:par>
                                <p:cTn id="19" presetID="10" presetClass="entr" presetSubtype="0" fill="hold" grpId="0" nodeType="withEffect">
                                  <p:stCondLst>
                                    <p:cond delay="900"/>
                                  </p:stCondLst>
                                  <p:childTnLst>
                                    <p:set>
                                      <p:cBhvr>
                                        <p:cTn id="20" dur="1" fill="hold">
                                          <p:stCondLst>
                                            <p:cond delay="0"/>
                                          </p:stCondLst>
                                        </p:cTn>
                                        <p:tgtEl>
                                          <p:spTgt spid="116"/>
                                        </p:tgtEl>
                                        <p:attrNameLst>
                                          <p:attrName>style.visibility</p:attrName>
                                        </p:attrNameLst>
                                      </p:cBhvr>
                                      <p:to>
                                        <p:strVal val="visible"/>
                                      </p:to>
                                    </p:set>
                                    <p:animEffect transition="in" filter="fade">
                                      <p:cBhvr>
                                        <p:cTn id="21" dur="500"/>
                                        <p:tgtEl>
                                          <p:spTgt spid="116"/>
                                        </p:tgtEl>
                                      </p:cBhvr>
                                    </p:animEffect>
                                  </p:childTnLst>
                                </p:cTn>
                              </p:par>
                              <p:par>
                                <p:cTn id="22" presetID="64" presetClass="path" presetSubtype="0" decel="100000" fill="hold" nodeType="withEffect">
                                  <p:stCondLst>
                                    <p:cond delay="600"/>
                                  </p:stCondLst>
                                  <p:childTnLst>
                                    <p:animMotion origin="layout" path="M 8.0674E-7 -4.65729E-6 L 8.0674E-7 -0.10326 " pathEditMode="relative" rAng="0" ptsTypes="AA">
                                      <p:cBhvr>
                                        <p:cTn id="23" dur="700" spd="-100000" fill="hold"/>
                                        <p:tgtEl>
                                          <p:spTgt spid="66"/>
                                        </p:tgtEl>
                                        <p:attrNameLst>
                                          <p:attrName>ppt_x</p:attrName>
                                          <p:attrName>ppt_y</p:attrName>
                                        </p:attrNameLst>
                                      </p:cBhvr>
                                      <p:rCtr x="0" y="-5175"/>
                                    </p:animMotion>
                                  </p:childTnLst>
                                </p:cTn>
                              </p:par>
                              <p:par>
                                <p:cTn id="24" presetID="10" presetClass="entr" presetSubtype="0" fill="hold" nodeType="withEffect">
                                  <p:stCondLst>
                                    <p:cond delay="10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400"/>
                                        <p:tgtEl>
                                          <p:spTgt spid="109"/>
                                        </p:tgtEl>
                                      </p:cBhvr>
                                    </p:animEffect>
                                  </p:childTnLst>
                                </p:cTn>
                              </p:par>
                              <p:par>
                                <p:cTn id="27" presetID="42" presetClass="path" presetSubtype="0" decel="100000" fill="hold" nodeType="withEffect">
                                  <p:stCondLst>
                                    <p:cond delay="700"/>
                                  </p:stCondLst>
                                  <p:childTnLst>
                                    <p:animMotion origin="layout" path="M -1.72581E-6 1.08942E-7 L -1.72581E-6 0.09623 " pathEditMode="relative" rAng="0" ptsTypes="AA">
                                      <p:cBhvr>
                                        <p:cTn id="28" dur="700" spd="-100000" fill="hold"/>
                                        <p:tgtEl>
                                          <p:spTgt spid="109"/>
                                        </p:tgtEl>
                                        <p:attrNameLst>
                                          <p:attrName>ppt_x</p:attrName>
                                          <p:attrName>ppt_y</p:attrName>
                                        </p:attrNameLst>
                                      </p:cBhvr>
                                      <p:rCtr x="0" y="4812"/>
                                    </p:animMotion>
                                  </p:childTnLst>
                                </p:cTn>
                              </p:par>
                              <p:par>
                                <p:cTn id="29" presetID="10" presetClass="entr" presetSubtype="0" fill="hold" nodeType="withEffect">
                                  <p:stCondLst>
                                    <p:cond delay="110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400"/>
                                        <p:tgtEl>
                                          <p:spTgt spid="112"/>
                                        </p:tgtEl>
                                      </p:cBhvr>
                                    </p:animEffect>
                                  </p:childTnLst>
                                </p:cTn>
                              </p:par>
                              <p:par>
                                <p:cTn id="32" presetID="42" presetClass="path" presetSubtype="0" decel="100000" fill="hold" nodeType="withEffect">
                                  <p:stCondLst>
                                    <p:cond delay="800"/>
                                  </p:stCondLst>
                                  <p:childTnLst>
                                    <p:animMotion origin="layout" path="M 1.21777E-6 -2.92783E-6 L 1.21777E-6 0.09624 " pathEditMode="relative" rAng="0" ptsTypes="AA">
                                      <p:cBhvr>
                                        <p:cTn id="33" dur="700" spd="-100000" fill="hold"/>
                                        <p:tgtEl>
                                          <p:spTgt spid="112"/>
                                        </p:tgtEl>
                                        <p:attrNameLst>
                                          <p:attrName>ppt_x</p:attrName>
                                          <p:attrName>ppt_y</p:attrName>
                                        </p:attrNameLst>
                                      </p:cBhvr>
                                      <p:rCtr x="0" y="4812"/>
                                    </p:animMotion>
                                  </p:childTnLst>
                                </p:cTn>
                              </p:par>
                              <p:par>
                                <p:cTn id="34" presetID="22" presetClass="entr" presetSubtype="8" fill="hold" grpId="0" nodeType="withEffect">
                                  <p:stCondLst>
                                    <p:cond delay="600"/>
                                  </p:stCondLst>
                                  <p:childTnLst>
                                    <p:set>
                                      <p:cBhvr>
                                        <p:cTn id="35" dur="1" fill="hold">
                                          <p:stCondLst>
                                            <p:cond delay="0"/>
                                          </p:stCondLst>
                                        </p:cTn>
                                        <p:tgtEl>
                                          <p:spTgt spid="106"/>
                                        </p:tgtEl>
                                        <p:attrNameLst>
                                          <p:attrName>style.visibility</p:attrName>
                                        </p:attrNameLst>
                                      </p:cBhvr>
                                      <p:to>
                                        <p:strVal val="visible"/>
                                      </p:to>
                                    </p:set>
                                    <p:animEffect transition="in" filter="wipe(left)">
                                      <p:cBhvr>
                                        <p:cTn id="36" dur="500"/>
                                        <p:tgtEl>
                                          <p:spTgt spid="106"/>
                                        </p:tgtEl>
                                      </p:cBhvr>
                                    </p:animEffect>
                                  </p:childTnLst>
                                </p:cTn>
                              </p:par>
                              <p:par>
                                <p:cTn id="37" presetID="22" presetClass="entr" presetSubtype="8" fill="hold" grpId="0" nodeType="withEffect">
                                  <p:stCondLst>
                                    <p:cond delay="700"/>
                                  </p:stCondLst>
                                  <p:childTnLst>
                                    <p:set>
                                      <p:cBhvr>
                                        <p:cTn id="38" dur="1" fill="hold">
                                          <p:stCondLst>
                                            <p:cond delay="0"/>
                                          </p:stCondLst>
                                        </p:cTn>
                                        <p:tgtEl>
                                          <p:spTgt spid="107"/>
                                        </p:tgtEl>
                                        <p:attrNameLst>
                                          <p:attrName>style.visibility</p:attrName>
                                        </p:attrNameLst>
                                      </p:cBhvr>
                                      <p:to>
                                        <p:strVal val="visible"/>
                                      </p:to>
                                    </p:set>
                                    <p:animEffect transition="in" filter="wipe(left)">
                                      <p:cBhvr>
                                        <p:cTn id="39" dur="500"/>
                                        <p:tgtEl>
                                          <p:spTgt spid="107"/>
                                        </p:tgtEl>
                                      </p:cBhvr>
                                    </p:animEffect>
                                  </p:childTnLst>
                                </p:cTn>
                              </p:par>
                              <p:par>
                                <p:cTn id="40" presetID="22" presetClass="entr" presetSubtype="8" fill="hold" grpId="0" nodeType="withEffect">
                                  <p:stCondLst>
                                    <p:cond delay="800"/>
                                  </p:stCondLst>
                                  <p:childTnLst>
                                    <p:set>
                                      <p:cBhvr>
                                        <p:cTn id="41" dur="1" fill="hold">
                                          <p:stCondLst>
                                            <p:cond delay="0"/>
                                          </p:stCondLst>
                                        </p:cTn>
                                        <p:tgtEl>
                                          <p:spTgt spid="108"/>
                                        </p:tgtEl>
                                        <p:attrNameLst>
                                          <p:attrName>style.visibility</p:attrName>
                                        </p:attrNameLst>
                                      </p:cBhvr>
                                      <p:to>
                                        <p:strVal val="visible"/>
                                      </p:to>
                                    </p:set>
                                    <p:animEffect transition="in" filter="wipe(left)">
                                      <p:cBhvr>
                                        <p:cTn id="42" dur="500"/>
                                        <p:tgtEl>
                                          <p:spTgt spid="108"/>
                                        </p:tgtEl>
                                      </p:cBhvr>
                                    </p:animEffect>
                                  </p:childTnLst>
                                </p:cTn>
                              </p:par>
                              <p:par>
                                <p:cTn id="43" presetID="22" presetClass="entr" presetSubtype="8" fill="hold" grpId="0" nodeType="withEffect">
                                  <p:stCondLst>
                                    <p:cond delay="600"/>
                                  </p:stCondLst>
                                  <p:childTnLst>
                                    <p:set>
                                      <p:cBhvr>
                                        <p:cTn id="44" dur="1" fill="hold">
                                          <p:stCondLst>
                                            <p:cond delay="0"/>
                                          </p:stCondLst>
                                        </p:cTn>
                                        <p:tgtEl>
                                          <p:spTgt spid="56"/>
                                        </p:tgtEl>
                                        <p:attrNameLst>
                                          <p:attrName>style.visibility</p:attrName>
                                        </p:attrNameLst>
                                      </p:cBhvr>
                                      <p:to>
                                        <p:strVal val="visible"/>
                                      </p:to>
                                    </p:set>
                                    <p:animEffect transition="in" filter="wipe(left)">
                                      <p:cBhvr>
                                        <p:cTn id="45" dur="500"/>
                                        <p:tgtEl>
                                          <p:spTgt spid="56"/>
                                        </p:tgtEl>
                                      </p:cBhvr>
                                    </p:animEffect>
                                  </p:childTnLst>
                                </p:cTn>
                              </p:par>
                              <p:par>
                                <p:cTn id="46" presetID="22" presetClass="entr" presetSubtype="8" fill="hold" grpId="0" nodeType="withEffect">
                                  <p:stCondLst>
                                    <p:cond delay="7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700"/>
                                  </p:stCondLst>
                                  <p:childTnLst>
                                    <p:set>
                                      <p:cBhvr>
                                        <p:cTn id="50" dur="1" fill="hold">
                                          <p:stCondLst>
                                            <p:cond delay="0"/>
                                          </p:stCondLst>
                                        </p:cTn>
                                        <p:tgtEl>
                                          <p:spTgt spid="65"/>
                                        </p:tgtEl>
                                        <p:attrNameLst>
                                          <p:attrName>style.visibility</p:attrName>
                                        </p:attrNameLst>
                                      </p:cBhvr>
                                      <p:to>
                                        <p:strVal val="visible"/>
                                      </p:to>
                                    </p:set>
                                    <p:animEffect transition="in" filter="wipe(left)">
                                      <p:cBhvr>
                                        <p:cTn id="51" dur="500"/>
                                        <p:tgtEl>
                                          <p:spTgt spid="65"/>
                                        </p:tgtEl>
                                      </p:cBhvr>
                                    </p:animEffect>
                                  </p:childTnLst>
                                </p:cTn>
                              </p:par>
                              <p:par>
                                <p:cTn id="52" presetID="10" presetClass="entr" presetSubtype="0" fill="hold" nodeType="withEffect">
                                  <p:stCondLst>
                                    <p:cond delay="1000"/>
                                  </p:stCondLst>
                                  <p:childTnLst>
                                    <p:set>
                                      <p:cBhvr>
                                        <p:cTn id="53" dur="1" fill="hold">
                                          <p:stCondLst>
                                            <p:cond delay="0"/>
                                          </p:stCondLst>
                                        </p:cTn>
                                        <p:tgtEl>
                                          <p:spTgt spid="96"/>
                                        </p:tgtEl>
                                        <p:attrNameLst>
                                          <p:attrName>style.visibility</p:attrName>
                                        </p:attrNameLst>
                                      </p:cBhvr>
                                      <p:to>
                                        <p:strVal val="visible"/>
                                      </p:to>
                                    </p:set>
                                    <p:animEffect transition="in" filter="fade">
                                      <p:cBhvr>
                                        <p:cTn id="54" dur="400"/>
                                        <p:tgtEl>
                                          <p:spTgt spid="96"/>
                                        </p:tgtEl>
                                      </p:cBhvr>
                                    </p:animEffect>
                                  </p:childTnLst>
                                </p:cTn>
                              </p:par>
                              <p:par>
                                <p:cTn id="55" presetID="64" presetClass="path" presetSubtype="0" decel="100000" fill="hold" nodeType="withEffect">
                                  <p:stCondLst>
                                    <p:cond delay="700"/>
                                  </p:stCondLst>
                                  <p:childTnLst>
                                    <p:animMotion origin="layout" path="M 2.70105E-6 -4.65729E-6 L 2.70105E-6 -0.10326 " pathEditMode="relative" rAng="0" ptsTypes="AA">
                                      <p:cBhvr>
                                        <p:cTn id="56" dur="700" spd="-100000" fill="hold"/>
                                        <p:tgtEl>
                                          <p:spTgt spid="96"/>
                                        </p:tgtEl>
                                        <p:attrNameLst>
                                          <p:attrName>ppt_x</p:attrName>
                                          <p:attrName>ppt_y</p:attrName>
                                        </p:attrNameLst>
                                      </p:cBhvr>
                                      <p:rCtr x="0" y="-5175"/>
                                    </p:animMotion>
                                  </p:childTnLst>
                                </p:cTn>
                              </p:par>
                              <p:par>
                                <p:cTn id="57" presetID="10" presetClass="entr" presetSubtype="0" fill="hold" nodeType="withEffect">
                                  <p:stCondLst>
                                    <p:cond delay="1100"/>
                                  </p:stCondLst>
                                  <p:childTnLst>
                                    <p:set>
                                      <p:cBhvr>
                                        <p:cTn id="58" dur="1" fill="hold">
                                          <p:stCondLst>
                                            <p:cond delay="0"/>
                                          </p:stCondLst>
                                        </p:cTn>
                                        <p:tgtEl>
                                          <p:spTgt spid="99"/>
                                        </p:tgtEl>
                                        <p:attrNameLst>
                                          <p:attrName>style.visibility</p:attrName>
                                        </p:attrNameLst>
                                      </p:cBhvr>
                                      <p:to>
                                        <p:strVal val="visible"/>
                                      </p:to>
                                    </p:set>
                                    <p:animEffect transition="in" filter="fade">
                                      <p:cBhvr>
                                        <p:cTn id="59" dur="400"/>
                                        <p:tgtEl>
                                          <p:spTgt spid="99"/>
                                        </p:tgtEl>
                                      </p:cBhvr>
                                    </p:animEffect>
                                  </p:childTnLst>
                                </p:cTn>
                              </p:par>
                              <p:par>
                                <p:cTn id="60" presetID="64" presetClass="path" presetSubtype="0" decel="100000" fill="hold" nodeType="withEffect">
                                  <p:stCondLst>
                                    <p:cond delay="800"/>
                                  </p:stCondLst>
                                  <p:childTnLst>
                                    <p:animMotion origin="layout" path="M -3.59969E-7 -4.65729E-6 L -3.59969E-7 -0.10326 " pathEditMode="relative" rAng="0" ptsTypes="AA">
                                      <p:cBhvr>
                                        <p:cTn id="61" dur="700" spd="-100000" fill="hold"/>
                                        <p:tgtEl>
                                          <p:spTgt spid="99"/>
                                        </p:tgtEl>
                                        <p:attrNameLst>
                                          <p:attrName>ppt_x</p:attrName>
                                          <p:attrName>ppt_y</p:attrName>
                                        </p:attrNameLst>
                                      </p:cBhvr>
                                      <p:rCtr x="0" y="-5175"/>
                                    </p:animMotion>
                                  </p:childTnLst>
                                </p:cTn>
                              </p:par>
                              <p:par>
                                <p:cTn id="62" presetID="10" presetClass="entr" presetSubtype="0" fill="hold" nodeType="withEffect">
                                  <p:stCondLst>
                                    <p:cond delay="1200"/>
                                  </p:stCondLst>
                                  <p:childTnLst>
                                    <p:set>
                                      <p:cBhvr>
                                        <p:cTn id="63" dur="1" fill="hold">
                                          <p:stCondLst>
                                            <p:cond delay="0"/>
                                          </p:stCondLst>
                                        </p:cTn>
                                        <p:tgtEl>
                                          <p:spTgt spid="102"/>
                                        </p:tgtEl>
                                        <p:attrNameLst>
                                          <p:attrName>style.visibility</p:attrName>
                                        </p:attrNameLst>
                                      </p:cBhvr>
                                      <p:to>
                                        <p:strVal val="visible"/>
                                      </p:to>
                                    </p:set>
                                    <p:animEffect transition="in" filter="fade">
                                      <p:cBhvr>
                                        <p:cTn id="64" dur="400"/>
                                        <p:tgtEl>
                                          <p:spTgt spid="102"/>
                                        </p:tgtEl>
                                      </p:cBhvr>
                                    </p:animEffect>
                                  </p:childTnLst>
                                </p:cTn>
                              </p:par>
                              <p:par>
                                <p:cTn id="65" presetID="64" presetClass="path" presetSubtype="0" decel="100000" fill="hold" nodeType="withEffect">
                                  <p:stCondLst>
                                    <p:cond delay="900"/>
                                  </p:stCondLst>
                                  <p:childTnLst>
                                    <p:animMotion origin="layout" path="M 8.88435E-7 -4.65729E-6 L 8.88435E-7 -0.10326 " pathEditMode="relative" rAng="0" ptsTypes="AA">
                                      <p:cBhvr>
                                        <p:cTn id="66" dur="700" spd="-100000" fill="hold"/>
                                        <p:tgtEl>
                                          <p:spTgt spid="102"/>
                                        </p:tgtEl>
                                        <p:attrNameLst>
                                          <p:attrName>ppt_x</p:attrName>
                                          <p:attrName>ppt_y</p:attrName>
                                        </p:attrNameLst>
                                      </p:cBhvr>
                                      <p:rCtr x="0" y="-5175"/>
                                    </p:animMotion>
                                  </p:childTnLst>
                                </p:cTn>
                              </p:par>
                              <p:par>
                                <p:cTn id="67" presetID="10" presetClass="entr" presetSubtype="0" fill="hold" grpId="0" nodeType="withEffect">
                                  <p:stCondLst>
                                    <p:cond delay="1200"/>
                                  </p:stCondLst>
                                  <p:childTnLst>
                                    <p:set>
                                      <p:cBhvr>
                                        <p:cTn id="68" dur="1" fill="hold">
                                          <p:stCondLst>
                                            <p:cond delay="0"/>
                                          </p:stCondLst>
                                        </p:cTn>
                                        <p:tgtEl>
                                          <p:spTgt spid="115"/>
                                        </p:tgtEl>
                                        <p:attrNameLst>
                                          <p:attrName>style.visibility</p:attrName>
                                        </p:attrNameLst>
                                      </p:cBhvr>
                                      <p:to>
                                        <p:strVal val="visible"/>
                                      </p:to>
                                    </p:set>
                                    <p:animEffect transition="in" filter="fade">
                                      <p:cBhvr>
                                        <p:cTn id="69" dur="400"/>
                                        <p:tgtEl>
                                          <p:spTgt spid="115"/>
                                        </p:tgtEl>
                                      </p:cBhvr>
                                    </p:animEffect>
                                  </p:childTnLst>
                                </p:cTn>
                              </p:par>
                              <p:par>
                                <p:cTn id="70" presetID="42" presetClass="path" presetSubtype="0" decel="100000" fill="hold" grpId="1" nodeType="withEffect">
                                  <p:stCondLst>
                                    <p:cond delay="900"/>
                                  </p:stCondLst>
                                  <p:childTnLst>
                                    <p:animMotion origin="layout" path="M -2.34874E-6 -4.13073E-7 L -2.34874E-6 0.09623 " pathEditMode="relative" rAng="0" ptsTypes="AA">
                                      <p:cBhvr>
                                        <p:cTn id="71" dur="700" spd="-100000" fill="hold"/>
                                        <p:tgtEl>
                                          <p:spTgt spid="115"/>
                                        </p:tgtEl>
                                        <p:attrNameLst>
                                          <p:attrName>ppt_x</p:attrName>
                                          <p:attrName>ppt_y</p:attrName>
                                        </p:attrNameLst>
                                      </p:cBhvr>
                                      <p:rCtr x="0" y="4812"/>
                                    </p:animMotion>
                                  </p:childTnLst>
                                </p:cTn>
                              </p:par>
                              <p:par>
                                <p:cTn id="72" presetID="10" presetClass="entr" presetSubtype="0" fill="hold" nodeType="withEffect">
                                  <p:stCondLst>
                                    <p:cond delay="1000"/>
                                  </p:stCondLst>
                                  <p:childTnLst>
                                    <p:set>
                                      <p:cBhvr>
                                        <p:cTn id="73" dur="1" fill="hold">
                                          <p:stCondLst>
                                            <p:cond delay="0"/>
                                          </p:stCondLst>
                                        </p:cTn>
                                        <p:tgtEl>
                                          <p:spTgt spid="117"/>
                                        </p:tgtEl>
                                        <p:attrNameLst>
                                          <p:attrName>style.visibility</p:attrName>
                                        </p:attrNameLst>
                                      </p:cBhvr>
                                      <p:to>
                                        <p:strVal val="visible"/>
                                      </p:to>
                                    </p:set>
                                    <p:animEffect transition="in" filter="fade">
                                      <p:cBhvr>
                                        <p:cTn id="74" dur="500"/>
                                        <p:tgtEl>
                                          <p:spTgt spid="117"/>
                                        </p:tgtEl>
                                      </p:cBhvr>
                                    </p:animEffect>
                                  </p:childTnLst>
                                </p:cTn>
                              </p:par>
                              <p:par>
                                <p:cTn id="75" presetID="10" presetClass="entr" presetSubtype="0" fill="hold" nodeType="withEffect">
                                  <p:stCondLst>
                                    <p:cond delay="1100"/>
                                  </p:stCondLst>
                                  <p:childTnLst>
                                    <p:set>
                                      <p:cBhvr>
                                        <p:cTn id="76" dur="1" fill="hold">
                                          <p:stCondLst>
                                            <p:cond delay="0"/>
                                          </p:stCondLst>
                                        </p:cTn>
                                        <p:tgtEl>
                                          <p:spTgt spid="125"/>
                                        </p:tgtEl>
                                        <p:attrNameLst>
                                          <p:attrName>style.visibility</p:attrName>
                                        </p:attrNameLst>
                                      </p:cBhvr>
                                      <p:to>
                                        <p:strVal val="visible"/>
                                      </p:to>
                                    </p:set>
                                    <p:animEffect transition="in" filter="fade">
                                      <p:cBhvr>
                                        <p:cTn id="77" dur="500"/>
                                        <p:tgtEl>
                                          <p:spTgt spid="125"/>
                                        </p:tgtEl>
                                      </p:cBhvr>
                                    </p:animEffect>
                                  </p:childTnLst>
                                </p:cTn>
                              </p:par>
                              <p:par>
                                <p:cTn id="78" presetID="10" presetClass="entr" presetSubtype="0" fill="hold" grpId="0" nodeType="withEffect">
                                  <p:stCondLst>
                                    <p:cond delay="1100"/>
                                  </p:stCondLst>
                                  <p:childTnLst>
                                    <p:set>
                                      <p:cBhvr>
                                        <p:cTn id="79" dur="1" fill="hold">
                                          <p:stCondLst>
                                            <p:cond delay="0"/>
                                          </p:stCondLst>
                                        </p:cTn>
                                        <p:tgtEl>
                                          <p:spTgt spid="129"/>
                                        </p:tgtEl>
                                        <p:attrNameLst>
                                          <p:attrName>style.visibility</p:attrName>
                                        </p:attrNameLst>
                                      </p:cBhvr>
                                      <p:to>
                                        <p:strVal val="visible"/>
                                      </p:to>
                                    </p:set>
                                    <p:animEffect transition="in" filter="fade">
                                      <p:cBhvr>
                                        <p:cTn id="80" dur="500"/>
                                        <p:tgtEl>
                                          <p:spTgt spid="129"/>
                                        </p:tgtEl>
                                      </p:cBhvr>
                                    </p:animEffect>
                                  </p:childTnLst>
                                </p:cTn>
                              </p:par>
                              <p:par>
                                <p:cTn id="81" presetID="10" presetClass="entr" presetSubtype="0" fill="hold" grpId="0" nodeType="withEffect">
                                  <p:stCondLst>
                                    <p:cond delay="1100"/>
                                  </p:stCondLst>
                                  <p:childTnLst>
                                    <p:set>
                                      <p:cBhvr>
                                        <p:cTn id="82" dur="1" fill="hold">
                                          <p:stCondLst>
                                            <p:cond delay="0"/>
                                          </p:stCondLst>
                                        </p:cTn>
                                        <p:tgtEl>
                                          <p:spTgt spid="131"/>
                                        </p:tgtEl>
                                        <p:attrNameLst>
                                          <p:attrName>style.visibility</p:attrName>
                                        </p:attrNameLst>
                                      </p:cBhvr>
                                      <p:to>
                                        <p:strVal val="visible"/>
                                      </p:to>
                                    </p:set>
                                    <p:animEffect transition="in" filter="fade">
                                      <p:cBhvr>
                                        <p:cTn id="83" dur="500"/>
                                        <p:tgtEl>
                                          <p:spTgt spid="131"/>
                                        </p:tgtEl>
                                      </p:cBhvr>
                                    </p:animEffect>
                                  </p:childTnLst>
                                </p:cTn>
                              </p:par>
                              <p:par>
                                <p:cTn id="84" presetID="10" presetClass="entr" presetSubtype="0" fill="hold" grpId="0" nodeType="withEffect">
                                  <p:stCondLst>
                                    <p:cond delay="1100"/>
                                  </p:stCondLst>
                                  <p:childTnLst>
                                    <p:set>
                                      <p:cBhvr>
                                        <p:cTn id="85" dur="1" fill="hold">
                                          <p:stCondLst>
                                            <p:cond delay="0"/>
                                          </p:stCondLst>
                                        </p:cTn>
                                        <p:tgtEl>
                                          <p:spTgt spid="130"/>
                                        </p:tgtEl>
                                        <p:attrNameLst>
                                          <p:attrName>style.visibility</p:attrName>
                                        </p:attrNameLst>
                                      </p:cBhvr>
                                      <p:to>
                                        <p:strVal val="visible"/>
                                      </p:to>
                                    </p:set>
                                    <p:animEffect transition="in" filter="fade">
                                      <p:cBhvr>
                                        <p:cTn id="86" dur="500"/>
                                        <p:tgtEl>
                                          <p:spTgt spid="130"/>
                                        </p:tgtEl>
                                      </p:cBhvr>
                                    </p:animEffect>
                                  </p:childTnLst>
                                </p:cTn>
                              </p:par>
                              <p:par>
                                <p:cTn id="87" presetID="10" presetClass="entr" presetSubtype="0" fill="hold" nodeType="withEffect">
                                  <p:stCondLst>
                                    <p:cond delay="1100"/>
                                  </p:stCondLst>
                                  <p:childTnLst>
                                    <p:set>
                                      <p:cBhvr>
                                        <p:cTn id="88" dur="1" fill="hold">
                                          <p:stCondLst>
                                            <p:cond delay="0"/>
                                          </p:stCondLst>
                                        </p:cTn>
                                        <p:tgtEl>
                                          <p:spTgt spid="132"/>
                                        </p:tgtEl>
                                        <p:attrNameLst>
                                          <p:attrName>style.visibility</p:attrName>
                                        </p:attrNameLst>
                                      </p:cBhvr>
                                      <p:to>
                                        <p:strVal val="visible"/>
                                      </p:to>
                                    </p:set>
                                    <p:animEffect transition="in" filter="fade">
                                      <p:cBhvr>
                                        <p:cTn id="89" dur="500"/>
                                        <p:tgtEl>
                                          <p:spTgt spid="132"/>
                                        </p:tgtEl>
                                      </p:cBhvr>
                                    </p:animEffect>
                                  </p:childTnLst>
                                </p:cTn>
                              </p:par>
                            </p:childTnLst>
                          </p:cTn>
                        </p:par>
                        <p:par>
                          <p:cTn id="90" fill="hold">
                            <p:stCondLst>
                              <p:cond delay="1600"/>
                            </p:stCondLst>
                            <p:childTnLst>
                              <p:par>
                                <p:cTn id="91" presetID="10" presetClass="entr" presetSubtype="0" fill="hold" nodeType="afterEffect">
                                  <p:stCondLst>
                                    <p:cond delay="900"/>
                                  </p:stCondLst>
                                  <p:childTnLst>
                                    <p:set>
                                      <p:cBhvr>
                                        <p:cTn id="92" dur="1" fill="hold">
                                          <p:stCondLst>
                                            <p:cond delay="0"/>
                                          </p:stCondLst>
                                        </p:cTn>
                                        <p:tgtEl>
                                          <p:spTgt spid="140"/>
                                        </p:tgtEl>
                                        <p:attrNameLst>
                                          <p:attrName>style.visibility</p:attrName>
                                        </p:attrNameLst>
                                      </p:cBhvr>
                                      <p:to>
                                        <p:strVal val="visible"/>
                                      </p:to>
                                    </p:set>
                                    <p:animEffect transition="in" filter="fade">
                                      <p:cBhvr>
                                        <p:cTn id="93" dur="400"/>
                                        <p:tgtEl>
                                          <p:spTgt spid="140"/>
                                        </p:tgtEl>
                                      </p:cBhvr>
                                    </p:animEffect>
                                  </p:childTnLst>
                                </p:cTn>
                              </p:par>
                              <p:par>
                                <p:cTn id="94" presetID="42" presetClass="path" presetSubtype="0" decel="100000" fill="hold" nodeType="withEffect">
                                  <p:stCondLst>
                                    <p:cond delay="600"/>
                                  </p:stCondLst>
                                  <p:childTnLst>
                                    <p:animMotion origin="layout" path="M -2.87465E-6 -2.91421E-6 L -2.87465E-6 0.09624 " pathEditMode="relative" rAng="0" ptsTypes="AA">
                                      <p:cBhvr>
                                        <p:cTn id="95" dur="700" spd="-100000" fill="hold"/>
                                        <p:tgtEl>
                                          <p:spTgt spid="140"/>
                                        </p:tgtEl>
                                        <p:attrNameLst>
                                          <p:attrName>ppt_x</p:attrName>
                                          <p:attrName>ppt_y</p:attrName>
                                        </p:attrNameLst>
                                      </p:cBhvr>
                                      <p:rCtr x="0" y="4812"/>
                                    </p:animMotion>
                                  </p:childTnLst>
                                </p:cTn>
                              </p:par>
                              <p:par>
                                <p:cTn id="96" presetID="10" presetClass="entr" presetSubtype="0" fill="hold" nodeType="withEffect">
                                  <p:stCondLst>
                                    <p:cond delay="900"/>
                                  </p:stCondLst>
                                  <p:childTnLst>
                                    <p:set>
                                      <p:cBhvr>
                                        <p:cTn id="97" dur="1" fill="hold">
                                          <p:stCondLst>
                                            <p:cond delay="0"/>
                                          </p:stCondLst>
                                        </p:cTn>
                                        <p:tgtEl>
                                          <p:spTgt spid="145"/>
                                        </p:tgtEl>
                                        <p:attrNameLst>
                                          <p:attrName>style.visibility</p:attrName>
                                        </p:attrNameLst>
                                      </p:cBhvr>
                                      <p:to>
                                        <p:strVal val="visible"/>
                                      </p:to>
                                    </p:set>
                                    <p:animEffect transition="in" filter="fade">
                                      <p:cBhvr>
                                        <p:cTn id="98" dur="400"/>
                                        <p:tgtEl>
                                          <p:spTgt spid="145"/>
                                        </p:tgtEl>
                                      </p:cBhvr>
                                    </p:animEffect>
                                  </p:childTnLst>
                                </p:cTn>
                              </p:par>
                              <p:par>
                                <p:cTn id="99" presetID="42" presetClass="path" presetSubtype="0" decel="100000" fill="hold" nodeType="withEffect">
                                  <p:stCondLst>
                                    <p:cond delay="600"/>
                                  </p:stCondLst>
                                  <p:childTnLst>
                                    <p:animMotion origin="layout" path="M 3.65075E-7 -3.12755E-6 L 3.65075E-7 0.09624 " pathEditMode="relative" rAng="0" ptsTypes="AA">
                                      <p:cBhvr>
                                        <p:cTn id="100" dur="700" spd="-100000" fill="hold"/>
                                        <p:tgtEl>
                                          <p:spTgt spid="145"/>
                                        </p:tgtEl>
                                        <p:attrNameLst>
                                          <p:attrName>ppt_x</p:attrName>
                                          <p:attrName>ppt_y</p:attrName>
                                        </p:attrNameLst>
                                      </p:cBhvr>
                                      <p:rCtr x="0" y="4812"/>
                                    </p:animMotion>
                                  </p:childTnLst>
                                </p:cTn>
                              </p:par>
                              <p:par>
                                <p:cTn id="101" presetID="10" presetClass="entr" presetSubtype="0" fill="hold" nodeType="withEffect">
                                  <p:stCondLst>
                                    <p:cond delay="900"/>
                                  </p:stCondLst>
                                  <p:childTnLst>
                                    <p:set>
                                      <p:cBhvr>
                                        <p:cTn id="102" dur="1" fill="hold">
                                          <p:stCondLst>
                                            <p:cond delay="0"/>
                                          </p:stCondLst>
                                        </p:cTn>
                                        <p:tgtEl>
                                          <p:spTgt spid="149"/>
                                        </p:tgtEl>
                                        <p:attrNameLst>
                                          <p:attrName>style.visibility</p:attrName>
                                        </p:attrNameLst>
                                      </p:cBhvr>
                                      <p:to>
                                        <p:strVal val="visible"/>
                                      </p:to>
                                    </p:set>
                                    <p:animEffect transition="in" filter="fade">
                                      <p:cBhvr>
                                        <p:cTn id="103" dur="400"/>
                                        <p:tgtEl>
                                          <p:spTgt spid="149"/>
                                        </p:tgtEl>
                                      </p:cBhvr>
                                    </p:animEffect>
                                  </p:childTnLst>
                                </p:cTn>
                              </p:par>
                              <p:par>
                                <p:cTn id="104" presetID="42" presetClass="path" presetSubtype="0" decel="100000" fill="hold" nodeType="withEffect">
                                  <p:stCondLst>
                                    <p:cond delay="600"/>
                                  </p:stCondLst>
                                  <p:childTnLst>
                                    <p:animMotion origin="layout" path="M -1.51902E-6 -1.34816E-6 L -1.51902E-6 0.09623 " pathEditMode="relative" rAng="0" ptsTypes="AA">
                                      <p:cBhvr>
                                        <p:cTn id="105" dur="700" spd="-100000" fill="hold"/>
                                        <p:tgtEl>
                                          <p:spTgt spid="149"/>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animBg="1"/>
      <p:bldP spid="57" grpId="0" animBg="1"/>
      <p:bldP spid="65" grpId="0" animBg="1"/>
      <p:bldP spid="105" grpId="0" animBg="1"/>
      <p:bldP spid="106" grpId="0" animBg="1"/>
      <p:bldP spid="107" grpId="0" animBg="1"/>
      <p:bldP spid="108" grpId="0" animBg="1"/>
      <p:bldP spid="115" grpId="0"/>
      <p:bldP spid="115" grpId="1"/>
      <p:bldP spid="116" grpId="0" animBg="1"/>
      <p:bldP spid="129" grpId="0" animBg="1"/>
      <p:bldP spid="130" grpId="0" animBg="1"/>
      <p:bldP spid="131"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Datacenter </a:t>
            </a:r>
          </a:p>
        </p:txBody>
      </p:sp>
      <p:pic>
        <p:nvPicPr>
          <p:cNvPr id="37" name="Picture 36">
            <a:extLst>
              <a:ext uri="{FF2B5EF4-FFF2-40B4-BE49-F238E27FC236}">
                <a16:creationId xmlns:a16="http://schemas.microsoft.com/office/drawing/2014/main" id="{9655CF10-BA43-443B-B636-B12115727F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837" r="7270"/>
          <a:stretch/>
        </p:blipFill>
        <p:spPr>
          <a:xfrm>
            <a:off x="0" y="1289717"/>
            <a:ext cx="12435592" cy="5704808"/>
          </a:xfrm>
          <a:prstGeom prst="rect">
            <a:avLst/>
          </a:prstGeom>
        </p:spPr>
      </p:pic>
    </p:spTree>
    <p:extLst>
      <p:ext uri="{BB962C8B-B14F-4D97-AF65-F5344CB8AC3E}">
        <p14:creationId xmlns:p14="http://schemas.microsoft.com/office/powerpoint/2010/main" val="360358821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5122397" y="2322540"/>
            <a:ext cx="6513875" cy="37111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A733DA03-34DD-4B7A-8559-1DC599C45414}"/>
              </a:ext>
            </a:extLst>
          </p:cNvPr>
          <p:cNvSpPr/>
          <p:nvPr/>
        </p:nvSpPr>
        <p:spPr bwMode="auto">
          <a:xfrm>
            <a:off x="9064649" y="3607454"/>
            <a:ext cx="1984022" cy="20216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8" name="Straight Arrow Connector 3">
            <a:extLst>
              <a:ext uri="{FF2B5EF4-FFF2-40B4-BE49-F238E27FC236}">
                <a16:creationId xmlns:a16="http://schemas.microsoft.com/office/drawing/2014/main" id="{179013E5-7CD0-4702-B910-06DAAB4E8429}"/>
              </a:ext>
            </a:extLst>
          </p:cNvPr>
          <p:cNvCxnSpPr>
            <a:cxnSpLocks/>
          </p:cNvCxnSpPr>
          <p:nvPr/>
        </p:nvCxnSpPr>
        <p:spPr>
          <a:xfrm flipH="1">
            <a:off x="9246550" y="2340947"/>
            <a:ext cx="1526729" cy="492081"/>
          </a:xfrm>
          <a:prstGeom prst="straightConnector1">
            <a:avLst/>
          </a:prstGeom>
          <a:ln w="57150">
            <a:solidFill>
              <a:srgbClr val="00B050"/>
            </a:solidFill>
            <a:prstDash val="solid"/>
            <a:headEnd type="none"/>
            <a:tailEnd type="triangle"/>
          </a:ln>
        </p:spPr>
        <p:style>
          <a:lnRef idx="1">
            <a:schemeClr val="accent2"/>
          </a:lnRef>
          <a:fillRef idx="0">
            <a:schemeClr val="accent2"/>
          </a:fillRef>
          <a:effectRef idx="0">
            <a:schemeClr val="accent2"/>
          </a:effectRef>
          <a:fontRef idx="minor">
            <a:schemeClr val="tx1"/>
          </a:fontRef>
        </p:style>
      </p:cxn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6" name="Rectangle: Rounded Corners 5">
            <a:extLst>
              <a:ext uri="{FF2B5EF4-FFF2-40B4-BE49-F238E27FC236}">
                <a16:creationId xmlns:a16="http://schemas.microsoft.com/office/drawing/2014/main" id="{35987DA6-3948-4F50-813C-C1CC9A171963}"/>
              </a:ext>
            </a:extLst>
          </p:cNvPr>
          <p:cNvSpPr/>
          <p:nvPr/>
        </p:nvSpPr>
        <p:spPr bwMode="auto">
          <a:xfrm>
            <a:off x="6005355" y="4352700"/>
            <a:ext cx="2777383" cy="130282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gt;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90" name="TextBox 89">
            <a:extLst>
              <a:ext uri="{FF2B5EF4-FFF2-40B4-BE49-F238E27FC236}">
                <a16:creationId xmlns:a16="http://schemas.microsoft.com/office/drawing/2014/main" id="{4DA02B6E-C358-4192-BFA5-7CA6ADBA9511}"/>
              </a:ext>
            </a:extLst>
          </p:cNvPr>
          <p:cNvSpPr txBox="1"/>
          <p:nvPr/>
        </p:nvSpPr>
        <p:spPr>
          <a:xfrm>
            <a:off x="7153187" y="2887891"/>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10"/>
          <a:stretch>
            <a:fillRect/>
          </a:stretch>
        </p:blipFill>
        <p:spPr>
          <a:xfrm>
            <a:off x="7119075" y="4551064"/>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6923284" y="4972265"/>
            <a:ext cx="1034864"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isk Storage</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1"/>
          <a:stretch>
            <a:fillRect/>
          </a:stretch>
        </p:blipFill>
        <p:spPr>
          <a:xfrm>
            <a:off x="6067007" y="4434932"/>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6"/>
          <a:stretch>
            <a:fillRect/>
          </a:stretch>
        </p:blipFill>
        <p:spPr>
          <a:xfrm>
            <a:off x="5820127" y="4884399"/>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5828329" y="5013327"/>
            <a:ext cx="1217469"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Site Recovery</a:t>
            </a:r>
          </a:p>
        </p:txBody>
      </p:sp>
      <p:pic>
        <p:nvPicPr>
          <p:cNvPr id="3" name="Picture 2">
            <a:extLst>
              <a:ext uri="{FF2B5EF4-FFF2-40B4-BE49-F238E27FC236}">
                <a16:creationId xmlns:a16="http://schemas.microsoft.com/office/drawing/2014/main" id="{93384008-8AFC-497D-8955-9D3B41C0444F}"/>
              </a:ext>
            </a:extLst>
          </p:cNvPr>
          <p:cNvPicPr>
            <a:picLocks noChangeAspect="1"/>
          </p:cNvPicPr>
          <p:nvPr/>
        </p:nvPicPr>
        <p:blipFill>
          <a:blip r:embed="rId12"/>
          <a:stretch>
            <a:fillRect/>
          </a:stretch>
        </p:blipFill>
        <p:spPr>
          <a:xfrm>
            <a:off x="8024201" y="4537982"/>
            <a:ext cx="574360" cy="592385"/>
          </a:xfrm>
          <a:prstGeom prst="rect">
            <a:avLst/>
          </a:prstGeom>
        </p:spPr>
      </p:pic>
      <p:sp>
        <p:nvSpPr>
          <p:cNvPr id="57" name="TextBox 56">
            <a:extLst>
              <a:ext uri="{FF2B5EF4-FFF2-40B4-BE49-F238E27FC236}">
                <a16:creationId xmlns:a16="http://schemas.microsoft.com/office/drawing/2014/main" id="{CA5C7495-0A4C-41C4-8457-35C8FCF0BFBF}"/>
              </a:ext>
            </a:extLst>
          </p:cNvPr>
          <p:cNvSpPr txBox="1"/>
          <p:nvPr/>
        </p:nvSpPr>
        <p:spPr>
          <a:xfrm>
            <a:off x="7758464" y="4993671"/>
            <a:ext cx="110583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Recovery Plan</a:t>
            </a:r>
          </a:p>
        </p:txBody>
      </p:sp>
      <p:pic>
        <p:nvPicPr>
          <p:cNvPr id="60" name="Picture 59">
            <a:extLst>
              <a:ext uri="{FF2B5EF4-FFF2-40B4-BE49-F238E27FC236}">
                <a16:creationId xmlns:a16="http://schemas.microsoft.com/office/drawing/2014/main" id="{649526F0-FC23-4F47-811F-4A762ED2B4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970" y="4567966"/>
            <a:ext cx="465041" cy="465527"/>
          </a:xfrm>
          <a:prstGeom prst="rect">
            <a:avLst/>
          </a:prstGeom>
        </p:spPr>
      </p:pic>
      <p:sp>
        <p:nvSpPr>
          <p:cNvPr id="61" name="TextBox 60">
            <a:extLst>
              <a:ext uri="{FF2B5EF4-FFF2-40B4-BE49-F238E27FC236}">
                <a16:creationId xmlns:a16="http://schemas.microsoft.com/office/drawing/2014/main" id="{906E89DC-823E-4738-9166-F5502EBAF19D}"/>
              </a:ext>
            </a:extLst>
          </p:cNvPr>
          <p:cNvSpPr txBox="1"/>
          <p:nvPr/>
        </p:nvSpPr>
        <p:spPr>
          <a:xfrm>
            <a:off x="9007519" y="4903437"/>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Secondary</a:t>
            </a:r>
          </a:p>
        </p:txBody>
      </p:sp>
      <p:pic>
        <p:nvPicPr>
          <p:cNvPr id="62" name="Picture 61">
            <a:extLst>
              <a:ext uri="{FF2B5EF4-FFF2-40B4-BE49-F238E27FC236}">
                <a16:creationId xmlns:a16="http://schemas.microsoft.com/office/drawing/2014/main" id="{8B460B14-2E02-4419-82FA-663CD65BC22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15041" y="4588750"/>
            <a:ext cx="465041" cy="465527"/>
          </a:xfrm>
          <a:prstGeom prst="rect">
            <a:avLst/>
          </a:prstGeom>
        </p:spPr>
      </p:pic>
      <p:sp>
        <p:nvSpPr>
          <p:cNvPr id="63" name="TextBox 62">
            <a:extLst>
              <a:ext uri="{FF2B5EF4-FFF2-40B4-BE49-F238E27FC236}">
                <a16:creationId xmlns:a16="http://schemas.microsoft.com/office/drawing/2014/main" id="{76ADE780-0C1A-4CA0-B42B-0CA48602E853}"/>
              </a:ext>
            </a:extLst>
          </p:cNvPr>
          <p:cNvSpPr txBox="1"/>
          <p:nvPr/>
        </p:nvSpPr>
        <p:spPr>
          <a:xfrm>
            <a:off x="9853590" y="4924221"/>
            <a:ext cx="1207093"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pic>
        <p:nvPicPr>
          <p:cNvPr id="64" name="Picture 63">
            <a:extLst>
              <a:ext uri="{FF2B5EF4-FFF2-40B4-BE49-F238E27FC236}">
                <a16:creationId xmlns:a16="http://schemas.microsoft.com/office/drawing/2014/main" id="{229975A9-22C6-441D-B42B-170EB292F37D}"/>
              </a:ext>
            </a:extLst>
          </p:cNvPr>
          <p:cNvPicPr>
            <a:picLocks noChangeAspect="1"/>
          </p:cNvPicPr>
          <p:nvPr/>
        </p:nvPicPr>
        <p:blipFill>
          <a:blip r:embed="rId4"/>
          <a:stretch>
            <a:fillRect/>
          </a:stretch>
        </p:blipFill>
        <p:spPr>
          <a:xfrm>
            <a:off x="9699517" y="3883152"/>
            <a:ext cx="418163" cy="613663"/>
          </a:xfrm>
          <a:prstGeom prst="rect">
            <a:avLst/>
          </a:prstGeom>
        </p:spPr>
      </p:pic>
      <p:cxnSp>
        <p:nvCxnSpPr>
          <p:cNvPr id="65" name="Straight Arrow Connector 64">
            <a:extLst>
              <a:ext uri="{FF2B5EF4-FFF2-40B4-BE49-F238E27FC236}">
                <a16:creationId xmlns:a16="http://schemas.microsoft.com/office/drawing/2014/main" id="{D44064AD-F124-4CE1-ADE5-EE2471668E09}"/>
              </a:ext>
            </a:extLst>
          </p:cNvPr>
          <p:cNvCxnSpPr>
            <a:cxnSpLocks/>
            <a:stCxn id="64" idx="1"/>
          </p:cNvCxnSpPr>
          <p:nvPr/>
        </p:nvCxnSpPr>
        <p:spPr>
          <a:xfrm flipH="1" flipV="1">
            <a:off x="9293721" y="4182866"/>
            <a:ext cx="405796" cy="711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18A9C1B2-7DA0-4189-8013-8E515BAE385A}"/>
              </a:ext>
            </a:extLst>
          </p:cNvPr>
          <p:cNvSpPr txBox="1"/>
          <p:nvPr/>
        </p:nvSpPr>
        <p:spPr>
          <a:xfrm>
            <a:off x="9958685" y="3956531"/>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 name="Picture 7">
            <a:extLst>
              <a:ext uri="{FF2B5EF4-FFF2-40B4-BE49-F238E27FC236}">
                <a16:creationId xmlns:a16="http://schemas.microsoft.com/office/drawing/2014/main" id="{E0BFDAD7-C454-4327-ACE6-E1388005B8EB}"/>
              </a:ext>
            </a:extLst>
          </p:cNvPr>
          <p:cNvPicPr>
            <a:picLocks noChangeAspect="1"/>
          </p:cNvPicPr>
          <p:nvPr/>
        </p:nvPicPr>
        <p:blipFill>
          <a:blip r:embed="rId3"/>
          <a:stretch>
            <a:fillRect/>
          </a:stretch>
        </p:blipFill>
        <p:spPr>
          <a:xfrm>
            <a:off x="9059007" y="3598908"/>
            <a:ext cx="2001676" cy="2051109"/>
          </a:xfrm>
          <a:prstGeom prst="rect">
            <a:avLst/>
          </a:prstGeom>
        </p:spPr>
      </p:pic>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9892" y="4639223"/>
            <a:ext cx="3138426" cy="2223055"/>
          </a:xfrm>
          <a:prstGeom prst="rect">
            <a:avLst/>
          </a:prstGeom>
        </p:spPr>
      </p:pic>
      <p:pic>
        <p:nvPicPr>
          <p:cNvPr id="70" name="Picture 69">
            <a:extLst>
              <a:ext uri="{FF2B5EF4-FFF2-40B4-BE49-F238E27FC236}">
                <a16:creationId xmlns:a16="http://schemas.microsoft.com/office/drawing/2014/main" id="{789BD7BF-CAA4-4DE3-A261-0AF20E803B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91218" y="3674952"/>
            <a:ext cx="455841" cy="254234"/>
          </a:xfrm>
          <a:prstGeom prst="rect">
            <a:avLst/>
          </a:prstGeom>
        </p:spPr>
      </p:pic>
      <p:sp>
        <p:nvSpPr>
          <p:cNvPr id="71" name="TextBox 70">
            <a:extLst>
              <a:ext uri="{FF2B5EF4-FFF2-40B4-BE49-F238E27FC236}">
                <a16:creationId xmlns:a16="http://schemas.microsoft.com/office/drawing/2014/main" id="{94C268F4-599C-48F6-B24A-D815B737D28B}"/>
              </a:ext>
            </a:extLst>
          </p:cNvPr>
          <p:cNvSpPr txBox="1"/>
          <p:nvPr/>
        </p:nvSpPr>
        <p:spPr>
          <a:xfrm>
            <a:off x="5122398" y="1330365"/>
            <a:ext cx="5938285"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72" name="Straight Arrow Connector 3">
            <a:extLst>
              <a:ext uri="{FF2B5EF4-FFF2-40B4-BE49-F238E27FC236}">
                <a16:creationId xmlns:a16="http://schemas.microsoft.com/office/drawing/2014/main" id="{24AC9720-1789-42C9-936E-584AA896031A}"/>
              </a:ext>
            </a:extLst>
          </p:cNvPr>
          <p:cNvCxnSpPr>
            <a:cxnSpLocks/>
          </p:cNvCxnSpPr>
          <p:nvPr/>
        </p:nvCxnSpPr>
        <p:spPr>
          <a:xfrm rot="5400000" flipH="1" flipV="1">
            <a:off x="4933874" y="1915764"/>
            <a:ext cx="1203715" cy="8210740"/>
          </a:xfrm>
          <a:prstGeom prst="curvedConnector3">
            <a:avLst>
              <a:gd name="adj1" fmla="val -18991"/>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278902B3-F206-4EB6-9626-FF3E0C5C6069}"/>
              </a:ext>
            </a:extLst>
          </p:cNvPr>
          <p:cNvSpPr txBox="1"/>
          <p:nvPr/>
        </p:nvSpPr>
        <p:spPr>
          <a:xfrm>
            <a:off x="4375448" y="6474939"/>
            <a:ext cx="1968344"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cxnSp>
        <p:nvCxnSpPr>
          <p:cNvPr id="77" name="Straight Arrow Connector 3">
            <a:extLst>
              <a:ext uri="{FF2B5EF4-FFF2-40B4-BE49-F238E27FC236}">
                <a16:creationId xmlns:a16="http://schemas.microsoft.com/office/drawing/2014/main" id="{B3FE67C9-EF11-4D16-AC3A-A593E4EAB9DA}"/>
              </a:ext>
            </a:extLst>
          </p:cNvPr>
          <p:cNvCxnSpPr>
            <a:cxnSpLocks/>
            <a:endCxn id="48" idx="1"/>
          </p:cNvCxnSpPr>
          <p:nvPr/>
        </p:nvCxnSpPr>
        <p:spPr>
          <a:xfrm>
            <a:off x="3387007" y="4963317"/>
            <a:ext cx="2433120" cy="10782"/>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81" name="TextBox 80">
            <a:extLst>
              <a:ext uri="{FF2B5EF4-FFF2-40B4-BE49-F238E27FC236}">
                <a16:creationId xmlns:a16="http://schemas.microsoft.com/office/drawing/2014/main" id="{AF65A9AE-4916-427E-B2FD-8A8C2C80DE31}"/>
              </a:ext>
            </a:extLst>
          </p:cNvPr>
          <p:cNvSpPr txBox="1"/>
          <p:nvPr/>
        </p:nvSpPr>
        <p:spPr>
          <a:xfrm>
            <a:off x="3604347" y="4493198"/>
            <a:ext cx="1756818"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8C00">
                    <a:lumMod val="75000"/>
                  </a:srgbClr>
                </a:solidFill>
                <a:effectLst/>
                <a:uLnTx/>
                <a:uFillTx/>
                <a:latin typeface="Segoe UI"/>
                <a:ea typeface="+mn-ea"/>
                <a:cs typeface="+mn-cs"/>
              </a:rPr>
              <a:t>VM Disk Replication</a:t>
            </a:r>
          </a:p>
        </p:txBody>
      </p:sp>
      <p:cxnSp>
        <p:nvCxnSpPr>
          <p:cNvPr id="83" name="Straight Arrow Connector 3">
            <a:extLst>
              <a:ext uri="{FF2B5EF4-FFF2-40B4-BE49-F238E27FC236}">
                <a16:creationId xmlns:a16="http://schemas.microsoft.com/office/drawing/2014/main" id="{82D3827C-90F3-4197-B05D-9117CCBC3FFC}"/>
              </a:ext>
            </a:extLst>
          </p:cNvPr>
          <p:cNvCxnSpPr>
            <a:cxnSpLocks/>
          </p:cNvCxnSpPr>
          <p:nvPr/>
        </p:nvCxnSpPr>
        <p:spPr>
          <a:xfrm>
            <a:off x="3418318" y="3804012"/>
            <a:ext cx="2382230" cy="1099425"/>
          </a:xfrm>
          <a:prstGeom prst="straightConnector1">
            <a:avLst/>
          </a:prstGeom>
          <a:ln w="28575">
            <a:solidFill>
              <a:schemeClr val="accent6">
                <a:lumMod val="75000"/>
              </a:schemeClr>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grpSp>
        <p:nvGrpSpPr>
          <p:cNvPr id="87" name="Group 86">
            <a:extLst>
              <a:ext uri="{FF2B5EF4-FFF2-40B4-BE49-F238E27FC236}">
                <a16:creationId xmlns:a16="http://schemas.microsoft.com/office/drawing/2014/main" id="{420CB101-19E9-40A8-9252-34EB26978A28}"/>
              </a:ext>
            </a:extLst>
          </p:cNvPr>
          <p:cNvGrpSpPr/>
          <p:nvPr/>
        </p:nvGrpSpPr>
        <p:grpSpPr>
          <a:xfrm>
            <a:off x="10502769" y="1323170"/>
            <a:ext cx="1173509" cy="1351114"/>
            <a:chOff x="-119146" y="2898232"/>
            <a:chExt cx="1173509" cy="1351114"/>
          </a:xfrm>
        </p:grpSpPr>
        <p:pic>
          <p:nvPicPr>
            <p:cNvPr id="88" name="Picture 87">
              <a:extLst>
                <a:ext uri="{FF2B5EF4-FFF2-40B4-BE49-F238E27FC236}">
                  <a16:creationId xmlns:a16="http://schemas.microsoft.com/office/drawing/2014/main" id="{589D7F1F-61BE-4A7E-B994-E3947CC759E6}"/>
                </a:ext>
              </a:extLst>
            </p:cNvPr>
            <p:cNvPicPr>
              <a:picLocks noChangeAspect="1"/>
            </p:cNvPicPr>
            <p:nvPr/>
          </p:nvPicPr>
          <p:blipFill>
            <a:blip r:embed="rId13" cstate="email">
              <a:duotone>
                <a:prstClr val="black"/>
                <a:srgbClr val="0078D7">
                  <a:tint val="45000"/>
                  <a:satMod val="400000"/>
                </a:srgbClr>
              </a:duotone>
              <a:extLst>
                <a:ext uri="{28A0092B-C50C-407E-A947-70E740481C1C}">
                  <a14:useLocalDpi xmlns:a14="http://schemas.microsoft.com/office/drawing/2010/main"/>
                </a:ext>
              </a:extLst>
            </a:blip>
            <a:stretch>
              <a:fillRect/>
            </a:stretch>
          </p:blipFill>
          <p:spPr>
            <a:xfrm>
              <a:off x="134272" y="3582671"/>
              <a:ext cx="666675" cy="666675"/>
            </a:xfrm>
            <a:prstGeom prst="rect">
              <a:avLst/>
            </a:prstGeom>
          </p:spPr>
        </p:pic>
        <p:sp>
          <p:nvSpPr>
            <p:cNvPr id="97" name="TextBox 96">
              <a:extLst>
                <a:ext uri="{FF2B5EF4-FFF2-40B4-BE49-F238E27FC236}">
                  <a16:creationId xmlns:a16="http://schemas.microsoft.com/office/drawing/2014/main" id="{FC7EA9CA-6AC3-4C6B-B388-A57360EB1681}"/>
                </a:ext>
              </a:extLst>
            </p:cNvPr>
            <p:cNvSpPr txBox="1"/>
            <p:nvPr/>
          </p:nvSpPr>
          <p:spPr>
            <a:xfrm>
              <a:off x="-119146" y="2898232"/>
              <a:ext cx="1173509" cy="76020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AR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lumMod val="50000"/>
                    </a:srgbClr>
                  </a:solidFill>
                  <a:effectLst/>
                  <a:uLnTx/>
                  <a:uFillTx/>
                  <a:latin typeface="Segoe UI"/>
                  <a:ea typeface="+mn-ea"/>
                  <a:cs typeface="+mn-cs"/>
                </a:rPr>
                <a:t>Template</a:t>
              </a:r>
            </a:p>
          </p:txBody>
        </p:sp>
      </p:grpSp>
    </p:spTree>
    <p:extLst>
      <p:ext uri="{BB962C8B-B14F-4D97-AF65-F5344CB8AC3E}">
        <p14:creationId xmlns:p14="http://schemas.microsoft.com/office/powerpoint/2010/main" val="311147258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9" name="Rectangle: Rounded Corners 128">
            <a:extLst>
              <a:ext uri="{FF2B5EF4-FFF2-40B4-BE49-F238E27FC236}">
                <a16:creationId xmlns:a16="http://schemas.microsoft.com/office/drawing/2014/main" id="{92A2BA6C-AF42-4F53-ABF2-C4F1F5CB4FEF}"/>
              </a:ext>
            </a:extLst>
          </p:cNvPr>
          <p:cNvSpPr/>
          <p:nvPr/>
        </p:nvSpPr>
        <p:spPr bwMode="auto">
          <a:xfrm>
            <a:off x="3902044" y="5409461"/>
            <a:ext cx="4453843" cy="1263643"/>
          </a:xfrm>
          <a:prstGeom prst="roundRect">
            <a:avLst/>
          </a:prstGeom>
          <a:solidFill>
            <a:schemeClr val="bg1">
              <a:lumMod val="95000"/>
            </a:schemeClr>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04DB1FEA-4DA5-4759-B17E-CF0F7C7F2F65}"/>
              </a:ext>
            </a:extLst>
          </p:cNvPr>
          <p:cNvSpPr/>
          <p:nvPr/>
        </p:nvSpPr>
        <p:spPr bwMode="auto">
          <a:xfrm>
            <a:off x="296178"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29E34F95-03D9-462C-84F1-C79BF3B5A4FE}"/>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8" name="Picture 67">
            <a:extLst>
              <a:ext uri="{FF2B5EF4-FFF2-40B4-BE49-F238E27FC236}">
                <a16:creationId xmlns:a16="http://schemas.microsoft.com/office/drawing/2014/main" id="{FE01CA46-0B98-4DEA-95EE-2A9185DE6E0A}"/>
              </a:ext>
            </a:extLst>
          </p:cNvPr>
          <p:cNvPicPr>
            <a:picLocks noChangeAspect="1"/>
          </p:cNvPicPr>
          <p:nvPr/>
        </p:nvPicPr>
        <p:blipFill>
          <a:blip r:embed="rId3"/>
          <a:stretch>
            <a:fillRect/>
          </a:stretch>
        </p:blipFill>
        <p:spPr>
          <a:xfrm>
            <a:off x="282306" y="1901939"/>
            <a:ext cx="3156189" cy="2117807"/>
          </a:xfrm>
          <a:prstGeom prst="rect">
            <a:avLst/>
          </a:prstGeom>
        </p:spPr>
      </p:pic>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Regional Workload Protection – near (=)0 RTO</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4"/>
          <a:stretch>
            <a:fillRect/>
          </a:stretch>
        </p:blipFill>
        <p:spPr>
          <a:xfrm>
            <a:off x="432921" y="2774455"/>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88405"/>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14647"/>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378362"/>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6"/>
          <a:stretch>
            <a:fillRect/>
          </a:stretch>
        </p:blipFill>
        <p:spPr>
          <a:xfrm rot="16200000">
            <a:off x="1237128" y="3946385"/>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2918554"/>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1880" y="3468679"/>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72317" y="2851686"/>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0837"/>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6"/>
          <a:stretch>
            <a:fillRect/>
          </a:stretch>
        </p:blipFill>
        <p:spPr>
          <a:xfrm rot="10800000">
            <a:off x="3304742" y="2933009"/>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2040430"/>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117" y="4709083"/>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68" y="5077794"/>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1744" y="5672560"/>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498" y="6267326"/>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7929" y="5409461"/>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6"/>
          <a:stretch>
            <a:fillRect/>
          </a:stretch>
        </p:blipFill>
        <p:spPr>
          <a:xfrm rot="10800000">
            <a:off x="3284193" y="5531862"/>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1263"/>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176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2532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0257"/>
            <a:ext cx="1588452"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primary)</a:t>
            </a: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56" name="TextBox 55">
            <a:extLst>
              <a:ext uri="{FF2B5EF4-FFF2-40B4-BE49-F238E27FC236}">
                <a16:creationId xmlns:a16="http://schemas.microsoft.com/office/drawing/2014/main" id="{3E7BA675-5BED-4F0B-AB31-8B718EBBD2DF}"/>
              </a:ext>
            </a:extLst>
          </p:cNvPr>
          <p:cNvSpPr txBox="1"/>
          <p:nvPr/>
        </p:nvSpPr>
        <p:spPr>
          <a:xfrm>
            <a:off x="145398" y="1314139"/>
            <a:ext cx="3476306"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East</a:t>
            </a:r>
          </a:p>
        </p:txBody>
      </p:sp>
      <p:pic>
        <p:nvPicPr>
          <p:cNvPr id="69" name="Picture 68">
            <a:extLst>
              <a:ext uri="{FF2B5EF4-FFF2-40B4-BE49-F238E27FC236}">
                <a16:creationId xmlns:a16="http://schemas.microsoft.com/office/drawing/2014/main" id="{63196ADA-DD85-4331-BDA8-A6B2D0B82493}"/>
              </a:ext>
            </a:extLst>
          </p:cNvPr>
          <p:cNvPicPr>
            <a:picLocks noChangeAspect="1"/>
          </p:cNvPicPr>
          <p:nvPr/>
        </p:nvPicPr>
        <p:blipFill>
          <a:blip r:embed="rId3"/>
          <a:stretch>
            <a:fillRect/>
          </a:stretch>
        </p:blipFill>
        <p:spPr>
          <a:xfrm>
            <a:off x="271976" y="4640262"/>
            <a:ext cx="3138426" cy="2223055"/>
          </a:xfrm>
          <a:prstGeom prst="rect">
            <a:avLst/>
          </a:prstGeom>
        </p:spPr>
      </p:pic>
      <p:sp>
        <p:nvSpPr>
          <p:cNvPr id="67" name="Rectangle 66">
            <a:extLst>
              <a:ext uri="{FF2B5EF4-FFF2-40B4-BE49-F238E27FC236}">
                <a16:creationId xmlns:a16="http://schemas.microsoft.com/office/drawing/2014/main" id="{4C712A1C-4F56-4CEF-A006-8AD3EF019C93}"/>
              </a:ext>
            </a:extLst>
          </p:cNvPr>
          <p:cNvSpPr/>
          <p:nvPr/>
        </p:nvSpPr>
        <p:spPr bwMode="auto">
          <a:xfrm>
            <a:off x="8780727" y="4655563"/>
            <a:ext cx="3107115" cy="22067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220A4F69-F8DE-426E-8C35-73686087B70C}"/>
              </a:ext>
            </a:extLst>
          </p:cNvPr>
          <p:cNvSpPr/>
          <p:nvPr/>
        </p:nvSpPr>
        <p:spPr bwMode="auto">
          <a:xfrm>
            <a:off x="8790079"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Picture 73">
            <a:extLst>
              <a:ext uri="{FF2B5EF4-FFF2-40B4-BE49-F238E27FC236}">
                <a16:creationId xmlns:a16="http://schemas.microsoft.com/office/drawing/2014/main" id="{16E6D134-781C-47E5-9267-27A07FEB7E36}"/>
              </a:ext>
            </a:extLst>
          </p:cNvPr>
          <p:cNvPicPr>
            <a:picLocks noChangeAspect="1"/>
          </p:cNvPicPr>
          <p:nvPr/>
        </p:nvPicPr>
        <p:blipFill>
          <a:blip r:embed="rId3"/>
          <a:stretch>
            <a:fillRect/>
          </a:stretch>
        </p:blipFill>
        <p:spPr>
          <a:xfrm>
            <a:off x="8789427" y="1910471"/>
            <a:ext cx="3156189" cy="2117807"/>
          </a:xfrm>
          <a:prstGeom prst="rect">
            <a:avLst/>
          </a:prstGeom>
        </p:spPr>
      </p:pic>
      <p:pic>
        <p:nvPicPr>
          <p:cNvPr id="75" name="Picture 74">
            <a:extLst>
              <a:ext uri="{FF2B5EF4-FFF2-40B4-BE49-F238E27FC236}">
                <a16:creationId xmlns:a16="http://schemas.microsoft.com/office/drawing/2014/main" id="{87FB78D0-D23C-4530-8FB3-57C79D6F8BC0}"/>
              </a:ext>
            </a:extLst>
          </p:cNvPr>
          <p:cNvPicPr>
            <a:picLocks noChangeAspect="1"/>
          </p:cNvPicPr>
          <p:nvPr/>
        </p:nvPicPr>
        <p:blipFill>
          <a:blip r:embed="rId4"/>
          <a:stretch>
            <a:fillRect/>
          </a:stretch>
        </p:blipFill>
        <p:spPr>
          <a:xfrm>
            <a:off x="11435656" y="2721217"/>
            <a:ext cx="418163" cy="627900"/>
          </a:xfrm>
          <a:prstGeom prst="rect">
            <a:avLst/>
          </a:prstGeom>
        </p:spPr>
      </p:pic>
      <p:cxnSp>
        <p:nvCxnSpPr>
          <p:cNvPr id="78" name="Straight Arrow Connector 77">
            <a:extLst>
              <a:ext uri="{FF2B5EF4-FFF2-40B4-BE49-F238E27FC236}">
                <a16:creationId xmlns:a16="http://schemas.microsoft.com/office/drawing/2014/main" id="{1231888F-7BCE-4ED7-8A62-A6A78F052C64}"/>
              </a:ext>
            </a:extLst>
          </p:cNvPr>
          <p:cNvCxnSpPr>
            <a:cxnSpLocks/>
            <a:stCxn id="75" idx="3"/>
          </p:cNvCxnSpPr>
          <p:nvPr/>
        </p:nvCxnSpPr>
        <p:spPr>
          <a:xfrm>
            <a:off x="11853819" y="3035167"/>
            <a:ext cx="392304"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68515E61-63A8-4426-897D-8196910E3F1D}"/>
              </a:ext>
            </a:extLst>
          </p:cNvPr>
          <p:cNvSpPr txBox="1"/>
          <p:nvPr/>
        </p:nvSpPr>
        <p:spPr>
          <a:xfrm>
            <a:off x="11285041" y="3261409"/>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84" name="Picture 83">
            <a:extLst>
              <a:ext uri="{FF2B5EF4-FFF2-40B4-BE49-F238E27FC236}">
                <a16:creationId xmlns:a16="http://schemas.microsoft.com/office/drawing/2014/main" id="{0DDB9739-FB96-4855-870E-839F631302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378362"/>
            <a:ext cx="465041" cy="465527"/>
          </a:xfrm>
          <a:prstGeom prst="rect">
            <a:avLst/>
          </a:prstGeom>
        </p:spPr>
      </p:pic>
      <p:pic>
        <p:nvPicPr>
          <p:cNvPr id="85" name="Picture 84">
            <a:extLst>
              <a:ext uri="{FF2B5EF4-FFF2-40B4-BE49-F238E27FC236}">
                <a16:creationId xmlns:a16="http://schemas.microsoft.com/office/drawing/2014/main" id="{A256F0D9-1E56-4468-9556-8F2C7C1D9287}"/>
              </a:ext>
            </a:extLst>
          </p:cNvPr>
          <p:cNvPicPr>
            <a:picLocks noChangeAspect="1"/>
          </p:cNvPicPr>
          <p:nvPr/>
        </p:nvPicPr>
        <p:blipFill>
          <a:blip r:embed="rId6"/>
          <a:stretch>
            <a:fillRect/>
          </a:stretch>
        </p:blipFill>
        <p:spPr>
          <a:xfrm rot="16200000">
            <a:off x="9721677" y="3946385"/>
            <a:ext cx="288731" cy="179400"/>
          </a:xfrm>
          <a:prstGeom prst="rect">
            <a:avLst/>
          </a:prstGeom>
        </p:spPr>
      </p:pic>
      <p:pic>
        <p:nvPicPr>
          <p:cNvPr id="86" name="Picture 85">
            <a:extLst>
              <a:ext uri="{FF2B5EF4-FFF2-40B4-BE49-F238E27FC236}">
                <a16:creationId xmlns:a16="http://schemas.microsoft.com/office/drawing/2014/main" id="{0320787C-9952-4839-B674-D11A49D952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2918554"/>
            <a:ext cx="465041" cy="465527"/>
          </a:xfrm>
          <a:prstGeom prst="rect">
            <a:avLst/>
          </a:prstGeom>
        </p:spPr>
      </p:pic>
      <p:pic>
        <p:nvPicPr>
          <p:cNvPr id="89" name="Picture 88">
            <a:extLst>
              <a:ext uri="{FF2B5EF4-FFF2-40B4-BE49-F238E27FC236}">
                <a16:creationId xmlns:a16="http://schemas.microsoft.com/office/drawing/2014/main" id="{4E95A25B-884E-4E5C-A7E4-8EF86E1460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6429" y="3468679"/>
            <a:ext cx="465041" cy="465527"/>
          </a:xfrm>
          <a:prstGeom prst="rect">
            <a:avLst/>
          </a:prstGeom>
        </p:spPr>
      </p:pic>
      <p:sp>
        <p:nvSpPr>
          <p:cNvPr id="91" name="TextBox 90">
            <a:extLst>
              <a:ext uri="{FF2B5EF4-FFF2-40B4-BE49-F238E27FC236}">
                <a16:creationId xmlns:a16="http://schemas.microsoft.com/office/drawing/2014/main" id="{1238E96C-996B-4680-BF97-FE49AECD4322}"/>
              </a:ext>
            </a:extLst>
          </p:cNvPr>
          <p:cNvSpPr txBox="1"/>
          <p:nvPr/>
        </p:nvSpPr>
        <p:spPr>
          <a:xfrm>
            <a:off x="9963493" y="2343663"/>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93" name="TextBox 92">
            <a:extLst>
              <a:ext uri="{FF2B5EF4-FFF2-40B4-BE49-F238E27FC236}">
                <a16:creationId xmlns:a16="http://schemas.microsoft.com/office/drawing/2014/main" id="{D655D7C8-903F-47C7-8A95-CF61620FFD2A}"/>
              </a:ext>
            </a:extLst>
          </p:cNvPr>
          <p:cNvSpPr txBox="1"/>
          <p:nvPr/>
        </p:nvSpPr>
        <p:spPr>
          <a:xfrm>
            <a:off x="9963493" y="2867727"/>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Backup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Svr</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sp>
        <p:nvSpPr>
          <p:cNvPr id="95" name="TextBox 94">
            <a:extLst>
              <a:ext uri="{FF2B5EF4-FFF2-40B4-BE49-F238E27FC236}">
                <a16:creationId xmlns:a16="http://schemas.microsoft.com/office/drawing/2014/main" id="{437CB76B-213C-47A7-8E53-60E6EEEC85BF}"/>
              </a:ext>
            </a:extLst>
          </p:cNvPr>
          <p:cNvSpPr txBox="1"/>
          <p:nvPr/>
        </p:nvSpPr>
        <p:spPr>
          <a:xfrm>
            <a:off x="9963493" y="3402355"/>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96" name="Picture 95">
            <a:extLst>
              <a:ext uri="{FF2B5EF4-FFF2-40B4-BE49-F238E27FC236}">
                <a16:creationId xmlns:a16="http://schemas.microsoft.com/office/drawing/2014/main" id="{8331B024-9984-4BD5-8B7F-F5A5F98F821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85887" y="2827424"/>
            <a:ext cx="465041" cy="465527"/>
          </a:xfrm>
          <a:prstGeom prst="rect">
            <a:avLst/>
          </a:prstGeom>
        </p:spPr>
      </p:pic>
      <p:sp>
        <p:nvSpPr>
          <p:cNvPr id="100" name="TextBox 99">
            <a:extLst>
              <a:ext uri="{FF2B5EF4-FFF2-40B4-BE49-F238E27FC236}">
                <a16:creationId xmlns:a16="http://schemas.microsoft.com/office/drawing/2014/main" id="{603D5AE8-8203-4CB9-8412-A43B9B4230BE}"/>
              </a:ext>
            </a:extLst>
          </p:cNvPr>
          <p:cNvSpPr txBox="1"/>
          <p:nvPr/>
        </p:nvSpPr>
        <p:spPr>
          <a:xfrm>
            <a:off x="8758354" y="3186575"/>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101" name="Picture 100">
            <a:extLst>
              <a:ext uri="{FF2B5EF4-FFF2-40B4-BE49-F238E27FC236}">
                <a16:creationId xmlns:a16="http://schemas.microsoft.com/office/drawing/2014/main" id="{78964861-42AC-44DD-8A1B-D7E3CCECF938}"/>
              </a:ext>
            </a:extLst>
          </p:cNvPr>
          <p:cNvPicPr>
            <a:picLocks noChangeAspect="1"/>
          </p:cNvPicPr>
          <p:nvPr/>
        </p:nvPicPr>
        <p:blipFill>
          <a:blip r:embed="rId6"/>
          <a:stretch>
            <a:fillRect/>
          </a:stretch>
        </p:blipFill>
        <p:spPr>
          <a:xfrm rot="10800000" flipH="1">
            <a:off x="8618865" y="2924171"/>
            <a:ext cx="288731" cy="179400"/>
          </a:xfrm>
          <a:prstGeom prst="rect">
            <a:avLst/>
          </a:prstGeom>
        </p:spPr>
      </p:pic>
      <p:sp>
        <p:nvSpPr>
          <p:cNvPr id="102" name="TextBox 101">
            <a:extLst>
              <a:ext uri="{FF2B5EF4-FFF2-40B4-BE49-F238E27FC236}">
                <a16:creationId xmlns:a16="http://schemas.microsoft.com/office/drawing/2014/main" id="{A1CEDA41-C063-4E72-804A-536FEB25556B}"/>
              </a:ext>
            </a:extLst>
          </p:cNvPr>
          <p:cNvSpPr txBox="1"/>
          <p:nvPr/>
        </p:nvSpPr>
        <p:spPr>
          <a:xfrm>
            <a:off x="9229616" y="1919031"/>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103" name="Picture 102">
            <a:extLst>
              <a:ext uri="{FF2B5EF4-FFF2-40B4-BE49-F238E27FC236}">
                <a16:creationId xmlns:a16="http://schemas.microsoft.com/office/drawing/2014/main" id="{AA061A11-689D-4989-B3AE-D2D1FAC9845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2040430"/>
            <a:ext cx="455841" cy="254234"/>
          </a:xfrm>
          <a:prstGeom prst="rect">
            <a:avLst/>
          </a:prstGeom>
        </p:spPr>
      </p:pic>
      <p:sp>
        <p:nvSpPr>
          <p:cNvPr id="104" name="TextBox 103">
            <a:extLst>
              <a:ext uri="{FF2B5EF4-FFF2-40B4-BE49-F238E27FC236}">
                <a16:creationId xmlns:a16="http://schemas.microsoft.com/office/drawing/2014/main" id="{596B46E6-36AA-47EB-9D49-1A14ECC3C49B}"/>
              </a:ext>
            </a:extLst>
          </p:cNvPr>
          <p:cNvSpPr txBox="1"/>
          <p:nvPr/>
        </p:nvSpPr>
        <p:spPr>
          <a:xfrm>
            <a:off x="9229615" y="4587684"/>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105" name="Picture 104">
            <a:extLst>
              <a:ext uri="{FF2B5EF4-FFF2-40B4-BE49-F238E27FC236}">
                <a16:creationId xmlns:a16="http://schemas.microsoft.com/office/drawing/2014/main" id="{55BA3FD7-BFC6-4712-A4B2-35AD9E068FA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31666" y="4709083"/>
            <a:ext cx="455841" cy="254234"/>
          </a:xfrm>
          <a:prstGeom prst="rect">
            <a:avLst/>
          </a:prstGeom>
        </p:spPr>
      </p:pic>
      <p:pic>
        <p:nvPicPr>
          <p:cNvPr id="106" name="Picture 105">
            <a:extLst>
              <a:ext uri="{FF2B5EF4-FFF2-40B4-BE49-F238E27FC236}">
                <a16:creationId xmlns:a16="http://schemas.microsoft.com/office/drawing/2014/main" id="{8218252A-C5A6-4E95-89DC-C2E73509901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80932" y="5061198"/>
            <a:ext cx="512011" cy="505060"/>
          </a:xfrm>
          <a:prstGeom prst="rect">
            <a:avLst/>
          </a:prstGeom>
        </p:spPr>
      </p:pic>
      <p:pic>
        <p:nvPicPr>
          <p:cNvPr id="107" name="Picture 106">
            <a:extLst>
              <a:ext uri="{FF2B5EF4-FFF2-40B4-BE49-F238E27FC236}">
                <a16:creationId xmlns:a16="http://schemas.microsoft.com/office/drawing/2014/main" id="{ECD8DEE4-7980-40B5-B275-2BC0B26D8A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98808" y="5655964"/>
            <a:ext cx="512011" cy="505060"/>
          </a:xfrm>
          <a:prstGeom prst="rect">
            <a:avLst/>
          </a:prstGeom>
        </p:spPr>
      </p:pic>
      <p:pic>
        <p:nvPicPr>
          <p:cNvPr id="108" name="Picture 107">
            <a:extLst>
              <a:ext uri="{FF2B5EF4-FFF2-40B4-BE49-F238E27FC236}">
                <a16:creationId xmlns:a16="http://schemas.microsoft.com/office/drawing/2014/main" id="{000D468F-2FEB-4592-A7D8-623EF8D926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5364" y="6250730"/>
            <a:ext cx="475456" cy="465527"/>
          </a:xfrm>
          <a:prstGeom prst="rect">
            <a:avLst/>
          </a:prstGeom>
        </p:spPr>
      </p:pic>
      <p:pic>
        <p:nvPicPr>
          <p:cNvPr id="109" name="Picture 108">
            <a:extLst>
              <a:ext uri="{FF2B5EF4-FFF2-40B4-BE49-F238E27FC236}">
                <a16:creationId xmlns:a16="http://schemas.microsoft.com/office/drawing/2014/main" id="{60AA64C4-B767-4DFF-B5C8-0DCE04EE9FA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884094" y="5398627"/>
            <a:ext cx="470018" cy="470510"/>
          </a:xfrm>
          <a:prstGeom prst="rect">
            <a:avLst/>
          </a:prstGeom>
        </p:spPr>
      </p:pic>
      <p:pic>
        <p:nvPicPr>
          <p:cNvPr id="110" name="Picture 109">
            <a:extLst>
              <a:ext uri="{FF2B5EF4-FFF2-40B4-BE49-F238E27FC236}">
                <a16:creationId xmlns:a16="http://schemas.microsoft.com/office/drawing/2014/main" id="{D7D3B6FC-3DF8-48D1-A273-A0692715A62F}"/>
              </a:ext>
            </a:extLst>
          </p:cNvPr>
          <p:cNvPicPr>
            <a:picLocks noChangeAspect="1"/>
          </p:cNvPicPr>
          <p:nvPr/>
        </p:nvPicPr>
        <p:blipFill>
          <a:blip r:embed="rId6"/>
          <a:stretch>
            <a:fillRect/>
          </a:stretch>
        </p:blipFill>
        <p:spPr>
          <a:xfrm>
            <a:off x="8618865" y="5544181"/>
            <a:ext cx="288731" cy="179400"/>
          </a:xfrm>
          <a:prstGeom prst="rect">
            <a:avLst/>
          </a:prstGeom>
        </p:spPr>
      </p:pic>
      <p:sp>
        <p:nvSpPr>
          <p:cNvPr id="111" name="TextBox 110">
            <a:extLst>
              <a:ext uri="{FF2B5EF4-FFF2-40B4-BE49-F238E27FC236}">
                <a16:creationId xmlns:a16="http://schemas.microsoft.com/office/drawing/2014/main" id="{34FBF1A5-7EBF-4109-A454-4CC7910C75D2}"/>
              </a:ext>
            </a:extLst>
          </p:cNvPr>
          <p:cNvSpPr txBox="1"/>
          <p:nvPr/>
        </p:nvSpPr>
        <p:spPr>
          <a:xfrm>
            <a:off x="8599760" y="570042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112" name="TextBox 111">
            <a:extLst>
              <a:ext uri="{FF2B5EF4-FFF2-40B4-BE49-F238E27FC236}">
                <a16:creationId xmlns:a16="http://schemas.microsoft.com/office/drawing/2014/main" id="{E58B839E-7C78-42B9-9E93-88E6A6A59D5A}"/>
              </a:ext>
            </a:extLst>
          </p:cNvPr>
          <p:cNvSpPr txBox="1"/>
          <p:nvPr/>
        </p:nvSpPr>
        <p:spPr>
          <a:xfrm>
            <a:off x="10458289" y="510100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113" name="TextBox 112">
            <a:extLst>
              <a:ext uri="{FF2B5EF4-FFF2-40B4-BE49-F238E27FC236}">
                <a16:creationId xmlns:a16="http://schemas.microsoft.com/office/drawing/2014/main" id="{13BE80CA-BC5B-4050-A6C8-9DEA6A78D3B8}"/>
              </a:ext>
            </a:extLst>
          </p:cNvPr>
          <p:cNvSpPr txBox="1"/>
          <p:nvPr/>
        </p:nvSpPr>
        <p:spPr>
          <a:xfrm>
            <a:off x="10467759" y="5708728"/>
            <a:ext cx="162402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114" name="TextBox 113">
            <a:extLst>
              <a:ext uri="{FF2B5EF4-FFF2-40B4-BE49-F238E27FC236}">
                <a16:creationId xmlns:a16="http://schemas.microsoft.com/office/drawing/2014/main" id="{E0C601DB-7C4C-4037-AA9D-87D903B443E9}"/>
              </a:ext>
            </a:extLst>
          </p:cNvPr>
          <p:cNvSpPr txBox="1"/>
          <p:nvPr/>
        </p:nvSpPr>
        <p:spPr>
          <a:xfrm>
            <a:off x="10456293" y="6213661"/>
            <a:ext cx="1624028" cy="76020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1" u="none" strike="noStrike" kern="1200" cap="none" spc="0" normalizeH="0" baseline="0" noProof="0" dirty="0">
                <a:ln>
                  <a:noFill/>
                </a:ln>
                <a:solidFill>
                  <a:srgbClr val="0072C6">
                    <a:lumMod val="50000"/>
                  </a:srgbClr>
                </a:solidFill>
                <a:effectLst/>
                <a:uLnTx/>
                <a:uFillTx/>
                <a:latin typeface="Segoe UI"/>
                <a:ea typeface="+mn-ea"/>
                <a:cs typeface="+mn-cs"/>
              </a:rPr>
              <a:t>(secondary)</a:t>
            </a:r>
          </a:p>
        </p:txBody>
      </p:sp>
      <p:cxnSp>
        <p:nvCxnSpPr>
          <p:cNvPr id="115" name="Straight Arrow Connector 114">
            <a:extLst>
              <a:ext uri="{FF2B5EF4-FFF2-40B4-BE49-F238E27FC236}">
                <a16:creationId xmlns:a16="http://schemas.microsoft.com/office/drawing/2014/main" id="{BF8C3A2E-F7D3-43E9-82F5-84D883B4D8C4}"/>
              </a:ext>
            </a:extLst>
          </p:cNvPr>
          <p:cNvCxnSpPr>
            <a:cxnSpLocks/>
          </p:cNvCxnSpPr>
          <p:nvPr/>
        </p:nvCxnSpPr>
        <p:spPr>
          <a:xfrm flipV="1">
            <a:off x="9127482" y="4036085"/>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60912FE-6F7E-464F-953A-EC42E18D585B}"/>
              </a:ext>
            </a:extLst>
          </p:cNvPr>
          <p:cNvSpPr txBox="1"/>
          <p:nvPr/>
        </p:nvSpPr>
        <p:spPr>
          <a:xfrm>
            <a:off x="9068417" y="4149858"/>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117" name="TextBox 116">
            <a:extLst>
              <a:ext uri="{FF2B5EF4-FFF2-40B4-BE49-F238E27FC236}">
                <a16:creationId xmlns:a16="http://schemas.microsoft.com/office/drawing/2014/main" id="{092427DA-1F4A-440E-BC8B-AE7437B056B8}"/>
              </a:ext>
            </a:extLst>
          </p:cNvPr>
          <p:cNvSpPr txBox="1"/>
          <p:nvPr/>
        </p:nvSpPr>
        <p:spPr>
          <a:xfrm>
            <a:off x="8654343" y="1315005"/>
            <a:ext cx="3359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 – US West</a:t>
            </a:r>
          </a:p>
        </p:txBody>
      </p:sp>
      <p:pic>
        <p:nvPicPr>
          <p:cNvPr id="118" name="Picture 117">
            <a:extLst>
              <a:ext uri="{FF2B5EF4-FFF2-40B4-BE49-F238E27FC236}">
                <a16:creationId xmlns:a16="http://schemas.microsoft.com/office/drawing/2014/main" id="{A03B86A6-E989-4E66-9300-D684DBC73190}"/>
              </a:ext>
            </a:extLst>
          </p:cNvPr>
          <p:cNvPicPr>
            <a:picLocks noChangeAspect="1"/>
          </p:cNvPicPr>
          <p:nvPr/>
        </p:nvPicPr>
        <p:blipFill>
          <a:blip r:embed="rId3"/>
          <a:stretch>
            <a:fillRect/>
          </a:stretch>
        </p:blipFill>
        <p:spPr>
          <a:xfrm>
            <a:off x="8758354" y="4646246"/>
            <a:ext cx="3138426" cy="2223055"/>
          </a:xfrm>
          <a:prstGeom prst="rect">
            <a:avLst/>
          </a:prstGeom>
        </p:spPr>
      </p:pic>
      <p:pic>
        <p:nvPicPr>
          <p:cNvPr id="4" name="Picture 3">
            <a:extLst>
              <a:ext uri="{FF2B5EF4-FFF2-40B4-BE49-F238E27FC236}">
                <a16:creationId xmlns:a16="http://schemas.microsoft.com/office/drawing/2014/main" id="{E5BEED3C-ACE2-4E78-99AF-4443D697BF17}"/>
              </a:ext>
            </a:extLst>
          </p:cNvPr>
          <p:cNvPicPr>
            <a:picLocks noChangeAspect="1"/>
          </p:cNvPicPr>
          <p:nvPr/>
        </p:nvPicPr>
        <p:blipFill>
          <a:blip r:embed="rId10"/>
          <a:stretch>
            <a:fillRect/>
          </a:stretch>
        </p:blipFill>
        <p:spPr>
          <a:xfrm>
            <a:off x="5851985" y="3434606"/>
            <a:ext cx="566315" cy="590529"/>
          </a:xfrm>
          <a:prstGeom prst="rect">
            <a:avLst/>
          </a:prstGeom>
        </p:spPr>
      </p:pic>
      <p:pic>
        <p:nvPicPr>
          <p:cNvPr id="5" name="Picture 4">
            <a:extLst>
              <a:ext uri="{FF2B5EF4-FFF2-40B4-BE49-F238E27FC236}">
                <a16:creationId xmlns:a16="http://schemas.microsoft.com/office/drawing/2014/main" id="{AAB82346-0B6C-49B1-B169-60766772A9B5}"/>
              </a:ext>
            </a:extLst>
          </p:cNvPr>
          <p:cNvPicPr>
            <a:picLocks noChangeAspect="1"/>
          </p:cNvPicPr>
          <p:nvPr/>
        </p:nvPicPr>
        <p:blipFill>
          <a:blip r:embed="rId11"/>
          <a:stretch>
            <a:fillRect/>
          </a:stretch>
        </p:blipFill>
        <p:spPr>
          <a:xfrm>
            <a:off x="4651214" y="1328326"/>
            <a:ext cx="2882398" cy="1885138"/>
          </a:xfrm>
          <a:prstGeom prst="rect">
            <a:avLst/>
          </a:prstGeom>
        </p:spPr>
      </p:pic>
      <p:sp>
        <p:nvSpPr>
          <p:cNvPr id="119" name="TextBox 118">
            <a:extLst>
              <a:ext uri="{FF2B5EF4-FFF2-40B4-BE49-F238E27FC236}">
                <a16:creationId xmlns:a16="http://schemas.microsoft.com/office/drawing/2014/main" id="{36812C01-ED90-4041-9524-1C7F943A5AA2}"/>
              </a:ext>
            </a:extLst>
          </p:cNvPr>
          <p:cNvSpPr txBox="1"/>
          <p:nvPr/>
        </p:nvSpPr>
        <p:spPr>
          <a:xfrm>
            <a:off x="5322902" y="3872981"/>
            <a:ext cx="1618891" cy="760208"/>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Traffic Manager</a:t>
            </a:r>
          </a:p>
        </p:txBody>
      </p:sp>
      <p:sp>
        <p:nvSpPr>
          <p:cNvPr id="120" name="TextBox 119">
            <a:extLst>
              <a:ext uri="{FF2B5EF4-FFF2-40B4-BE49-F238E27FC236}">
                <a16:creationId xmlns:a16="http://schemas.microsoft.com/office/drawing/2014/main" id="{9D752CB3-0A9C-4A90-8E62-941C72FBC937}"/>
              </a:ext>
            </a:extLst>
          </p:cNvPr>
          <p:cNvSpPr txBox="1"/>
          <p:nvPr/>
        </p:nvSpPr>
        <p:spPr>
          <a:xfrm>
            <a:off x="5636915" y="1730515"/>
            <a:ext cx="1163527"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lumMod val="75000"/>
                  </a:srgbClr>
                </a:solidFill>
                <a:effectLst/>
                <a:uLnTx/>
                <a:uFillTx/>
                <a:latin typeface="Segoe UI"/>
                <a:ea typeface="+mn-ea"/>
                <a:cs typeface="+mn-cs"/>
              </a:rPr>
              <a:t>INTERNET</a:t>
            </a:r>
          </a:p>
        </p:txBody>
      </p:sp>
      <p:pic>
        <p:nvPicPr>
          <p:cNvPr id="14" name="Picture 13">
            <a:extLst>
              <a:ext uri="{FF2B5EF4-FFF2-40B4-BE49-F238E27FC236}">
                <a16:creationId xmlns:a16="http://schemas.microsoft.com/office/drawing/2014/main" id="{A8467B7D-892A-4387-B3C6-A51FF3B3F2D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968193" y="2148140"/>
            <a:ext cx="333897" cy="655385"/>
          </a:xfrm>
          <a:prstGeom prst="rect">
            <a:avLst/>
          </a:prstGeom>
        </p:spPr>
      </p:pic>
      <p:cxnSp>
        <p:nvCxnSpPr>
          <p:cNvPr id="18" name="Straight Arrow Connector 17">
            <a:extLst>
              <a:ext uri="{FF2B5EF4-FFF2-40B4-BE49-F238E27FC236}">
                <a16:creationId xmlns:a16="http://schemas.microsoft.com/office/drawing/2014/main" id="{8787FADF-8C09-4F5A-A655-F617466938FE}"/>
              </a:ext>
            </a:extLst>
          </p:cNvPr>
          <p:cNvCxnSpPr>
            <a:cxnSpLocks/>
            <a:endCxn id="4" idx="0"/>
          </p:cNvCxnSpPr>
          <p:nvPr/>
        </p:nvCxnSpPr>
        <p:spPr>
          <a:xfrm>
            <a:off x="6135143" y="2952140"/>
            <a:ext cx="0" cy="482466"/>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1" name="Straight Arrow Connector 120">
            <a:extLst>
              <a:ext uri="{FF2B5EF4-FFF2-40B4-BE49-F238E27FC236}">
                <a16:creationId xmlns:a16="http://schemas.microsoft.com/office/drawing/2014/main" id="{71AC4F61-FBD0-4E5A-8E48-88DBDDF651FB}"/>
              </a:ext>
            </a:extLst>
          </p:cNvPr>
          <p:cNvCxnSpPr>
            <a:cxnSpLocks/>
            <a:stCxn id="4" idx="1"/>
            <a:endCxn id="42" idx="1"/>
          </p:cNvCxnSpPr>
          <p:nvPr/>
        </p:nvCxnSpPr>
        <p:spPr>
          <a:xfrm flipH="1">
            <a:off x="3572924" y="3729871"/>
            <a:ext cx="2279061" cy="1891691"/>
          </a:xfrm>
          <a:prstGeom prst="straightConnector1">
            <a:avLst/>
          </a:prstGeom>
          <a:ln w="5715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2" name="Straight Arrow Connector 121">
            <a:extLst>
              <a:ext uri="{FF2B5EF4-FFF2-40B4-BE49-F238E27FC236}">
                <a16:creationId xmlns:a16="http://schemas.microsoft.com/office/drawing/2014/main" id="{31110641-85DB-4257-9307-0A2672EABA15}"/>
              </a:ext>
            </a:extLst>
          </p:cNvPr>
          <p:cNvCxnSpPr>
            <a:cxnSpLocks/>
            <a:stCxn id="4" idx="3"/>
            <a:endCxn id="110" idx="1"/>
          </p:cNvCxnSpPr>
          <p:nvPr/>
        </p:nvCxnSpPr>
        <p:spPr>
          <a:xfrm>
            <a:off x="6418300" y="3729871"/>
            <a:ext cx="2200565" cy="190401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4" name="Straight Arrow Connector 123">
            <a:extLst>
              <a:ext uri="{FF2B5EF4-FFF2-40B4-BE49-F238E27FC236}">
                <a16:creationId xmlns:a16="http://schemas.microsoft.com/office/drawing/2014/main" id="{486851CD-194E-4135-A298-317CB6DF82B1}"/>
              </a:ext>
            </a:extLst>
          </p:cNvPr>
          <p:cNvCxnSpPr>
            <a:cxnSpLocks/>
          </p:cNvCxnSpPr>
          <p:nvPr/>
        </p:nvCxnSpPr>
        <p:spPr>
          <a:xfrm>
            <a:off x="4068345" y="5988052"/>
            <a:ext cx="696205" cy="0"/>
          </a:xfrm>
          <a:prstGeom prst="straightConnector1">
            <a:avLst/>
          </a:prstGeom>
          <a:ln w="57150">
            <a:solidFill>
              <a:schemeClr val="accent6"/>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5" name="TextBox 124">
            <a:extLst>
              <a:ext uri="{FF2B5EF4-FFF2-40B4-BE49-F238E27FC236}">
                <a16:creationId xmlns:a16="http://schemas.microsoft.com/office/drawing/2014/main" id="{EE4A32C3-F2F3-4571-8469-DACFB6162098}"/>
              </a:ext>
            </a:extLst>
          </p:cNvPr>
          <p:cNvSpPr txBox="1"/>
          <p:nvPr/>
        </p:nvSpPr>
        <p:spPr>
          <a:xfrm>
            <a:off x="3602127" y="5341857"/>
            <a:ext cx="1618891"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Routing Methods</a:t>
            </a:r>
          </a:p>
        </p:txBody>
      </p:sp>
      <p:sp>
        <p:nvSpPr>
          <p:cNvPr id="51" name="TextBox 50">
            <a:extLst>
              <a:ext uri="{FF2B5EF4-FFF2-40B4-BE49-F238E27FC236}">
                <a16:creationId xmlns:a16="http://schemas.microsoft.com/office/drawing/2014/main" id="{987E2DA6-2898-485D-AF24-546FD7419B6F}"/>
              </a:ext>
            </a:extLst>
          </p:cNvPr>
          <p:cNvSpPr txBox="1"/>
          <p:nvPr/>
        </p:nvSpPr>
        <p:spPr>
          <a:xfrm>
            <a:off x="4638309" y="5371209"/>
            <a:ext cx="3717578" cy="1301895"/>
          </a:xfrm>
          <a:prstGeom prst="rect">
            <a:avLst/>
          </a:prstGeom>
          <a:noFill/>
        </p:spPr>
        <p:txBody>
          <a:bodyPr wrap="square" lIns="182880" tIns="146304" rIns="182880" bIns="146304" rtlCol="0">
            <a:spAutoFit/>
          </a:bodyPr>
          <a:lstStyle/>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riority:</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failover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eighted:</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B testing pattern</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erformance: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latency dependent routing</a:t>
            </a:r>
          </a:p>
          <a:p>
            <a:pPr marL="285750" marR="0" lvl="0" indent="-2857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ographic: </a:t>
            </a: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geo-mapped endpoints</a:t>
            </a:r>
          </a:p>
        </p:txBody>
      </p:sp>
      <p:cxnSp>
        <p:nvCxnSpPr>
          <p:cNvPr id="126" name="Straight Arrow Connector 3">
            <a:extLst>
              <a:ext uri="{FF2B5EF4-FFF2-40B4-BE49-F238E27FC236}">
                <a16:creationId xmlns:a16="http://schemas.microsoft.com/office/drawing/2014/main" id="{606AB7B7-3533-4BD2-8F79-6BA2F2BE651B}"/>
              </a:ext>
            </a:extLst>
          </p:cNvPr>
          <p:cNvCxnSpPr>
            <a:cxnSpLocks/>
          </p:cNvCxnSpPr>
          <p:nvPr/>
        </p:nvCxnSpPr>
        <p:spPr>
          <a:xfrm rot="16200000" flipH="1">
            <a:off x="6149754" y="2477838"/>
            <a:ext cx="5984" cy="8486378"/>
          </a:xfrm>
          <a:prstGeom prst="curvedConnector3">
            <a:avLst>
              <a:gd name="adj1" fmla="val 3920187"/>
            </a:avLst>
          </a:prstGeom>
          <a:ln w="28575">
            <a:solidFill>
              <a:schemeClr val="accent3"/>
            </a:solidFill>
            <a:prstDash val="dash"/>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D9B43274-E179-4948-BD0B-D5C730121963}"/>
              </a:ext>
            </a:extLst>
          </p:cNvPr>
          <p:cNvSpPr txBox="1"/>
          <p:nvPr/>
        </p:nvSpPr>
        <p:spPr>
          <a:xfrm>
            <a:off x="5278640" y="6631446"/>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a:t>
            </a:r>
            <a:r>
              <a:rPr kumimoji="0" lang="en-US" sz="1200" b="0" i="0" u="none" strike="noStrike" kern="1200" cap="none" spc="0" normalizeH="0" baseline="0" noProof="0" dirty="0" err="1">
                <a:ln>
                  <a:noFill/>
                </a:ln>
                <a:solidFill>
                  <a:srgbClr val="68217A"/>
                </a:solidFill>
                <a:effectLst/>
                <a:uLnTx/>
                <a:uFillTx/>
                <a:latin typeface="Segoe UI"/>
                <a:ea typeface="+mn-ea"/>
                <a:cs typeface="+mn-cs"/>
              </a:rPr>
              <a:t>async</a:t>
            </a:r>
            <a:r>
              <a:rPr kumimoji="0" lang="en-US" sz="1200" b="0" i="0" u="none" strike="noStrike" kern="1200" cap="none" spc="0" normalizeH="0" baseline="0" noProof="0" dirty="0">
                <a:ln>
                  <a:noFill/>
                </a:ln>
                <a:solidFill>
                  <a:srgbClr val="68217A"/>
                </a:solidFill>
                <a:effectLst/>
                <a:uLnTx/>
                <a:uFillTx/>
                <a:latin typeface="Segoe UI"/>
                <a:ea typeface="+mn-ea"/>
                <a:cs typeface="+mn-cs"/>
              </a:rPr>
              <a:t> replication</a:t>
            </a:r>
          </a:p>
        </p:txBody>
      </p:sp>
    </p:spTree>
    <p:extLst>
      <p:ext uri="{BB962C8B-B14F-4D97-AF65-F5344CB8AC3E}">
        <p14:creationId xmlns:p14="http://schemas.microsoft.com/office/powerpoint/2010/main" val="402145897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aired Regions / Data Residency Geos</a:t>
            </a:r>
          </a:p>
        </p:txBody>
      </p:sp>
      <p:pic>
        <p:nvPicPr>
          <p:cNvPr id="2" name="Picture 1">
            <a:extLst>
              <a:ext uri="{FF2B5EF4-FFF2-40B4-BE49-F238E27FC236}">
                <a16:creationId xmlns:a16="http://schemas.microsoft.com/office/drawing/2014/main" id="{6E05EF84-E493-4067-84F5-9786648791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57" y="1723624"/>
            <a:ext cx="9161091" cy="5270901"/>
          </a:xfrm>
          <a:prstGeom prst="rect">
            <a:avLst/>
          </a:prstGeom>
        </p:spPr>
      </p:pic>
      <p:graphicFrame>
        <p:nvGraphicFramePr>
          <p:cNvPr id="648" name="Table 647">
            <a:extLst>
              <a:ext uri="{FF2B5EF4-FFF2-40B4-BE49-F238E27FC236}">
                <a16:creationId xmlns:a16="http://schemas.microsoft.com/office/drawing/2014/main" id="{20DEE736-4619-4C7C-8A05-F2CCB8AA25A7}"/>
              </a:ext>
            </a:extLst>
          </p:cNvPr>
          <p:cNvGraphicFramePr>
            <a:graphicFrameLocks noGrp="1"/>
          </p:cNvGraphicFramePr>
          <p:nvPr/>
        </p:nvGraphicFramePr>
        <p:xfrm>
          <a:off x="9075634" y="1571089"/>
          <a:ext cx="3255945" cy="4861560"/>
        </p:xfrm>
        <a:graphic>
          <a:graphicData uri="http://schemas.openxmlformats.org/drawingml/2006/table">
            <a:tbl>
              <a:tblPr firstRow="1">
                <a:tableStyleId>{5C22544A-7EE6-4342-B048-85BDC9FD1C3A}</a:tableStyleId>
              </a:tblPr>
              <a:tblGrid>
                <a:gridCol w="1085315">
                  <a:extLst>
                    <a:ext uri="{9D8B030D-6E8A-4147-A177-3AD203B41FA5}">
                      <a16:colId xmlns:a16="http://schemas.microsoft.com/office/drawing/2014/main" val="1434024473"/>
                    </a:ext>
                  </a:extLst>
                </a:gridCol>
                <a:gridCol w="1085315">
                  <a:extLst>
                    <a:ext uri="{9D8B030D-6E8A-4147-A177-3AD203B41FA5}">
                      <a16:colId xmlns:a16="http://schemas.microsoft.com/office/drawing/2014/main" val="3970731832"/>
                    </a:ext>
                  </a:extLst>
                </a:gridCol>
                <a:gridCol w="1085315">
                  <a:extLst>
                    <a:ext uri="{9D8B030D-6E8A-4147-A177-3AD203B41FA5}">
                      <a16:colId xmlns:a16="http://schemas.microsoft.com/office/drawing/2014/main" val="3600265844"/>
                    </a:ext>
                  </a:extLst>
                </a:gridCol>
              </a:tblGrid>
              <a:tr h="204198">
                <a:tc>
                  <a:txBody>
                    <a:bodyPr/>
                    <a:lstStyle/>
                    <a:p>
                      <a:r>
                        <a:rPr lang="en-US" sz="1000" dirty="0"/>
                        <a:t>Geography</a:t>
                      </a:r>
                    </a:p>
                  </a:txBody>
                  <a:tcPr/>
                </a:tc>
                <a:tc>
                  <a:txBody>
                    <a:bodyPr/>
                    <a:lstStyle/>
                    <a:p>
                      <a:r>
                        <a:rPr lang="en-US" sz="1000" dirty="0"/>
                        <a:t>Region 1</a:t>
                      </a:r>
                    </a:p>
                  </a:txBody>
                  <a:tcPr/>
                </a:tc>
                <a:tc>
                  <a:txBody>
                    <a:bodyPr/>
                    <a:lstStyle/>
                    <a:p>
                      <a:r>
                        <a:rPr lang="en-US" sz="1000" dirty="0"/>
                        <a:t>Region 2</a:t>
                      </a:r>
                    </a:p>
                  </a:txBody>
                  <a:tcPr/>
                </a:tc>
                <a:extLst>
                  <a:ext uri="{0D108BD9-81ED-4DB2-BD59-A6C34878D82A}">
                    <a16:rowId xmlns:a16="http://schemas.microsoft.com/office/drawing/2014/main" val="806861438"/>
                  </a:ext>
                </a:extLst>
              </a:tr>
              <a:tr h="204198">
                <a:tc>
                  <a:txBody>
                    <a:bodyPr/>
                    <a:lstStyle/>
                    <a:p>
                      <a:pPr algn="l" rtl="0"/>
                      <a:r>
                        <a:rPr lang="en-US" sz="900" dirty="0">
                          <a:solidFill>
                            <a:schemeClr val="tx1"/>
                          </a:solidFill>
                          <a:effectLst/>
                          <a:latin typeface="+mj-lt"/>
                        </a:rPr>
                        <a:t>Asia</a:t>
                      </a:r>
                    </a:p>
                  </a:txBody>
                  <a:tcPr anchor="ctr"/>
                </a:tc>
                <a:tc>
                  <a:txBody>
                    <a:bodyPr/>
                    <a:lstStyle/>
                    <a:p>
                      <a:pPr algn="l" rtl="0"/>
                      <a:r>
                        <a:rPr lang="en-US" sz="900">
                          <a:solidFill>
                            <a:schemeClr val="tx1"/>
                          </a:solidFill>
                          <a:effectLst/>
                          <a:latin typeface="+mj-lt"/>
                        </a:rPr>
                        <a:t>East Asia</a:t>
                      </a:r>
                    </a:p>
                  </a:txBody>
                  <a:tcPr anchor="ctr"/>
                </a:tc>
                <a:tc>
                  <a:txBody>
                    <a:bodyPr/>
                    <a:lstStyle/>
                    <a:p>
                      <a:pPr algn="l" rtl="0"/>
                      <a:r>
                        <a:rPr lang="en-US" sz="900">
                          <a:solidFill>
                            <a:schemeClr val="tx1"/>
                          </a:solidFill>
                          <a:effectLst/>
                          <a:latin typeface="+mj-lt"/>
                        </a:rPr>
                        <a:t>Southeast Asia</a:t>
                      </a:r>
                    </a:p>
                  </a:txBody>
                  <a:tcPr anchor="ctr"/>
                </a:tc>
                <a:extLst>
                  <a:ext uri="{0D108BD9-81ED-4DB2-BD59-A6C34878D82A}">
                    <a16:rowId xmlns:a16="http://schemas.microsoft.com/office/drawing/2014/main" val="709355612"/>
                  </a:ext>
                </a:extLst>
              </a:tr>
              <a:tr h="204198">
                <a:tc>
                  <a:txBody>
                    <a:bodyPr/>
                    <a:lstStyle/>
                    <a:p>
                      <a:pPr algn="l" rtl="0"/>
                      <a:r>
                        <a:rPr lang="en-US" sz="900">
                          <a:solidFill>
                            <a:schemeClr val="tx1"/>
                          </a:solidFill>
                          <a:effectLst/>
                          <a:latin typeface="+mj-lt"/>
                        </a:rPr>
                        <a:t>Austral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Australia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Australia Southeast</a:t>
                      </a:r>
                    </a:p>
                  </a:txBody>
                  <a:tcPr anchor="ctr">
                    <a:solidFill>
                      <a:schemeClr val="accent6">
                        <a:lumMod val="20000"/>
                        <a:lumOff val="80000"/>
                      </a:schemeClr>
                    </a:solidFill>
                  </a:tcPr>
                </a:tc>
                <a:extLst>
                  <a:ext uri="{0D108BD9-81ED-4DB2-BD59-A6C34878D82A}">
                    <a16:rowId xmlns:a16="http://schemas.microsoft.com/office/drawing/2014/main" val="163861100"/>
                  </a:ext>
                </a:extLst>
              </a:tr>
              <a:tr h="204198">
                <a:tc>
                  <a:txBody>
                    <a:bodyPr/>
                    <a:lstStyle/>
                    <a:p>
                      <a:pPr algn="l" rtl="0"/>
                      <a:r>
                        <a:rPr lang="en-US" sz="900">
                          <a:solidFill>
                            <a:schemeClr val="tx1"/>
                          </a:solidFill>
                          <a:effectLst/>
                          <a:latin typeface="+mj-lt"/>
                        </a:rPr>
                        <a:t>Canad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anad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Canada East</a:t>
                      </a:r>
                    </a:p>
                  </a:txBody>
                  <a:tcPr anchor="ctr">
                    <a:solidFill>
                      <a:schemeClr val="accent6">
                        <a:lumMod val="20000"/>
                        <a:lumOff val="80000"/>
                      </a:schemeClr>
                    </a:solidFill>
                  </a:tcPr>
                </a:tc>
                <a:extLst>
                  <a:ext uri="{0D108BD9-81ED-4DB2-BD59-A6C34878D82A}">
                    <a16:rowId xmlns:a16="http://schemas.microsoft.com/office/drawing/2014/main" val="3185416976"/>
                  </a:ext>
                </a:extLst>
              </a:tr>
              <a:tr h="204198">
                <a:tc>
                  <a:txBody>
                    <a:bodyPr/>
                    <a:lstStyle/>
                    <a:p>
                      <a:pPr algn="l" rtl="0"/>
                      <a:r>
                        <a:rPr lang="en-US" sz="900">
                          <a:solidFill>
                            <a:schemeClr val="tx1"/>
                          </a:solidFill>
                          <a:effectLst/>
                          <a:latin typeface="+mj-lt"/>
                        </a:rPr>
                        <a:t>Chin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North</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hina East</a:t>
                      </a:r>
                    </a:p>
                  </a:txBody>
                  <a:tcPr anchor="ctr">
                    <a:solidFill>
                      <a:schemeClr val="accent6">
                        <a:lumMod val="20000"/>
                        <a:lumOff val="80000"/>
                      </a:schemeClr>
                    </a:solidFill>
                  </a:tcPr>
                </a:tc>
                <a:extLst>
                  <a:ext uri="{0D108BD9-81ED-4DB2-BD59-A6C34878D82A}">
                    <a16:rowId xmlns:a16="http://schemas.microsoft.com/office/drawing/2014/main" val="2473961263"/>
                  </a:ext>
                </a:extLst>
              </a:tr>
              <a:tr h="204198">
                <a:tc>
                  <a:txBody>
                    <a:bodyPr/>
                    <a:lstStyle/>
                    <a:p>
                      <a:pPr algn="l" rtl="0"/>
                      <a:r>
                        <a:rPr lang="en-US" sz="900">
                          <a:solidFill>
                            <a:schemeClr val="tx1"/>
                          </a:solidFill>
                          <a:effectLst/>
                          <a:latin typeface="+mj-lt"/>
                        </a:rPr>
                        <a:t>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Indi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South India</a:t>
                      </a:r>
                    </a:p>
                  </a:txBody>
                  <a:tcPr anchor="ctr">
                    <a:solidFill>
                      <a:schemeClr val="accent6">
                        <a:lumMod val="20000"/>
                        <a:lumOff val="80000"/>
                      </a:schemeClr>
                    </a:solidFill>
                  </a:tcPr>
                </a:tc>
                <a:extLst>
                  <a:ext uri="{0D108BD9-81ED-4DB2-BD59-A6C34878D82A}">
                    <a16:rowId xmlns:a16="http://schemas.microsoft.com/office/drawing/2014/main" val="4085201465"/>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454752856"/>
                  </a:ext>
                </a:extLst>
              </a:tr>
              <a:tr h="204198">
                <a:tc>
                  <a:txBody>
                    <a:bodyPr/>
                    <a:lstStyle/>
                    <a:p>
                      <a:pPr algn="l" rtl="0"/>
                      <a:r>
                        <a:rPr lang="en-US" sz="900">
                          <a:solidFill>
                            <a:schemeClr val="tx1"/>
                          </a:solidFill>
                          <a:effectLst/>
                          <a:latin typeface="+mj-lt"/>
                        </a:rPr>
                        <a:t>Kore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Korea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Korea South</a:t>
                      </a:r>
                    </a:p>
                  </a:txBody>
                  <a:tcPr anchor="ctr">
                    <a:solidFill>
                      <a:schemeClr val="accent6">
                        <a:lumMod val="20000"/>
                        <a:lumOff val="80000"/>
                      </a:schemeClr>
                    </a:solidFill>
                  </a:tcPr>
                </a:tc>
                <a:extLst>
                  <a:ext uri="{0D108BD9-81ED-4DB2-BD59-A6C34878D82A}">
                    <a16:rowId xmlns:a16="http://schemas.microsoft.com/office/drawing/2014/main" val="2314602405"/>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North Central US</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South Central US</a:t>
                      </a:r>
                    </a:p>
                  </a:txBody>
                  <a:tcPr anchor="ctr">
                    <a:solidFill>
                      <a:schemeClr val="accent6">
                        <a:lumMod val="20000"/>
                        <a:lumOff val="80000"/>
                      </a:schemeClr>
                    </a:solidFill>
                  </a:tcPr>
                </a:tc>
                <a:extLst>
                  <a:ext uri="{0D108BD9-81ED-4DB2-BD59-A6C34878D82A}">
                    <a16:rowId xmlns:a16="http://schemas.microsoft.com/office/drawing/2014/main" val="293061614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a:t>
                      </a:r>
                    </a:p>
                  </a:txBody>
                  <a:tcPr anchor="ctr">
                    <a:solidFill>
                      <a:schemeClr val="accent6">
                        <a:lumMod val="20000"/>
                        <a:lumOff val="80000"/>
                      </a:schemeClr>
                    </a:solidFill>
                  </a:tcPr>
                </a:tc>
                <a:extLst>
                  <a:ext uri="{0D108BD9-81ED-4DB2-BD59-A6C34878D82A}">
                    <a16:rowId xmlns:a16="http://schemas.microsoft.com/office/drawing/2014/main" val="759742488"/>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East US 2</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Central US</a:t>
                      </a:r>
                    </a:p>
                  </a:txBody>
                  <a:tcPr anchor="ctr">
                    <a:solidFill>
                      <a:schemeClr val="accent6">
                        <a:lumMod val="20000"/>
                        <a:lumOff val="80000"/>
                      </a:schemeClr>
                    </a:solidFill>
                  </a:tcPr>
                </a:tc>
                <a:extLst>
                  <a:ext uri="{0D108BD9-81ED-4DB2-BD59-A6C34878D82A}">
                    <a16:rowId xmlns:a16="http://schemas.microsoft.com/office/drawing/2014/main" val="106546952"/>
                  </a:ext>
                </a:extLst>
              </a:tr>
              <a:tr h="204198">
                <a:tc>
                  <a:txBody>
                    <a:bodyPr/>
                    <a:lstStyle/>
                    <a:p>
                      <a:pPr algn="l" rtl="0"/>
                      <a:r>
                        <a:rPr lang="en-US" sz="900">
                          <a:solidFill>
                            <a:schemeClr val="tx1"/>
                          </a:solidFill>
                          <a:effectLst/>
                          <a:latin typeface="+mj-lt"/>
                        </a:rPr>
                        <a:t>North America</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West US 2</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West Central US</a:t>
                      </a:r>
                    </a:p>
                  </a:txBody>
                  <a:tcPr anchor="ctr">
                    <a:solidFill>
                      <a:schemeClr val="accent6">
                        <a:lumMod val="20000"/>
                        <a:lumOff val="80000"/>
                      </a:schemeClr>
                    </a:solidFill>
                  </a:tcPr>
                </a:tc>
                <a:extLst>
                  <a:ext uri="{0D108BD9-81ED-4DB2-BD59-A6C34878D82A}">
                    <a16:rowId xmlns:a16="http://schemas.microsoft.com/office/drawing/2014/main" val="2159701439"/>
                  </a:ext>
                </a:extLst>
              </a:tr>
              <a:tr h="204198">
                <a:tc>
                  <a:txBody>
                    <a:bodyPr/>
                    <a:lstStyle/>
                    <a:p>
                      <a:pPr algn="l" rtl="0"/>
                      <a:r>
                        <a:rPr lang="en-US" sz="900">
                          <a:solidFill>
                            <a:schemeClr val="tx1"/>
                          </a:solidFill>
                          <a:effectLst/>
                          <a:latin typeface="+mj-lt"/>
                        </a:rPr>
                        <a:t>Europe</a:t>
                      </a:r>
                    </a:p>
                  </a:txBody>
                  <a:tcPr anchor="ctr"/>
                </a:tc>
                <a:tc>
                  <a:txBody>
                    <a:bodyPr/>
                    <a:lstStyle/>
                    <a:p>
                      <a:pPr algn="l" rtl="0"/>
                      <a:r>
                        <a:rPr lang="en-US" sz="900">
                          <a:solidFill>
                            <a:schemeClr val="tx1"/>
                          </a:solidFill>
                          <a:effectLst/>
                          <a:latin typeface="+mj-lt"/>
                        </a:rPr>
                        <a:t>North Europe</a:t>
                      </a:r>
                    </a:p>
                  </a:txBody>
                  <a:tcPr anchor="ctr"/>
                </a:tc>
                <a:tc>
                  <a:txBody>
                    <a:bodyPr/>
                    <a:lstStyle/>
                    <a:p>
                      <a:pPr algn="l" rtl="0"/>
                      <a:r>
                        <a:rPr lang="en-US" sz="900">
                          <a:solidFill>
                            <a:schemeClr val="tx1"/>
                          </a:solidFill>
                          <a:effectLst/>
                          <a:latin typeface="+mj-lt"/>
                        </a:rPr>
                        <a:t>West Europe</a:t>
                      </a:r>
                    </a:p>
                  </a:txBody>
                  <a:tcPr anchor="ctr"/>
                </a:tc>
                <a:extLst>
                  <a:ext uri="{0D108BD9-81ED-4DB2-BD59-A6C34878D82A}">
                    <a16:rowId xmlns:a16="http://schemas.microsoft.com/office/drawing/2014/main" val="2323919086"/>
                  </a:ext>
                </a:extLst>
              </a:tr>
              <a:tr h="204198">
                <a:tc>
                  <a:txBody>
                    <a:bodyPr/>
                    <a:lstStyle/>
                    <a:p>
                      <a:pPr algn="l" rtl="0"/>
                      <a:r>
                        <a:rPr lang="en-US" sz="900">
                          <a:solidFill>
                            <a:schemeClr val="tx1"/>
                          </a:solidFill>
                          <a:effectLst/>
                          <a:latin typeface="+mj-lt"/>
                        </a:rPr>
                        <a:t>Japan</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Japan Ea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Japan West</a:t>
                      </a:r>
                    </a:p>
                  </a:txBody>
                  <a:tcPr anchor="ctr">
                    <a:solidFill>
                      <a:schemeClr val="accent6">
                        <a:lumMod val="20000"/>
                        <a:lumOff val="80000"/>
                      </a:schemeClr>
                    </a:solidFill>
                  </a:tcPr>
                </a:tc>
                <a:extLst>
                  <a:ext uri="{0D108BD9-81ED-4DB2-BD59-A6C34878D82A}">
                    <a16:rowId xmlns:a16="http://schemas.microsoft.com/office/drawing/2014/main" val="2430627173"/>
                  </a:ext>
                </a:extLst>
              </a:tr>
              <a:tr h="204198">
                <a:tc>
                  <a:txBody>
                    <a:bodyPr/>
                    <a:lstStyle/>
                    <a:p>
                      <a:pPr algn="l" rtl="0"/>
                      <a:r>
                        <a:rPr lang="en-US" sz="900">
                          <a:solidFill>
                            <a:schemeClr val="tx1"/>
                          </a:solidFill>
                          <a:effectLst/>
                          <a:latin typeface="+mj-lt"/>
                        </a:rPr>
                        <a:t>Brazil</a:t>
                      </a:r>
                    </a:p>
                  </a:txBody>
                  <a:tcPr anchor="ctr"/>
                </a:tc>
                <a:tc>
                  <a:txBody>
                    <a:bodyPr/>
                    <a:lstStyle/>
                    <a:p>
                      <a:pPr algn="l" rtl="0"/>
                      <a:r>
                        <a:rPr lang="en-US" sz="900">
                          <a:solidFill>
                            <a:schemeClr val="tx1"/>
                          </a:solidFill>
                          <a:effectLst/>
                          <a:latin typeface="+mj-lt"/>
                        </a:rPr>
                        <a:t>Brazil South (1)</a:t>
                      </a:r>
                    </a:p>
                  </a:txBody>
                  <a:tcPr anchor="ctr"/>
                </a:tc>
                <a:tc>
                  <a:txBody>
                    <a:bodyPr/>
                    <a:lstStyle/>
                    <a:p>
                      <a:pPr algn="l" rtl="0"/>
                      <a:r>
                        <a:rPr lang="en-US" sz="900">
                          <a:solidFill>
                            <a:schemeClr val="tx1"/>
                          </a:solidFill>
                          <a:effectLst/>
                          <a:latin typeface="+mj-lt"/>
                        </a:rPr>
                        <a:t>South Central US</a:t>
                      </a:r>
                    </a:p>
                  </a:txBody>
                  <a:tcPr anchor="ctr"/>
                </a:tc>
                <a:extLst>
                  <a:ext uri="{0D108BD9-81ED-4DB2-BD59-A6C34878D82A}">
                    <a16:rowId xmlns:a16="http://schemas.microsoft.com/office/drawing/2014/main" val="1230903644"/>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Iowa</a:t>
                      </a:r>
                    </a:p>
                  </a:txBody>
                  <a:tcPr anchor="ctr"/>
                </a:tc>
                <a:tc>
                  <a:txBody>
                    <a:bodyPr/>
                    <a:lstStyle/>
                    <a:p>
                      <a:pPr algn="l" rtl="0"/>
                      <a:r>
                        <a:rPr lang="en-US" sz="900">
                          <a:solidFill>
                            <a:schemeClr val="tx1"/>
                          </a:solidFill>
                          <a:effectLst/>
                          <a:latin typeface="+mj-lt"/>
                        </a:rPr>
                        <a:t>US Gov Virginia</a:t>
                      </a:r>
                    </a:p>
                  </a:txBody>
                  <a:tcPr anchor="ctr"/>
                </a:tc>
                <a:extLst>
                  <a:ext uri="{0D108BD9-81ED-4DB2-BD59-A6C34878D82A}">
                    <a16:rowId xmlns:a16="http://schemas.microsoft.com/office/drawing/2014/main" val="3528240715"/>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dirty="0">
                          <a:solidFill>
                            <a:schemeClr val="tx1"/>
                          </a:solidFill>
                          <a:effectLst/>
                          <a:latin typeface="+mj-lt"/>
                        </a:rPr>
                        <a:t>US </a:t>
                      </a:r>
                      <a:r>
                        <a:rPr lang="en-US" sz="900" dirty="0" err="1">
                          <a:solidFill>
                            <a:schemeClr val="tx1"/>
                          </a:solidFill>
                          <a:effectLst/>
                          <a:latin typeface="+mj-lt"/>
                        </a:rPr>
                        <a:t>Gov</a:t>
                      </a:r>
                      <a:r>
                        <a:rPr lang="en-US" sz="900" dirty="0">
                          <a:solidFill>
                            <a:schemeClr val="tx1"/>
                          </a:solidFill>
                          <a:effectLst/>
                          <a:latin typeface="+mj-lt"/>
                        </a:rPr>
                        <a:t> Virginia</a:t>
                      </a:r>
                    </a:p>
                  </a:txBody>
                  <a:tcPr anchor="ctr"/>
                </a:tc>
                <a:tc>
                  <a:txBody>
                    <a:bodyPr/>
                    <a:lstStyle/>
                    <a:p>
                      <a:pPr algn="l" rtl="0"/>
                      <a:r>
                        <a:rPr lang="en-US" sz="900">
                          <a:solidFill>
                            <a:schemeClr val="tx1"/>
                          </a:solidFill>
                          <a:effectLst/>
                          <a:latin typeface="+mj-lt"/>
                        </a:rPr>
                        <a:t>US Gov Texas</a:t>
                      </a:r>
                    </a:p>
                  </a:txBody>
                  <a:tcPr anchor="ctr"/>
                </a:tc>
                <a:extLst>
                  <a:ext uri="{0D108BD9-81ED-4DB2-BD59-A6C34878D82A}">
                    <a16:rowId xmlns:a16="http://schemas.microsoft.com/office/drawing/2014/main" val="2439064151"/>
                  </a:ext>
                </a:extLst>
              </a:tr>
              <a:tr h="204198">
                <a:tc>
                  <a:txBody>
                    <a:bodyPr/>
                    <a:lstStyle/>
                    <a:p>
                      <a:pPr algn="l" rtl="0"/>
                      <a:r>
                        <a:rPr lang="en-US" sz="900">
                          <a:solidFill>
                            <a:schemeClr val="tx1"/>
                          </a:solidFill>
                          <a:effectLst/>
                          <a:latin typeface="+mj-lt"/>
                        </a:rPr>
                        <a:t>US Government</a:t>
                      </a:r>
                    </a:p>
                  </a:txBody>
                  <a:tcPr anchor="ctr"/>
                </a:tc>
                <a:tc>
                  <a:txBody>
                    <a:bodyPr/>
                    <a:lstStyle/>
                    <a:p>
                      <a:pPr algn="l" rtl="0"/>
                      <a:r>
                        <a:rPr lang="en-US" sz="900">
                          <a:solidFill>
                            <a:schemeClr val="tx1"/>
                          </a:solidFill>
                          <a:effectLst/>
                          <a:latin typeface="+mj-lt"/>
                        </a:rPr>
                        <a:t>US Gov Texas</a:t>
                      </a:r>
                    </a:p>
                  </a:txBody>
                  <a:tcPr anchor="ctr"/>
                </a:tc>
                <a:tc>
                  <a:txBody>
                    <a:bodyPr/>
                    <a:lstStyle/>
                    <a:p>
                      <a:pPr algn="l" rtl="0"/>
                      <a:r>
                        <a:rPr lang="en-US" sz="900">
                          <a:solidFill>
                            <a:schemeClr val="tx1"/>
                          </a:solidFill>
                          <a:effectLst/>
                          <a:latin typeface="+mj-lt"/>
                        </a:rPr>
                        <a:t>US Gov Arizona</a:t>
                      </a:r>
                    </a:p>
                  </a:txBody>
                  <a:tcPr anchor="ctr"/>
                </a:tc>
                <a:extLst>
                  <a:ext uri="{0D108BD9-81ED-4DB2-BD59-A6C34878D82A}">
                    <a16:rowId xmlns:a16="http://schemas.microsoft.com/office/drawing/2014/main" val="2442480847"/>
                  </a:ext>
                </a:extLst>
              </a:tr>
              <a:tr h="204198">
                <a:tc>
                  <a:txBody>
                    <a:bodyPr/>
                    <a:lstStyle/>
                    <a:p>
                      <a:pPr algn="l" rtl="0"/>
                      <a:r>
                        <a:rPr lang="en-US" sz="900" dirty="0">
                          <a:solidFill>
                            <a:schemeClr val="tx1"/>
                          </a:solidFill>
                          <a:effectLst/>
                          <a:latin typeface="+mj-lt"/>
                        </a:rPr>
                        <a:t>UK</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UK West</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UK South</a:t>
                      </a:r>
                    </a:p>
                  </a:txBody>
                  <a:tcPr anchor="ctr">
                    <a:solidFill>
                      <a:schemeClr val="accent6">
                        <a:lumMod val="20000"/>
                        <a:lumOff val="80000"/>
                      </a:schemeClr>
                    </a:solidFill>
                  </a:tcPr>
                </a:tc>
                <a:extLst>
                  <a:ext uri="{0D108BD9-81ED-4DB2-BD59-A6C34878D82A}">
                    <a16:rowId xmlns:a16="http://schemas.microsoft.com/office/drawing/2014/main" val="1338729671"/>
                  </a:ext>
                </a:extLst>
              </a:tr>
              <a:tr h="204198">
                <a:tc>
                  <a:txBody>
                    <a:bodyPr/>
                    <a:lstStyle/>
                    <a:p>
                      <a:pPr algn="l" rtl="0"/>
                      <a:r>
                        <a:rPr lang="en-US" sz="900">
                          <a:solidFill>
                            <a:schemeClr val="tx1"/>
                          </a:solidFill>
                          <a:effectLst/>
                          <a:latin typeface="+mj-lt"/>
                        </a:rPr>
                        <a:t>Germany</a:t>
                      </a:r>
                    </a:p>
                  </a:txBody>
                  <a:tcPr anchor="ctr">
                    <a:solidFill>
                      <a:schemeClr val="accent6">
                        <a:lumMod val="20000"/>
                        <a:lumOff val="80000"/>
                      </a:schemeClr>
                    </a:solidFill>
                  </a:tcPr>
                </a:tc>
                <a:tc>
                  <a:txBody>
                    <a:bodyPr/>
                    <a:lstStyle/>
                    <a:p>
                      <a:pPr algn="l" rtl="0"/>
                      <a:r>
                        <a:rPr lang="en-US" sz="900">
                          <a:solidFill>
                            <a:schemeClr val="tx1"/>
                          </a:solidFill>
                          <a:effectLst/>
                          <a:latin typeface="+mj-lt"/>
                        </a:rPr>
                        <a:t>Germany Central</a:t>
                      </a:r>
                    </a:p>
                  </a:txBody>
                  <a:tcPr anchor="ctr">
                    <a:solidFill>
                      <a:schemeClr val="accent6">
                        <a:lumMod val="20000"/>
                        <a:lumOff val="80000"/>
                      </a:schemeClr>
                    </a:solidFill>
                  </a:tcPr>
                </a:tc>
                <a:tc>
                  <a:txBody>
                    <a:bodyPr/>
                    <a:lstStyle/>
                    <a:p>
                      <a:pPr algn="l" rtl="0"/>
                      <a:r>
                        <a:rPr lang="en-US" sz="900" dirty="0">
                          <a:solidFill>
                            <a:schemeClr val="tx1"/>
                          </a:solidFill>
                          <a:effectLst/>
                          <a:latin typeface="+mj-lt"/>
                        </a:rPr>
                        <a:t>Germany Northeast</a:t>
                      </a:r>
                    </a:p>
                  </a:txBody>
                  <a:tcPr anchor="ctr">
                    <a:solidFill>
                      <a:schemeClr val="accent6">
                        <a:lumMod val="20000"/>
                        <a:lumOff val="80000"/>
                      </a:schemeClr>
                    </a:solidFill>
                  </a:tcPr>
                </a:tc>
                <a:extLst>
                  <a:ext uri="{0D108BD9-81ED-4DB2-BD59-A6C34878D82A}">
                    <a16:rowId xmlns:a16="http://schemas.microsoft.com/office/drawing/2014/main" val="2020555611"/>
                  </a:ext>
                </a:extLst>
              </a:tr>
            </a:tbl>
          </a:graphicData>
        </a:graphic>
      </p:graphicFrame>
    </p:spTree>
    <p:extLst>
      <p:ext uri="{BB962C8B-B14F-4D97-AF65-F5344CB8AC3E}">
        <p14:creationId xmlns:p14="http://schemas.microsoft.com/office/powerpoint/2010/main" val="279446220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 name="Rectangle 137">
            <a:extLst>
              <a:ext uri="{FF2B5EF4-FFF2-40B4-BE49-F238E27FC236}">
                <a16:creationId xmlns:a16="http://schemas.microsoft.com/office/drawing/2014/main" id="{C9F1504A-3F6C-4B46-9B4C-1E4F578D4265}"/>
              </a:ext>
            </a:extLst>
          </p:cNvPr>
          <p:cNvSpPr/>
          <p:nvPr/>
        </p:nvSpPr>
        <p:spPr bwMode="auto">
          <a:xfrm>
            <a:off x="295279" y="4643825"/>
            <a:ext cx="3107115" cy="221326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Rectangle 136">
            <a:extLst>
              <a:ext uri="{FF2B5EF4-FFF2-40B4-BE49-F238E27FC236}">
                <a16:creationId xmlns:a16="http://schemas.microsoft.com/office/drawing/2014/main" id="{98D65816-0711-4FDE-959E-A9BB12771023}"/>
              </a:ext>
            </a:extLst>
          </p:cNvPr>
          <p:cNvSpPr/>
          <p:nvPr/>
        </p:nvSpPr>
        <p:spPr bwMode="auto">
          <a:xfrm>
            <a:off x="305530" y="1901939"/>
            <a:ext cx="3107115" cy="21007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Point-in-Time Workload Protection</a:t>
            </a:r>
          </a:p>
        </p:txBody>
      </p:sp>
      <p:pic>
        <p:nvPicPr>
          <p:cNvPr id="7" name="Picture 6">
            <a:extLst>
              <a:ext uri="{FF2B5EF4-FFF2-40B4-BE49-F238E27FC236}">
                <a16:creationId xmlns:a16="http://schemas.microsoft.com/office/drawing/2014/main" id="{DF621C98-4E3F-4E46-86FB-E15A4DAA490D}"/>
              </a:ext>
            </a:extLst>
          </p:cNvPr>
          <p:cNvPicPr>
            <a:picLocks noChangeAspect="1"/>
          </p:cNvPicPr>
          <p:nvPr/>
        </p:nvPicPr>
        <p:blipFill>
          <a:blip r:embed="rId3"/>
          <a:stretch>
            <a:fillRect/>
          </a:stretch>
        </p:blipFill>
        <p:spPr>
          <a:xfrm>
            <a:off x="432921" y="2783001"/>
            <a:ext cx="418163" cy="627900"/>
          </a:xfrm>
          <a:prstGeom prst="rect">
            <a:avLst/>
          </a:prstGeom>
        </p:spPr>
      </p:pic>
      <p:cxnSp>
        <p:nvCxnSpPr>
          <p:cNvPr id="15" name="Straight Arrow Connector 14">
            <a:extLst>
              <a:ext uri="{FF2B5EF4-FFF2-40B4-BE49-F238E27FC236}">
                <a16:creationId xmlns:a16="http://schemas.microsoft.com/office/drawing/2014/main" id="{50B5FEA0-B652-4EA9-B46D-E7D3DDCE7311}"/>
              </a:ext>
            </a:extLst>
          </p:cNvPr>
          <p:cNvCxnSpPr>
            <a:cxnSpLocks/>
            <a:stCxn id="7" idx="1"/>
          </p:cNvCxnSpPr>
          <p:nvPr/>
        </p:nvCxnSpPr>
        <p:spPr>
          <a:xfrm flipH="1">
            <a:off x="27125" y="3096951"/>
            <a:ext cx="405796" cy="0"/>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29EF7A9-5ADC-4319-A949-D1888137EC64}"/>
              </a:ext>
            </a:extLst>
          </p:cNvPr>
          <p:cNvSpPr txBox="1"/>
          <p:nvPr/>
        </p:nvSpPr>
        <p:spPr>
          <a:xfrm>
            <a:off x="282306" y="3323193"/>
            <a:ext cx="721254"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PN</a:t>
            </a:r>
          </a:p>
        </p:txBody>
      </p:sp>
      <p:pic>
        <p:nvPicPr>
          <p:cNvPr id="21" name="Picture 20">
            <a:extLst>
              <a:ext uri="{FF2B5EF4-FFF2-40B4-BE49-F238E27FC236}">
                <a16:creationId xmlns:a16="http://schemas.microsoft.com/office/drawing/2014/main" id="{A0831D8B-E929-4B26-A978-393C1BC6AC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386908"/>
            <a:ext cx="465041" cy="465527"/>
          </a:xfrm>
          <a:prstGeom prst="rect">
            <a:avLst/>
          </a:prstGeom>
        </p:spPr>
      </p:pic>
      <p:pic>
        <p:nvPicPr>
          <p:cNvPr id="23" name="Picture 22">
            <a:extLst>
              <a:ext uri="{FF2B5EF4-FFF2-40B4-BE49-F238E27FC236}">
                <a16:creationId xmlns:a16="http://schemas.microsoft.com/office/drawing/2014/main" id="{7C9844F5-2232-4B92-BAF6-EEB71F384167}"/>
              </a:ext>
            </a:extLst>
          </p:cNvPr>
          <p:cNvPicPr>
            <a:picLocks noChangeAspect="1"/>
          </p:cNvPicPr>
          <p:nvPr/>
        </p:nvPicPr>
        <p:blipFill>
          <a:blip r:embed="rId5"/>
          <a:stretch>
            <a:fillRect/>
          </a:stretch>
        </p:blipFill>
        <p:spPr>
          <a:xfrm rot="16200000">
            <a:off x="1237128" y="3954931"/>
            <a:ext cx="288731" cy="179400"/>
          </a:xfrm>
          <a:prstGeom prst="rect">
            <a:avLst/>
          </a:prstGeom>
        </p:spPr>
      </p:pic>
      <p:pic>
        <p:nvPicPr>
          <p:cNvPr id="24" name="Picture 23">
            <a:extLst>
              <a:ext uri="{FF2B5EF4-FFF2-40B4-BE49-F238E27FC236}">
                <a16:creationId xmlns:a16="http://schemas.microsoft.com/office/drawing/2014/main" id="{386F11E6-8888-4E86-ADCE-73BA35D8D9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2927100"/>
            <a:ext cx="465041" cy="465527"/>
          </a:xfrm>
          <a:prstGeom prst="rect">
            <a:avLst/>
          </a:prstGeom>
        </p:spPr>
      </p:pic>
      <p:pic>
        <p:nvPicPr>
          <p:cNvPr id="25" name="Picture 24">
            <a:extLst>
              <a:ext uri="{FF2B5EF4-FFF2-40B4-BE49-F238E27FC236}">
                <a16:creationId xmlns:a16="http://schemas.microsoft.com/office/drawing/2014/main" id="{71688FBF-0EFA-41A6-813A-FB67C6D38D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1880" y="3477225"/>
            <a:ext cx="465041" cy="465527"/>
          </a:xfrm>
          <a:prstGeom prst="rect">
            <a:avLst/>
          </a:prstGeom>
        </p:spPr>
      </p:pic>
      <p:sp>
        <p:nvSpPr>
          <p:cNvPr id="26" name="TextBox 25">
            <a:extLst>
              <a:ext uri="{FF2B5EF4-FFF2-40B4-BE49-F238E27FC236}">
                <a16:creationId xmlns:a16="http://schemas.microsoft.com/office/drawing/2014/main" id="{66E6A38B-6C26-4111-B88E-770FB254A899}"/>
              </a:ext>
            </a:extLst>
          </p:cNvPr>
          <p:cNvSpPr txBox="1"/>
          <p:nvPr/>
        </p:nvSpPr>
        <p:spPr>
          <a:xfrm>
            <a:off x="1478944" y="2352209"/>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Domain Ctrl</a:t>
            </a:r>
          </a:p>
        </p:txBody>
      </p:sp>
      <p:sp>
        <p:nvSpPr>
          <p:cNvPr id="27" name="TextBox 26">
            <a:extLst>
              <a:ext uri="{FF2B5EF4-FFF2-40B4-BE49-F238E27FC236}">
                <a16:creationId xmlns:a16="http://schemas.microsoft.com/office/drawing/2014/main" id="{5F8C27BB-48C5-4587-9A6F-AAC12C2BDB49}"/>
              </a:ext>
            </a:extLst>
          </p:cNvPr>
          <p:cNvSpPr txBox="1"/>
          <p:nvPr/>
        </p:nvSpPr>
        <p:spPr>
          <a:xfrm>
            <a:off x="1478944" y="2876273"/>
            <a:ext cx="129085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Monitoring</a:t>
            </a:r>
          </a:p>
        </p:txBody>
      </p:sp>
      <p:sp>
        <p:nvSpPr>
          <p:cNvPr id="28" name="TextBox 27">
            <a:extLst>
              <a:ext uri="{FF2B5EF4-FFF2-40B4-BE49-F238E27FC236}">
                <a16:creationId xmlns:a16="http://schemas.microsoft.com/office/drawing/2014/main" id="{D40CBE1B-258F-46E5-B882-EE6D21E228C1}"/>
              </a:ext>
            </a:extLst>
          </p:cNvPr>
          <p:cNvSpPr txBox="1"/>
          <p:nvPr/>
        </p:nvSpPr>
        <p:spPr>
          <a:xfrm>
            <a:off x="1478944" y="3410901"/>
            <a:ext cx="1336529"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Jump Box</a:t>
            </a:r>
          </a:p>
        </p:txBody>
      </p:sp>
      <p:pic>
        <p:nvPicPr>
          <p:cNvPr id="30" name="Picture 29">
            <a:extLst>
              <a:ext uri="{FF2B5EF4-FFF2-40B4-BE49-F238E27FC236}">
                <a16:creationId xmlns:a16="http://schemas.microsoft.com/office/drawing/2014/main" id="{E9297CFB-1AE1-4E2D-8C4C-6E5E2AD8429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72317" y="2860232"/>
            <a:ext cx="465041" cy="465527"/>
          </a:xfrm>
          <a:prstGeom prst="rect">
            <a:avLst/>
          </a:prstGeom>
        </p:spPr>
      </p:pic>
      <p:sp>
        <p:nvSpPr>
          <p:cNvPr id="31" name="TextBox 30">
            <a:extLst>
              <a:ext uri="{FF2B5EF4-FFF2-40B4-BE49-F238E27FC236}">
                <a16:creationId xmlns:a16="http://schemas.microsoft.com/office/drawing/2014/main" id="{585BF5C0-2F3E-4AA6-89EB-9825BF9FA14C}"/>
              </a:ext>
            </a:extLst>
          </p:cNvPr>
          <p:cNvSpPr txBox="1"/>
          <p:nvPr/>
        </p:nvSpPr>
        <p:spPr>
          <a:xfrm>
            <a:off x="2744784" y="3219383"/>
            <a:ext cx="762638"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NVA</a:t>
            </a:r>
          </a:p>
        </p:txBody>
      </p:sp>
      <p:pic>
        <p:nvPicPr>
          <p:cNvPr id="32" name="Picture 31">
            <a:extLst>
              <a:ext uri="{FF2B5EF4-FFF2-40B4-BE49-F238E27FC236}">
                <a16:creationId xmlns:a16="http://schemas.microsoft.com/office/drawing/2014/main" id="{E7E232B4-BD22-4C21-8798-A43FC29F7F67}"/>
              </a:ext>
            </a:extLst>
          </p:cNvPr>
          <p:cNvPicPr>
            <a:picLocks noChangeAspect="1"/>
          </p:cNvPicPr>
          <p:nvPr/>
        </p:nvPicPr>
        <p:blipFill>
          <a:blip r:embed="rId5"/>
          <a:stretch>
            <a:fillRect/>
          </a:stretch>
        </p:blipFill>
        <p:spPr>
          <a:xfrm rot="10800000">
            <a:off x="3304742" y="2941555"/>
            <a:ext cx="288731" cy="179400"/>
          </a:xfrm>
          <a:prstGeom prst="rect">
            <a:avLst/>
          </a:prstGeom>
        </p:spPr>
      </p:pic>
      <p:sp>
        <p:nvSpPr>
          <p:cNvPr id="33" name="TextBox 32">
            <a:extLst>
              <a:ext uri="{FF2B5EF4-FFF2-40B4-BE49-F238E27FC236}">
                <a16:creationId xmlns:a16="http://schemas.microsoft.com/office/drawing/2014/main" id="{FC848379-F15E-4DF3-9F55-15DA6A67A6B1}"/>
              </a:ext>
            </a:extLst>
          </p:cNvPr>
          <p:cNvSpPr txBox="1"/>
          <p:nvPr/>
        </p:nvSpPr>
        <p:spPr>
          <a:xfrm>
            <a:off x="745067" y="1927577"/>
            <a:ext cx="22166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Central Hub Network</a:t>
            </a:r>
          </a:p>
        </p:txBody>
      </p:sp>
      <p:pic>
        <p:nvPicPr>
          <p:cNvPr id="34" name="Picture 33">
            <a:extLst>
              <a:ext uri="{FF2B5EF4-FFF2-40B4-BE49-F238E27FC236}">
                <a16:creationId xmlns:a16="http://schemas.microsoft.com/office/drawing/2014/main" id="{FE1DBD1D-E46E-42D2-A882-40B12FD438C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2048976"/>
            <a:ext cx="455841" cy="254234"/>
          </a:xfrm>
          <a:prstGeom prst="rect">
            <a:avLst/>
          </a:prstGeom>
        </p:spPr>
      </p:pic>
      <p:sp>
        <p:nvSpPr>
          <p:cNvPr id="36" name="TextBox 35">
            <a:extLst>
              <a:ext uri="{FF2B5EF4-FFF2-40B4-BE49-F238E27FC236}">
                <a16:creationId xmlns:a16="http://schemas.microsoft.com/office/drawing/2014/main" id="{98974D73-6793-47D3-A83C-D1A26DFB593F}"/>
              </a:ext>
            </a:extLst>
          </p:cNvPr>
          <p:cNvSpPr txBox="1"/>
          <p:nvPr/>
        </p:nvSpPr>
        <p:spPr>
          <a:xfrm>
            <a:off x="745066" y="4596230"/>
            <a:ext cx="2641941"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poke Network</a:t>
            </a:r>
          </a:p>
        </p:txBody>
      </p:sp>
      <p:pic>
        <p:nvPicPr>
          <p:cNvPr id="37" name="Picture 36">
            <a:extLst>
              <a:ext uri="{FF2B5EF4-FFF2-40B4-BE49-F238E27FC236}">
                <a16:creationId xmlns:a16="http://schemas.microsoft.com/office/drawing/2014/main" id="{27A60F29-DAC5-4C39-8CB0-54DD73B967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7117" y="4717629"/>
            <a:ext cx="455841" cy="254234"/>
          </a:xfrm>
          <a:prstGeom prst="rect">
            <a:avLst/>
          </a:prstGeom>
        </p:spPr>
      </p:pic>
      <p:pic>
        <p:nvPicPr>
          <p:cNvPr id="38" name="Picture 37">
            <a:extLst>
              <a:ext uri="{FF2B5EF4-FFF2-40B4-BE49-F238E27FC236}">
                <a16:creationId xmlns:a16="http://schemas.microsoft.com/office/drawing/2014/main" id="{F2E24306-4C54-4490-B19A-EC374B55469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3868" y="5086340"/>
            <a:ext cx="500795" cy="505060"/>
          </a:xfrm>
          <a:prstGeom prst="rect">
            <a:avLst/>
          </a:prstGeom>
        </p:spPr>
      </p:pic>
      <p:pic>
        <p:nvPicPr>
          <p:cNvPr id="39" name="Picture 38">
            <a:extLst>
              <a:ext uri="{FF2B5EF4-FFF2-40B4-BE49-F238E27FC236}">
                <a16:creationId xmlns:a16="http://schemas.microsoft.com/office/drawing/2014/main" id="{CD08BCF8-5D0B-4845-8E53-C339B108AC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1744" y="5681106"/>
            <a:ext cx="500795" cy="505060"/>
          </a:xfrm>
          <a:prstGeom prst="rect">
            <a:avLst/>
          </a:prstGeom>
        </p:spPr>
      </p:pic>
      <p:pic>
        <p:nvPicPr>
          <p:cNvPr id="40" name="Picture 39">
            <a:extLst>
              <a:ext uri="{FF2B5EF4-FFF2-40B4-BE49-F238E27FC236}">
                <a16:creationId xmlns:a16="http://schemas.microsoft.com/office/drawing/2014/main" id="{2D874388-448D-4A51-A31F-CC66C2C354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7498" y="6275872"/>
            <a:ext cx="465041" cy="465527"/>
          </a:xfrm>
          <a:prstGeom prst="rect">
            <a:avLst/>
          </a:prstGeom>
        </p:spPr>
      </p:pic>
      <p:pic>
        <p:nvPicPr>
          <p:cNvPr id="41" name="Picture 40">
            <a:extLst>
              <a:ext uri="{FF2B5EF4-FFF2-40B4-BE49-F238E27FC236}">
                <a16:creationId xmlns:a16="http://schemas.microsoft.com/office/drawing/2014/main" id="{A0F3DF44-BF2A-4695-A602-EDA149E8076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37929" y="5418007"/>
            <a:ext cx="470018" cy="470510"/>
          </a:xfrm>
          <a:prstGeom prst="rect">
            <a:avLst/>
          </a:prstGeom>
        </p:spPr>
      </p:pic>
      <p:pic>
        <p:nvPicPr>
          <p:cNvPr id="42" name="Picture 41">
            <a:extLst>
              <a:ext uri="{FF2B5EF4-FFF2-40B4-BE49-F238E27FC236}">
                <a16:creationId xmlns:a16="http://schemas.microsoft.com/office/drawing/2014/main" id="{F6A8762C-927E-4D4C-8BCD-CE45F8BF4DFB}"/>
              </a:ext>
            </a:extLst>
          </p:cNvPr>
          <p:cNvPicPr>
            <a:picLocks noChangeAspect="1"/>
          </p:cNvPicPr>
          <p:nvPr/>
        </p:nvPicPr>
        <p:blipFill>
          <a:blip r:embed="rId5"/>
          <a:stretch>
            <a:fillRect/>
          </a:stretch>
        </p:blipFill>
        <p:spPr>
          <a:xfrm rot="10800000">
            <a:off x="3284193" y="5540408"/>
            <a:ext cx="288731" cy="179400"/>
          </a:xfrm>
          <a:prstGeom prst="rect">
            <a:avLst/>
          </a:prstGeom>
        </p:spPr>
      </p:pic>
      <p:sp>
        <p:nvSpPr>
          <p:cNvPr id="43" name="TextBox 42">
            <a:extLst>
              <a:ext uri="{FF2B5EF4-FFF2-40B4-BE49-F238E27FC236}">
                <a16:creationId xmlns:a16="http://schemas.microsoft.com/office/drawing/2014/main" id="{3416C97A-DD01-41DC-BD7A-F99360F2C854}"/>
              </a:ext>
            </a:extLst>
          </p:cNvPr>
          <p:cNvSpPr txBox="1"/>
          <p:nvPr/>
        </p:nvSpPr>
        <p:spPr>
          <a:xfrm>
            <a:off x="2485227" y="5719809"/>
            <a:ext cx="108259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Gateway</a:t>
            </a:r>
          </a:p>
        </p:txBody>
      </p:sp>
      <p:sp>
        <p:nvSpPr>
          <p:cNvPr id="44" name="TextBox 43">
            <a:extLst>
              <a:ext uri="{FF2B5EF4-FFF2-40B4-BE49-F238E27FC236}">
                <a16:creationId xmlns:a16="http://schemas.microsoft.com/office/drawing/2014/main" id="{E61E51F4-F80D-4E97-9DEA-878BC98F608A}"/>
              </a:ext>
            </a:extLst>
          </p:cNvPr>
          <p:cNvSpPr txBox="1"/>
          <p:nvPr/>
        </p:nvSpPr>
        <p:spPr>
          <a:xfrm>
            <a:off x="951401" y="512615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Web Scale Set</a:t>
            </a:r>
          </a:p>
        </p:txBody>
      </p:sp>
      <p:sp>
        <p:nvSpPr>
          <p:cNvPr id="45" name="TextBox 44">
            <a:extLst>
              <a:ext uri="{FF2B5EF4-FFF2-40B4-BE49-F238E27FC236}">
                <a16:creationId xmlns:a16="http://schemas.microsoft.com/office/drawing/2014/main" id="{54570EA8-1CC3-4711-986A-E291BF9E7DE6}"/>
              </a:ext>
            </a:extLst>
          </p:cNvPr>
          <p:cNvSpPr txBox="1"/>
          <p:nvPr/>
        </p:nvSpPr>
        <p:spPr>
          <a:xfrm>
            <a:off x="952325" y="5733870"/>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pp Scale Set</a:t>
            </a:r>
          </a:p>
        </p:txBody>
      </p:sp>
      <p:sp>
        <p:nvSpPr>
          <p:cNvPr id="46" name="TextBox 45">
            <a:extLst>
              <a:ext uri="{FF2B5EF4-FFF2-40B4-BE49-F238E27FC236}">
                <a16:creationId xmlns:a16="http://schemas.microsoft.com/office/drawing/2014/main" id="{41CB5981-49A7-4277-8527-F9772F8BB12E}"/>
              </a:ext>
            </a:extLst>
          </p:cNvPr>
          <p:cNvSpPr txBox="1"/>
          <p:nvPr/>
        </p:nvSpPr>
        <p:spPr>
          <a:xfrm>
            <a:off x="957951" y="6238803"/>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QL </a:t>
            </a:r>
            <a:r>
              <a:rPr kumimoji="0" lang="en-US" sz="1400" b="0" i="0" u="none" strike="noStrike" kern="1200" cap="none" spc="0" normalizeH="0" baseline="0" noProof="0" dirty="0" err="1">
                <a:ln>
                  <a:noFill/>
                </a:ln>
                <a:solidFill>
                  <a:srgbClr val="0072C6">
                    <a:lumMod val="50000"/>
                  </a:srgbClr>
                </a:solidFill>
                <a:effectLst/>
                <a:uLnTx/>
                <a:uFillTx/>
                <a:latin typeface="Segoe UI"/>
                <a:ea typeface="+mn-ea"/>
                <a:cs typeface="+mn-cs"/>
              </a:rPr>
              <a:t>AlwaysOn</a:t>
            </a:r>
            <a:endPar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endParaRPr>
          </a:p>
        </p:txBody>
      </p:sp>
      <p:cxnSp>
        <p:nvCxnSpPr>
          <p:cNvPr id="47" name="Straight Arrow Connector 46">
            <a:extLst>
              <a:ext uri="{FF2B5EF4-FFF2-40B4-BE49-F238E27FC236}">
                <a16:creationId xmlns:a16="http://schemas.microsoft.com/office/drawing/2014/main" id="{14082CD2-311C-48E7-853E-39284A2930D8}"/>
              </a:ext>
            </a:extLst>
          </p:cNvPr>
          <p:cNvCxnSpPr>
            <a:cxnSpLocks/>
          </p:cNvCxnSpPr>
          <p:nvPr/>
        </p:nvCxnSpPr>
        <p:spPr>
          <a:xfrm flipV="1">
            <a:off x="642933" y="4044631"/>
            <a:ext cx="0" cy="603138"/>
          </a:xfrm>
          <a:prstGeom prst="straightConnector1">
            <a:avLst/>
          </a:prstGeom>
          <a:ln w="57150">
            <a:headEnd type="non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9DDC986-C439-4387-9E8B-75E3573BC3DF}"/>
              </a:ext>
            </a:extLst>
          </p:cNvPr>
          <p:cNvSpPr txBox="1"/>
          <p:nvPr/>
        </p:nvSpPr>
        <p:spPr>
          <a:xfrm>
            <a:off x="583868" y="4158404"/>
            <a:ext cx="1588452" cy="4893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VNET Peering</a:t>
            </a:r>
          </a:p>
        </p:txBody>
      </p:sp>
      <p:sp>
        <p:nvSpPr>
          <p:cNvPr id="82" name="Freeform 128">
            <a:extLst>
              <a:ext uri="{FF2B5EF4-FFF2-40B4-BE49-F238E27FC236}">
                <a16:creationId xmlns:a16="http://schemas.microsoft.com/office/drawing/2014/main" id="{FBE33D8E-9340-4119-9BC9-FE1D005B68C7}"/>
              </a:ext>
            </a:extLst>
          </p:cNvPr>
          <p:cNvSpPr>
            <a:spLocks noChangeAspect="1"/>
          </p:cNvSpPr>
          <p:nvPr/>
        </p:nvSpPr>
        <p:spPr bwMode="black">
          <a:xfrm>
            <a:off x="7321377" y="1990378"/>
            <a:ext cx="4136170" cy="235650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89" name="Freeform 128">
            <a:extLst>
              <a:ext uri="{FF2B5EF4-FFF2-40B4-BE49-F238E27FC236}">
                <a16:creationId xmlns:a16="http://schemas.microsoft.com/office/drawing/2014/main" id="{DD84C677-305E-4EF1-A46C-4756EBD23C99}"/>
              </a:ext>
            </a:extLst>
          </p:cNvPr>
          <p:cNvSpPr>
            <a:spLocks noChangeAspect="1"/>
          </p:cNvSpPr>
          <p:nvPr/>
        </p:nvSpPr>
        <p:spPr bwMode="black">
          <a:xfrm>
            <a:off x="7321377" y="4489196"/>
            <a:ext cx="4233152" cy="241176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BD6F0"/>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b"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FFFFFF"/>
              </a:solidFill>
              <a:effectLst/>
              <a:uLnTx/>
              <a:uFillTx/>
              <a:latin typeface="Segoe UI"/>
              <a:ea typeface="+mn-ea"/>
              <a:cs typeface="+mn-cs"/>
            </a:endParaRPr>
          </a:p>
        </p:txBody>
      </p:sp>
      <p:sp>
        <p:nvSpPr>
          <p:cNvPr id="90" name="TextBox 89">
            <a:extLst>
              <a:ext uri="{FF2B5EF4-FFF2-40B4-BE49-F238E27FC236}">
                <a16:creationId xmlns:a16="http://schemas.microsoft.com/office/drawing/2014/main" id="{4DA02B6E-C358-4192-BFA5-7CA6ADBA9511}"/>
              </a:ext>
            </a:extLst>
          </p:cNvPr>
          <p:cNvSpPr txBox="1"/>
          <p:nvPr/>
        </p:nvSpPr>
        <p:spPr>
          <a:xfrm>
            <a:off x="9215526" y="2756127"/>
            <a:ext cx="1811352"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East</a:t>
            </a:r>
          </a:p>
        </p:txBody>
      </p:sp>
      <p:sp>
        <p:nvSpPr>
          <p:cNvPr id="91" name="TextBox 90">
            <a:extLst>
              <a:ext uri="{FF2B5EF4-FFF2-40B4-BE49-F238E27FC236}">
                <a16:creationId xmlns:a16="http://schemas.microsoft.com/office/drawing/2014/main" id="{BCFCF8DB-C167-4525-8DC2-09DC8B82DF5F}"/>
              </a:ext>
            </a:extLst>
          </p:cNvPr>
          <p:cNvSpPr txBox="1"/>
          <p:nvPr/>
        </p:nvSpPr>
        <p:spPr>
          <a:xfrm>
            <a:off x="9264016" y="5236318"/>
            <a:ext cx="1714371" cy="517065"/>
          </a:xfrm>
          <a:prstGeom prst="rect">
            <a:avLst/>
          </a:prstGeom>
          <a:solidFill>
            <a:schemeClr val="bg1"/>
          </a:solidFill>
          <a:ln>
            <a:solidFill>
              <a:schemeClr val="tx2"/>
            </a:solidFill>
          </a:ln>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US West</a:t>
            </a:r>
          </a:p>
        </p:txBody>
      </p:sp>
      <p:pic>
        <p:nvPicPr>
          <p:cNvPr id="92" name="Picture 91">
            <a:extLst>
              <a:ext uri="{FF2B5EF4-FFF2-40B4-BE49-F238E27FC236}">
                <a16:creationId xmlns:a16="http://schemas.microsoft.com/office/drawing/2014/main" id="{0491AFBA-D8F8-42E2-BD4F-705D9EDC9B6E}"/>
              </a:ext>
            </a:extLst>
          </p:cNvPr>
          <p:cNvPicPr>
            <a:picLocks noChangeAspect="1"/>
          </p:cNvPicPr>
          <p:nvPr/>
        </p:nvPicPr>
        <p:blipFill>
          <a:blip r:embed="rId9"/>
          <a:stretch>
            <a:fillRect/>
          </a:stretch>
        </p:blipFill>
        <p:spPr>
          <a:xfrm>
            <a:off x="9357852" y="3478263"/>
            <a:ext cx="643282" cy="558095"/>
          </a:xfrm>
          <a:prstGeom prst="rect">
            <a:avLst/>
          </a:prstGeom>
        </p:spPr>
      </p:pic>
      <p:pic>
        <p:nvPicPr>
          <p:cNvPr id="93" name="Picture 92">
            <a:extLst>
              <a:ext uri="{FF2B5EF4-FFF2-40B4-BE49-F238E27FC236}">
                <a16:creationId xmlns:a16="http://schemas.microsoft.com/office/drawing/2014/main" id="{49687A3F-CF9E-4E09-A3E4-D142D1E3CDBF}"/>
              </a:ext>
            </a:extLst>
          </p:cNvPr>
          <p:cNvPicPr>
            <a:picLocks noChangeAspect="1"/>
          </p:cNvPicPr>
          <p:nvPr/>
        </p:nvPicPr>
        <p:blipFill>
          <a:blip r:embed="rId9"/>
          <a:stretch>
            <a:fillRect/>
          </a:stretch>
        </p:blipFill>
        <p:spPr>
          <a:xfrm>
            <a:off x="9210463" y="6042830"/>
            <a:ext cx="643282" cy="558095"/>
          </a:xfrm>
          <a:prstGeom prst="rect">
            <a:avLst/>
          </a:prstGeom>
        </p:spPr>
      </p:pic>
      <p:sp>
        <p:nvSpPr>
          <p:cNvPr id="94" name="TextBox 93">
            <a:extLst>
              <a:ext uri="{FF2B5EF4-FFF2-40B4-BE49-F238E27FC236}">
                <a16:creationId xmlns:a16="http://schemas.microsoft.com/office/drawing/2014/main" id="{C91E32CE-88FE-48B1-BEE9-C86ECF7512C6}"/>
              </a:ext>
            </a:extLst>
          </p:cNvPr>
          <p:cNvSpPr txBox="1"/>
          <p:nvPr/>
        </p:nvSpPr>
        <p:spPr>
          <a:xfrm>
            <a:off x="9776474" y="3476033"/>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sp>
        <p:nvSpPr>
          <p:cNvPr id="95" name="TextBox 94">
            <a:extLst>
              <a:ext uri="{FF2B5EF4-FFF2-40B4-BE49-F238E27FC236}">
                <a16:creationId xmlns:a16="http://schemas.microsoft.com/office/drawing/2014/main" id="{E8AC4BC4-8F1F-48E1-AE92-D59F20543D4A}"/>
              </a:ext>
            </a:extLst>
          </p:cNvPr>
          <p:cNvSpPr txBox="1"/>
          <p:nvPr/>
        </p:nvSpPr>
        <p:spPr>
          <a:xfrm>
            <a:off x="9656795" y="6032247"/>
            <a:ext cx="1707611"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Storage Account</a:t>
            </a:r>
          </a:p>
        </p:txBody>
      </p:sp>
      <p:cxnSp>
        <p:nvCxnSpPr>
          <p:cNvPr id="96" name="Straight Arrow Connector 3">
            <a:extLst>
              <a:ext uri="{FF2B5EF4-FFF2-40B4-BE49-F238E27FC236}">
                <a16:creationId xmlns:a16="http://schemas.microsoft.com/office/drawing/2014/main" id="{1389677D-94E6-429A-83CA-A7532200602D}"/>
              </a:ext>
            </a:extLst>
          </p:cNvPr>
          <p:cNvCxnSpPr>
            <a:cxnSpLocks/>
            <a:stCxn id="80" idx="2"/>
            <a:endCxn id="93" idx="1"/>
          </p:cNvCxnSpPr>
          <p:nvPr/>
        </p:nvCxnSpPr>
        <p:spPr>
          <a:xfrm rot="16200000" flipH="1">
            <a:off x="7755646" y="4867060"/>
            <a:ext cx="1901431" cy="1008204"/>
          </a:xfrm>
          <a:prstGeom prst="curvedConnector2">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00" name="Straight Arrow Connector 3">
            <a:extLst>
              <a:ext uri="{FF2B5EF4-FFF2-40B4-BE49-F238E27FC236}">
                <a16:creationId xmlns:a16="http://schemas.microsoft.com/office/drawing/2014/main" id="{40D1B077-61E9-4295-A2AE-F1FD35C37818}"/>
              </a:ext>
            </a:extLst>
          </p:cNvPr>
          <p:cNvCxnSpPr>
            <a:cxnSpLocks/>
            <a:stCxn id="2" idx="3"/>
            <a:endCxn id="92" idx="1"/>
          </p:cNvCxnSpPr>
          <p:nvPr/>
        </p:nvCxnSpPr>
        <p:spPr>
          <a:xfrm>
            <a:off x="8648782" y="3529693"/>
            <a:ext cx="709070" cy="227618"/>
          </a:xfrm>
          <a:prstGeom prst="curvedConnector3">
            <a:avLst>
              <a:gd name="adj1" fmla="val 50000"/>
            </a:avLst>
          </a:prstGeom>
          <a:ln w="28575">
            <a:solidFill>
              <a:schemeClr val="accent1"/>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03" name="TextBox 102">
            <a:extLst>
              <a:ext uri="{FF2B5EF4-FFF2-40B4-BE49-F238E27FC236}">
                <a16:creationId xmlns:a16="http://schemas.microsoft.com/office/drawing/2014/main" id="{D9CB7E7C-A483-4ECE-9640-0D1944765578}"/>
              </a:ext>
            </a:extLst>
          </p:cNvPr>
          <p:cNvSpPr txBox="1"/>
          <p:nvPr/>
        </p:nvSpPr>
        <p:spPr>
          <a:xfrm>
            <a:off x="7791502" y="5815264"/>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sp>
        <p:nvSpPr>
          <p:cNvPr id="104" name="TextBox 103">
            <a:extLst>
              <a:ext uri="{FF2B5EF4-FFF2-40B4-BE49-F238E27FC236}">
                <a16:creationId xmlns:a16="http://schemas.microsoft.com/office/drawing/2014/main" id="{23FEBEF9-0775-49F4-A6D8-02DE08CF75A6}"/>
              </a:ext>
            </a:extLst>
          </p:cNvPr>
          <p:cNvSpPr txBox="1"/>
          <p:nvPr/>
        </p:nvSpPr>
        <p:spPr>
          <a:xfrm>
            <a:off x="8381530" y="3660692"/>
            <a:ext cx="100934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3x copies</a:t>
            </a:r>
          </a:p>
        </p:txBody>
      </p:sp>
      <p:pic>
        <p:nvPicPr>
          <p:cNvPr id="2" name="Picture 1">
            <a:extLst>
              <a:ext uri="{FF2B5EF4-FFF2-40B4-BE49-F238E27FC236}">
                <a16:creationId xmlns:a16="http://schemas.microsoft.com/office/drawing/2014/main" id="{724DE4F8-24F6-4934-8C8B-A420AAF6E2A6}"/>
              </a:ext>
            </a:extLst>
          </p:cNvPr>
          <p:cNvPicPr>
            <a:picLocks noChangeAspect="1"/>
          </p:cNvPicPr>
          <p:nvPr/>
        </p:nvPicPr>
        <p:blipFill>
          <a:blip r:embed="rId10"/>
          <a:stretch>
            <a:fillRect/>
          </a:stretch>
        </p:blipFill>
        <p:spPr>
          <a:xfrm>
            <a:off x="7844320" y="3178444"/>
            <a:ext cx="804462" cy="702498"/>
          </a:xfrm>
          <a:prstGeom prst="rect">
            <a:avLst/>
          </a:prstGeom>
        </p:spPr>
      </p:pic>
      <p:pic>
        <p:nvPicPr>
          <p:cNvPr id="48" name="Picture 47">
            <a:extLst>
              <a:ext uri="{FF2B5EF4-FFF2-40B4-BE49-F238E27FC236}">
                <a16:creationId xmlns:a16="http://schemas.microsoft.com/office/drawing/2014/main" id="{9C3422EA-256F-4966-A030-4E69B98A3DDF}"/>
              </a:ext>
            </a:extLst>
          </p:cNvPr>
          <p:cNvPicPr>
            <a:picLocks noChangeAspect="1"/>
          </p:cNvPicPr>
          <p:nvPr/>
        </p:nvPicPr>
        <p:blipFill>
          <a:blip r:embed="rId5"/>
          <a:stretch>
            <a:fillRect/>
          </a:stretch>
        </p:blipFill>
        <p:spPr>
          <a:xfrm>
            <a:off x="7597440" y="3627911"/>
            <a:ext cx="288731" cy="179400"/>
          </a:xfrm>
          <a:prstGeom prst="rect">
            <a:avLst/>
          </a:prstGeom>
        </p:spPr>
      </p:pic>
      <p:sp>
        <p:nvSpPr>
          <p:cNvPr id="80" name="TextBox 79">
            <a:extLst>
              <a:ext uri="{FF2B5EF4-FFF2-40B4-BE49-F238E27FC236}">
                <a16:creationId xmlns:a16="http://schemas.microsoft.com/office/drawing/2014/main" id="{A810E3D5-BF17-44E6-948B-C2C9603BF84A}"/>
              </a:ext>
            </a:extLst>
          </p:cNvPr>
          <p:cNvSpPr txBox="1"/>
          <p:nvPr/>
        </p:nvSpPr>
        <p:spPr>
          <a:xfrm>
            <a:off x="7732570" y="3737183"/>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2C6">
                    <a:lumMod val="50000"/>
                  </a:srgbClr>
                </a:solidFill>
                <a:effectLst/>
                <a:uLnTx/>
                <a:uFillTx/>
                <a:latin typeface="Segoe UI"/>
                <a:ea typeface="+mn-ea"/>
                <a:cs typeface="+mn-cs"/>
              </a:rPr>
              <a:t>Azure Backup</a:t>
            </a:r>
          </a:p>
        </p:txBody>
      </p:sp>
      <p:cxnSp>
        <p:nvCxnSpPr>
          <p:cNvPr id="50" name="Straight Arrow Connector 3">
            <a:extLst>
              <a:ext uri="{FF2B5EF4-FFF2-40B4-BE49-F238E27FC236}">
                <a16:creationId xmlns:a16="http://schemas.microsoft.com/office/drawing/2014/main" id="{E3892A40-5436-4233-92BD-2AECD9894F29}"/>
              </a:ext>
            </a:extLst>
          </p:cNvPr>
          <p:cNvCxnSpPr>
            <a:cxnSpLocks/>
          </p:cNvCxnSpPr>
          <p:nvPr/>
        </p:nvCxnSpPr>
        <p:spPr>
          <a:xfrm flipV="1">
            <a:off x="2305896" y="3796692"/>
            <a:ext cx="5389730" cy="2765416"/>
          </a:xfrm>
          <a:prstGeom prst="curvedConnector2">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9" name="Straight Arrow Connector 3">
            <a:extLst>
              <a:ext uri="{FF2B5EF4-FFF2-40B4-BE49-F238E27FC236}">
                <a16:creationId xmlns:a16="http://schemas.microsoft.com/office/drawing/2014/main" id="{22B319CF-0901-448B-B0A1-D278FC01A3EC}"/>
              </a:ext>
            </a:extLst>
          </p:cNvPr>
          <p:cNvCxnSpPr>
            <a:cxnSpLocks/>
          </p:cNvCxnSpPr>
          <p:nvPr/>
        </p:nvCxnSpPr>
        <p:spPr>
          <a:xfrm rot="5400000" flipH="1" flipV="1">
            <a:off x="4762249" y="1001071"/>
            <a:ext cx="127139" cy="5594597"/>
          </a:xfrm>
          <a:prstGeom prst="curvedConnector3">
            <a:avLst>
              <a:gd name="adj1" fmla="val -17980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4" name="Straight Arrow Connector 3">
            <a:extLst>
              <a:ext uri="{FF2B5EF4-FFF2-40B4-BE49-F238E27FC236}">
                <a16:creationId xmlns:a16="http://schemas.microsoft.com/office/drawing/2014/main" id="{DBFA532D-D62B-4214-80F9-52E1B97F8373}"/>
              </a:ext>
            </a:extLst>
          </p:cNvPr>
          <p:cNvCxnSpPr>
            <a:cxnSpLocks/>
          </p:cNvCxnSpPr>
          <p:nvPr/>
        </p:nvCxnSpPr>
        <p:spPr>
          <a:xfrm rot="16200000" flipH="1">
            <a:off x="4456476" y="528680"/>
            <a:ext cx="717454" cy="5594597"/>
          </a:xfrm>
          <a:prstGeom prst="curvedConnector3">
            <a:avLst>
              <a:gd name="adj1" fmla="val -31863"/>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23" name="Straight Arrow Connector 3">
            <a:extLst>
              <a:ext uri="{FF2B5EF4-FFF2-40B4-BE49-F238E27FC236}">
                <a16:creationId xmlns:a16="http://schemas.microsoft.com/office/drawing/2014/main" id="{632E2798-BC57-4B02-8515-19DC9FE41DD4}"/>
              </a:ext>
            </a:extLst>
          </p:cNvPr>
          <p:cNvCxnSpPr>
            <a:cxnSpLocks/>
            <a:endCxn id="48" idx="1"/>
          </p:cNvCxnSpPr>
          <p:nvPr/>
        </p:nvCxnSpPr>
        <p:spPr>
          <a:xfrm>
            <a:off x="3284192" y="3311597"/>
            <a:ext cx="4313248" cy="406014"/>
          </a:xfrm>
          <a:prstGeom prst="curvedConnector3">
            <a:avLst>
              <a:gd name="adj1" fmla="val 50000"/>
            </a:avLst>
          </a:prstGeom>
          <a:ln w="28575">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28" name="TextBox 127">
            <a:extLst>
              <a:ext uri="{FF2B5EF4-FFF2-40B4-BE49-F238E27FC236}">
                <a16:creationId xmlns:a16="http://schemas.microsoft.com/office/drawing/2014/main" id="{E5F9C91A-9340-4419-8422-D22F9372BDFE}"/>
              </a:ext>
            </a:extLst>
          </p:cNvPr>
          <p:cNvSpPr txBox="1"/>
          <p:nvPr/>
        </p:nvSpPr>
        <p:spPr>
          <a:xfrm>
            <a:off x="5725249" y="4071805"/>
            <a:ext cx="181888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Segoe UI"/>
                <a:ea typeface="+mn-ea"/>
                <a:cs typeface="+mn-cs"/>
              </a:rPr>
              <a:t>VM + File/Folder Snapshot</a:t>
            </a:r>
          </a:p>
        </p:txBody>
      </p:sp>
      <p:cxnSp>
        <p:nvCxnSpPr>
          <p:cNvPr id="129" name="Straight Arrow Connector 3">
            <a:extLst>
              <a:ext uri="{FF2B5EF4-FFF2-40B4-BE49-F238E27FC236}">
                <a16:creationId xmlns:a16="http://schemas.microsoft.com/office/drawing/2014/main" id="{F736EB93-71A3-4E39-A031-0F18F423A76C}"/>
              </a:ext>
            </a:extLst>
          </p:cNvPr>
          <p:cNvCxnSpPr>
            <a:cxnSpLocks/>
          </p:cNvCxnSpPr>
          <p:nvPr/>
        </p:nvCxnSpPr>
        <p:spPr>
          <a:xfrm rot="5400000" flipH="1" flipV="1">
            <a:off x="5607877" y="2681530"/>
            <a:ext cx="24691" cy="7779927"/>
          </a:xfrm>
          <a:prstGeom prst="curvedConnector3">
            <a:avLst>
              <a:gd name="adj1" fmla="val -925843"/>
            </a:avLst>
          </a:prstGeom>
          <a:ln w="28575">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132" name="TextBox 131">
            <a:extLst>
              <a:ext uri="{FF2B5EF4-FFF2-40B4-BE49-F238E27FC236}">
                <a16:creationId xmlns:a16="http://schemas.microsoft.com/office/drawing/2014/main" id="{324027AF-56D5-48A8-AEB2-BA5E4F6869C4}"/>
              </a:ext>
            </a:extLst>
          </p:cNvPr>
          <p:cNvSpPr txBox="1"/>
          <p:nvPr/>
        </p:nvSpPr>
        <p:spPr>
          <a:xfrm>
            <a:off x="5094639" y="6434004"/>
            <a:ext cx="1883179"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68217A"/>
                </a:solidFill>
                <a:effectLst/>
                <a:uLnTx/>
                <a:uFillTx/>
                <a:latin typeface="Segoe UI"/>
                <a:ea typeface="+mn-ea"/>
                <a:cs typeface="+mn-cs"/>
              </a:rPr>
              <a:t>SQL Backup to URL</a:t>
            </a:r>
          </a:p>
        </p:txBody>
      </p:sp>
      <p:pic>
        <p:nvPicPr>
          <p:cNvPr id="133" name="Picture 132">
            <a:extLst>
              <a:ext uri="{FF2B5EF4-FFF2-40B4-BE49-F238E27FC236}">
                <a16:creationId xmlns:a16="http://schemas.microsoft.com/office/drawing/2014/main" id="{21BB14E6-6446-4274-96BD-D5C0D31E8ED8}"/>
              </a:ext>
            </a:extLst>
          </p:cNvPr>
          <p:cNvPicPr>
            <a:picLocks noChangeAspect="1"/>
          </p:cNvPicPr>
          <p:nvPr/>
        </p:nvPicPr>
        <p:blipFill>
          <a:blip r:embed="rId11"/>
          <a:stretch>
            <a:fillRect/>
          </a:stretch>
        </p:blipFill>
        <p:spPr>
          <a:xfrm>
            <a:off x="307713" y="1905414"/>
            <a:ext cx="3156189" cy="2130035"/>
          </a:xfrm>
          <a:prstGeom prst="rect">
            <a:avLst/>
          </a:prstGeom>
        </p:spPr>
      </p:pic>
      <p:pic>
        <p:nvPicPr>
          <p:cNvPr id="134" name="Picture 133">
            <a:extLst>
              <a:ext uri="{FF2B5EF4-FFF2-40B4-BE49-F238E27FC236}">
                <a16:creationId xmlns:a16="http://schemas.microsoft.com/office/drawing/2014/main" id="{8DA048FD-963C-4500-AD27-F6BB1D9D59B4}"/>
              </a:ext>
            </a:extLst>
          </p:cNvPr>
          <p:cNvPicPr>
            <a:picLocks noChangeAspect="1"/>
          </p:cNvPicPr>
          <p:nvPr/>
        </p:nvPicPr>
        <p:blipFill>
          <a:blip r:embed="rId11"/>
          <a:stretch>
            <a:fillRect/>
          </a:stretch>
        </p:blipFill>
        <p:spPr>
          <a:xfrm>
            <a:off x="282306" y="4634037"/>
            <a:ext cx="3138426" cy="2223055"/>
          </a:xfrm>
          <a:prstGeom prst="rect">
            <a:avLst/>
          </a:prstGeom>
        </p:spPr>
      </p:pic>
      <p:sp>
        <p:nvSpPr>
          <p:cNvPr id="135" name="TextBox 134">
            <a:extLst>
              <a:ext uri="{FF2B5EF4-FFF2-40B4-BE49-F238E27FC236}">
                <a16:creationId xmlns:a16="http://schemas.microsoft.com/office/drawing/2014/main" id="{628244F8-EA89-4AA2-8CFA-B69C60905443}"/>
              </a:ext>
            </a:extLst>
          </p:cNvPr>
          <p:cNvSpPr txBox="1"/>
          <p:nvPr/>
        </p:nvSpPr>
        <p:spPr>
          <a:xfrm>
            <a:off x="282306" y="1322946"/>
            <a:ext cx="310470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RESOURCES</a:t>
            </a:r>
          </a:p>
        </p:txBody>
      </p:sp>
      <p:sp>
        <p:nvSpPr>
          <p:cNvPr id="136" name="TextBox 135">
            <a:extLst>
              <a:ext uri="{FF2B5EF4-FFF2-40B4-BE49-F238E27FC236}">
                <a16:creationId xmlns:a16="http://schemas.microsoft.com/office/drawing/2014/main" id="{E178C0A8-7246-4781-90BF-903E4C4D98F3}"/>
              </a:ext>
            </a:extLst>
          </p:cNvPr>
          <p:cNvSpPr txBox="1"/>
          <p:nvPr/>
        </p:nvSpPr>
        <p:spPr>
          <a:xfrm>
            <a:off x="7321377" y="1330365"/>
            <a:ext cx="413617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8D7">
                    <a:lumMod val="50000"/>
                  </a:srgbClr>
                </a:solidFill>
                <a:effectLst/>
                <a:uLnTx/>
                <a:uFillTx/>
                <a:latin typeface="Segoe UI Light"/>
                <a:ea typeface="+mn-ea"/>
                <a:cs typeface="+mn-cs"/>
              </a:rPr>
              <a:t>PROTECTION</a:t>
            </a:r>
          </a:p>
        </p:txBody>
      </p:sp>
      <p:cxnSp>
        <p:nvCxnSpPr>
          <p:cNvPr id="59" name="Straight Arrow Connector 3">
            <a:extLst>
              <a:ext uri="{FF2B5EF4-FFF2-40B4-BE49-F238E27FC236}">
                <a16:creationId xmlns:a16="http://schemas.microsoft.com/office/drawing/2014/main" id="{94C022E0-D0B5-4AF0-B97D-DB9CDD271694}"/>
              </a:ext>
            </a:extLst>
          </p:cNvPr>
          <p:cNvCxnSpPr>
            <a:cxnSpLocks/>
          </p:cNvCxnSpPr>
          <p:nvPr/>
        </p:nvCxnSpPr>
        <p:spPr>
          <a:xfrm rot="16200000" flipH="1">
            <a:off x="4489081" y="393293"/>
            <a:ext cx="1203403" cy="5302045"/>
          </a:xfrm>
          <a:prstGeom prst="curvedConnector3">
            <a:avLst>
              <a:gd name="adj1" fmla="val -18996"/>
            </a:avLst>
          </a:prstGeom>
          <a:ln w="28575">
            <a:solidFill>
              <a:srgbClr val="C0000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71" name="TextBox 70">
            <a:extLst>
              <a:ext uri="{FF2B5EF4-FFF2-40B4-BE49-F238E27FC236}">
                <a16:creationId xmlns:a16="http://schemas.microsoft.com/office/drawing/2014/main" id="{003E899F-5F05-44DE-8F65-FFB074CD8C72}"/>
              </a:ext>
            </a:extLst>
          </p:cNvPr>
          <p:cNvSpPr txBox="1"/>
          <p:nvPr/>
        </p:nvSpPr>
        <p:spPr>
          <a:xfrm>
            <a:off x="6317159" y="2159829"/>
            <a:ext cx="1818882"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System State Backup</a:t>
            </a:r>
          </a:p>
        </p:txBody>
      </p:sp>
    </p:spTree>
    <p:extLst>
      <p:ext uri="{BB962C8B-B14F-4D97-AF65-F5344CB8AC3E}">
        <p14:creationId xmlns:p14="http://schemas.microsoft.com/office/powerpoint/2010/main" val="396273896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Azure Backup Scenarios </a:t>
            </a:r>
          </a:p>
        </p:txBody>
      </p:sp>
      <p:sp>
        <p:nvSpPr>
          <p:cNvPr id="4" name="Freeform 128">
            <a:extLst>
              <a:ext uri="{FF2B5EF4-FFF2-40B4-BE49-F238E27FC236}">
                <a16:creationId xmlns:a16="http://schemas.microsoft.com/office/drawing/2014/main" id="{43AA4DF3-64CC-4CDA-B7B5-329E9D766CD8}"/>
              </a:ext>
            </a:extLst>
          </p:cNvPr>
          <p:cNvSpPr>
            <a:spLocks noChangeAspect="1"/>
          </p:cNvSpPr>
          <p:nvPr/>
        </p:nvSpPr>
        <p:spPr bwMode="black">
          <a:xfrm>
            <a:off x="6243876" y="3401329"/>
            <a:ext cx="6068132" cy="345720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sp>
        <p:nvSpPr>
          <p:cNvPr id="5" name="Freeform 5">
            <a:extLst>
              <a:ext uri="{FF2B5EF4-FFF2-40B4-BE49-F238E27FC236}">
                <a16:creationId xmlns:a16="http://schemas.microsoft.com/office/drawing/2014/main" id="{22490121-0699-47BD-B7CB-D53EAA654301}"/>
              </a:ext>
            </a:extLst>
          </p:cNvPr>
          <p:cNvSpPr>
            <a:spLocks noEditPoints="1"/>
          </p:cNvSpPr>
          <p:nvPr/>
        </p:nvSpPr>
        <p:spPr bwMode="black">
          <a:xfrm>
            <a:off x="145972" y="3508582"/>
            <a:ext cx="1701531" cy="3349952"/>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DC3C00"/>
          </a:solidFill>
          <a:ln>
            <a:noFill/>
          </a:ln>
          <a:extLst/>
        </p:spPr>
        <p:txBody>
          <a:bodyPr vert="horz" wrap="square" lIns="91427" tIns="45713" rIns="91427" bIns="45713"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A3AE1183-FF33-4022-8D31-989CA8338E8C}"/>
              </a:ext>
            </a:extLst>
          </p:cNvPr>
          <p:cNvSpPr/>
          <p:nvPr/>
        </p:nvSpPr>
        <p:spPr bwMode="auto">
          <a:xfrm>
            <a:off x="1838956" y="4089697"/>
            <a:ext cx="2573315" cy="2760292"/>
          </a:xfrm>
          <a:prstGeom prst="rect">
            <a:avLst/>
          </a:prstGeom>
          <a:solidFill>
            <a:schemeClr val="bg1">
              <a:lumMod val="95000"/>
            </a:schemeClr>
          </a:solid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712FC424-CD47-4CD5-9EB8-C0E671DD3524}"/>
              </a:ext>
            </a:extLst>
          </p:cNvPr>
          <p:cNvPicPr>
            <a:picLocks noChangeAspect="1"/>
          </p:cNvPicPr>
          <p:nvPr/>
        </p:nvPicPr>
        <p:blipFill>
          <a:blip r:embed="rId3"/>
          <a:stretch>
            <a:fillRect/>
          </a:stretch>
        </p:blipFill>
        <p:spPr>
          <a:xfrm>
            <a:off x="10032763" y="2238612"/>
            <a:ext cx="2067166" cy="1266304"/>
          </a:xfrm>
          <a:prstGeom prst="rect">
            <a:avLst/>
          </a:prstGeom>
        </p:spPr>
      </p:pic>
      <p:pic>
        <p:nvPicPr>
          <p:cNvPr id="10" name="Picture 9">
            <a:extLst>
              <a:ext uri="{FF2B5EF4-FFF2-40B4-BE49-F238E27FC236}">
                <a16:creationId xmlns:a16="http://schemas.microsoft.com/office/drawing/2014/main" id="{169E90DD-7D34-4251-A240-E5F3B89BEB2B}"/>
              </a:ext>
            </a:extLst>
          </p:cNvPr>
          <p:cNvPicPr>
            <a:picLocks noChangeAspect="1"/>
          </p:cNvPicPr>
          <p:nvPr/>
        </p:nvPicPr>
        <p:blipFill>
          <a:blip r:embed="rId4"/>
          <a:stretch>
            <a:fillRect/>
          </a:stretch>
        </p:blipFill>
        <p:spPr>
          <a:xfrm>
            <a:off x="10416602" y="4405018"/>
            <a:ext cx="804462" cy="702498"/>
          </a:xfrm>
          <a:prstGeom prst="rect">
            <a:avLst/>
          </a:prstGeom>
        </p:spPr>
      </p:pic>
      <p:pic>
        <p:nvPicPr>
          <p:cNvPr id="11" name="Picture 10">
            <a:extLst>
              <a:ext uri="{FF2B5EF4-FFF2-40B4-BE49-F238E27FC236}">
                <a16:creationId xmlns:a16="http://schemas.microsoft.com/office/drawing/2014/main" id="{13192BFA-E7D7-4E36-8CD5-95615E9920EA}"/>
              </a:ext>
            </a:extLst>
          </p:cNvPr>
          <p:cNvPicPr>
            <a:picLocks noChangeAspect="1"/>
          </p:cNvPicPr>
          <p:nvPr/>
        </p:nvPicPr>
        <p:blipFill>
          <a:blip r:embed="rId5"/>
          <a:stretch>
            <a:fillRect/>
          </a:stretch>
        </p:blipFill>
        <p:spPr>
          <a:xfrm>
            <a:off x="10169722" y="4854485"/>
            <a:ext cx="288731" cy="179400"/>
          </a:xfrm>
          <a:prstGeom prst="rect">
            <a:avLst/>
          </a:prstGeom>
        </p:spPr>
      </p:pic>
      <p:pic>
        <p:nvPicPr>
          <p:cNvPr id="12" name="Picture 11">
            <a:extLst>
              <a:ext uri="{FF2B5EF4-FFF2-40B4-BE49-F238E27FC236}">
                <a16:creationId xmlns:a16="http://schemas.microsoft.com/office/drawing/2014/main" id="{62307D2C-1D12-4E20-AF94-2314DFDCB5D8}"/>
              </a:ext>
            </a:extLst>
          </p:cNvPr>
          <p:cNvPicPr>
            <a:picLocks noChangeAspect="1"/>
          </p:cNvPicPr>
          <p:nvPr/>
        </p:nvPicPr>
        <p:blipFill>
          <a:blip r:embed="rId6"/>
          <a:stretch>
            <a:fillRect/>
          </a:stretch>
        </p:blipFill>
        <p:spPr>
          <a:xfrm>
            <a:off x="11315070" y="5453502"/>
            <a:ext cx="643282" cy="558095"/>
          </a:xfrm>
          <a:prstGeom prst="rect">
            <a:avLst/>
          </a:prstGeom>
        </p:spPr>
      </p:pic>
      <p:cxnSp>
        <p:nvCxnSpPr>
          <p:cNvPr id="13" name="Straight Arrow Connector 3">
            <a:extLst>
              <a:ext uri="{FF2B5EF4-FFF2-40B4-BE49-F238E27FC236}">
                <a16:creationId xmlns:a16="http://schemas.microsoft.com/office/drawing/2014/main" id="{6238D3F1-1F80-4EEE-B263-3888110F9EF3}"/>
              </a:ext>
            </a:extLst>
          </p:cNvPr>
          <p:cNvCxnSpPr>
            <a:cxnSpLocks/>
            <a:stCxn id="10" idx="3"/>
            <a:endCxn id="12" idx="0"/>
          </p:cNvCxnSpPr>
          <p:nvPr/>
        </p:nvCxnSpPr>
        <p:spPr>
          <a:xfrm>
            <a:off x="11221064" y="4756267"/>
            <a:ext cx="415647" cy="697235"/>
          </a:xfrm>
          <a:prstGeom prst="curvedConnector2">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17C09053-21E5-4B2F-8530-CA19F9D849D8}"/>
              </a:ext>
            </a:extLst>
          </p:cNvPr>
          <p:cNvSpPr txBox="1"/>
          <p:nvPr/>
        </p:nvSpPr>
        <p:spPr>
          <a:xfrm>
            <a:off x="11402022" y="4737758"/>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sp>
        <p:nvSpPr>
          <p:cNvPr id="17" name="TextBox 16">
            <a:extLst>
              <a:ext uri="{FF2B5EF4-FFF2-40B4-BE49-F238E27FC236}">
                <a16:creationId xmlns:a16="http://schemas.microsoft.com/office/drawing/2014/main" id="{2E9AACAC-90B1-4FC0-8AD8-6EB83CF7C95A}"/>
              </a:ext>
            </a:extLst>
          </p:cNvPr>
          <p:cNvSpPr txBox="1"/>
          <p:nvPr/>
        </p:nvSpPr>
        <p:spPr>
          <a:xfrm>
            <a:off x="10345675" y="4964687"/>
            <a:ext cx="939378"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sp>
        <p:nvSpPr>
          <p:cNvPr id="18" name="TextBox 17">
            <a:extLst>
              <a:ext uri="{FF2B5EF4-FFF2-40B4-BE49-F238E27FC236}">
                <a16:creationId xmlns:a16="http://schemas.microsoft.com/office/drawing/2014/main" id="{F665F77C-F204-414E-8699-F9FE04A14F59}"/>
              </a:ext>
            </a:extLst>
          </p:cNvPr>
          <p:cNvSpPr txBox="1"/>
          <p:nvPr/>
        </p:nvSpPr>
        <p:spPr>
          <a:xfrm>
            <a:off x="11041511" y="5803210"/>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pic>
        <p:nvPicPr>
          <p:cNvPr id="22" name="Picture 21">
            <a:extLst>
              <a:ext uri="{FF2B5EF4-FFF2-40B4-BE49-F238E27FC236}">
                <a16:creationId xmlns:a16="http://schemas.microsoft.com/office/drawing/2014/main" id="{6EB95453-B317-4B75-9A67-7B508D23C9FF}"/>
              </a:ext>
            </a:extLst>
          </p:cNvPr>
          <p:cNvPicPr>
            <a:picLocks noChangeAspect="1"/>
          </p:cNvPicPr>
          <p:nvPr/>
        </p:nvPicPr>
        <p:blipFill>
          <a:blip r:embed="rId6"/>
          <a:stretch>
            <a:fillRect/>
          </a:stretch>
        </p:blipFill>
        <p:spPr>
          <a:xfrm>
            <a:off x="10868028" y="2580831"/>
            <a:ext cx="643282" cy="558095"/>
          </a:xfrm>
          <a:prstGeom prst="rect">
            <a:avLst/>
          </a:prstGeom>
        </p:spPr>
      </p:pic>
      <p:sp>
        <p:nvSpPr>
          <p:cNvPr id="23" name="TextBox 22">
            <a:extLst>
              <a:ext uri="{FF2B5EF4-FFF2-40B4-BE49-F238E27FC236}">
                <a16:creationId xmlns:a16="http://schemas.microsoft.com/office/drawing/2014/main" id="{31065FAF-EB94-47E3-909F-133A42FBD9FE}"/>
              </a:ext>
            </a:extLst>
          </p:cNvPr>
          <p:cNvSpPr txBox="1"/>
          <p:nvPr/>
        </p:nvSpPr>
        <p:spPr>
          <a:xfrm>
            <a:off x="10594469" y="2930539"/>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torage</a:t>
            </a:r>
          </a:p>
        </p:txBody>
      </p:sp>
      <p:cxnSp>
        <p:nvCxnSpPr>
          <p:cNvPr id="24" name="Straight Arrow Connector 3">
            <a:extLst>
              <a:ext uri="{FF2B5EF4-FFF2-40B4-BE49-F238E27FC236}">
                <a16:creationId xmlns:a16="http://schemas.microsoft.com/office/drawing/2014/main" id="{BD53EF6D-4EAE-45ED-98AF-ED55083E45E9}"/>
              </a:ext>
            </a:extLst>
          </p:cNvPr>
          <p:cNvCxnSpPr>
            <a:cxnSpLocks/>
            <a:stCxn id="10" idx="3"/>
            <a:endCxn id="22" idx="3"/>
          </p:cNvCxnSpPr>
          <p:nvPr/>
        </p:nvCxnSpPr>
        <p:spPr>
          <a:xfrm flipV="1">
            <a:off x="11221064" y="2859879"/>
            <a:ext cx="290246" cy="1896388"/>
          </a:xfrm>
          <a:prstGeom prst="curvedConnector3">
            <a:avLst>
              <a:gd name="adj1" fmla="val 178761"/>
            </a:avLst>
          </a:prstGeom>
          <a:ln w="28575">
            <a:solidFill>
              <a:schemeClr val="tx2"/>
            </a:solidFill>
            <a:prstDash val="sysDash"/>
            <a:headEnd type="none"/>
            <a:tailEnd type="triangle"/>
          </a:ln>
        </p:spPr>
        <p:style>
          <a:lnRef idx="1">
            <a:schemeClr val="accent2"/>
          </a:lnRef>
          <a:fillRef idx="0">
            <a:schemeClr val="accent2"/>
          </a:fillRef>
          <a:effectRef idx="0">
            <a:schemeClr val="accent2"/>
          </a:effectRef>
          <a:fontRef idx="minor">
            <a:schemeClr val="tx1"/>
          </a:fontRef>
        </p:style>
      </p:cxnSp>
      <p:sp>
        <p:nvSpPr>
          <p:cNvPr id="27" name="TextBox 26">
            <a:extLst>
              <a:ext uri="{FF2B5EF4-FFF2-40B4-BE49-F238E27FC236}">
                <a16:creationId xmlns:a16="http://schemas.microsoft.com/office/drawing/2014/main" id="{4B9B63B0-37C3-4FB6-8E62-319F57C48311}"/>
              </a:ext>
            </a:extLst>
          </p:cNvPr>
          <p:cNvSpPr txBox="1"/>
          <p:nvPr/>
        </p:nvSpPr>
        <p:spPr>
          <a:xfrm>
            <a:off x="11600190" y="2775189"/>
            <a:ext cx="943427"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rPr>
              <a:t>3x copies</a:t>
            </a:r>
          </a:p>
        </p:txBody>
      </p:sp>
      <p:pic>
        <p:nvPicPr>
          <p:cNvPr id="28" name="Picture 27">
            <a:extLst>
              <a:ext uri="{FF2B5EF4-FFF2-40B4-BE49-F238E27FC236}">
                <a16:creationId xmlns:a16="http://schemas.microsoft.com/office/drawing/2014/main" id="{B6AEE439-6A42-4019-A5BD-AAB014BFFA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81850" y="4515370"/>
            <a:ext cx="465041" cy="465527"/>
          </a:xfrm>
          <a:prstGeom prst="rect">
            <a:avLst/>
          </a:prstGeom>
        </p:spPr>
      </p:pic>
      <p:cxnSp>
        <p:nvCxnSpPr>
          <p:cNvPr id="30" name="Straight Arrow Connector 29">
            <a:extLst>
              <a:ext uri="{FF2B5EF4-FFF2-40B4-BE49-F238E27FC236}">
                <a16:creationId xmlns:a16="http://schemas.microsoft.com/office/drawing/2014/main" id="{EBFB9FCF-74F3-43ED-B756-E4FCD1D3440C}"/>
              </a:ext>
            </a:extLst>
          </p:cNvPr>
          <p:cNvCxnSpPr>
            <a:cxnSpLocks/>
          </p:cNvCxnSpPr>
          <p:nvPr/>
        </p:nvCxnSpPr>
        <p:spPr>
          <a:xfrm>
            <a:off x="8246891" y="4841633"/>
            <a:ext cx="192283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2763A15-D27D-4391-9E6D-441DA5609D96}"/>
              </a:ext>
            </a:extLst>
          </p:cNvPr>
          <p:cNvSpPr txBox="1"/>
          <p:nvPr/>
        </p:nvSpPr>
        <p:spPr>
          <a:xfrm>
            <a:off x="9445794" y="6132830"/>
            <a:ext cx="1148675"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cxnSp>
        <p:nvCxnSpPr>
          <p:cNvPr id="34" name="Straight Arrow Connector 33">
            <a:extLst>
              <a:ext uri="{FF2B5EF4-FFF2-40B4-BE49-F238E27FC236}">
                <a16:creationId xmlns:a16="http://schemas.microsoft.com/office/drawing/2014/main" id="{72BA8A29-D710-4480-8FE3-4C00271C6065}"/>
              </a:ext>
            </a:extLst>
          </p:cNvPr>
          <p:cNvCxnSpPr>
            <a:cxnSpLocks/>
            <a:endCxn id="32" idx="1"/>
          </p:cNvCxnSpPr>
          <p:nvPr/>
        </p:nvCxnSpPr>
        <p:spPr>
          <a:xfrm>
            <a:off x="8281075" y="6008172"/>
            <a:ext cx="465070" cy="0"/>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AC2E619-2647-4459-BED4-B751478FE42E}"/>
              </a:ext>
            </a:extLst>
          </p:cNvPr>
          <p:cNvSpPr txBox="1"/>
          <p:nvPr/>
        </p:nvSpPr>
        <p:spPr>
          <a:xfrm>
            <a:off x="8434105" y="6049881"/>
            <a:ext cx="104224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Files</a:t>
            </a:r>
          </a:p>
        </p:txBody>
      </p:sp>
      <p:cxnSp>
        <p:nvCxnSpPr>
          <p:cNvPr id="38" name="Straight Arrow Connector 37">
            <a:extLst>
              <a:ext uri="{FF2B5EF4-FFF2-40B4-BE49-F238E27FC236}">
                <a16:creationId xmlns:a16="http://schemas.microsoft.com/office/drawing/2014/main" id="{F2DBD4DA-977A-4C93-96E5-EFEC29F13F7A}"/>
              </a:ext>
            </a:extLst>
          </p:cNvPr>
          <p:cNvCxnSpPr>
            <a:cxnSpLocks/>
          </p:cNvCxnSpPr>
          <p:nvPr/>
        </p:nvCxnSpPr>
        <p:spPr>
          <a:xfrm rot="5400000" flipH="1" flipV="1">
            <a:off x="9137274" y="4813415"/>
            <a:ext cx="850402" cy="1214496"/>
          </a:xfrm>
          <a:prstGeom prst="curvedConnector2">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3C02552-68FC-4F21-A728-29194AC1013C}"/>
              </a:ext>
            </a:extLst>
          </p:cNvPr>
          <p:cNvPicPr>
            <a:picLocks noChangeAspect="1"/>
          </p:cNvPicPr>
          <p:nvPr/>
        </p:nvPicPr>
        <p:blipFill>
          <a:blip r:embed="rId8"/>
          <a:stretch>
            <a:fillRect/>
          </a:stretch>
        </p:blipFill>
        <p:spPr>
          <a:xfrm>
            <a:off x="8746145" y="5828772"/>
            <a:ext cx="418163" cy="358800"/>
          </a:xfrm>
          <a:prstGeom prst="rect">
            <a:avLst/>
          </a:prstGeom>
        </p:spPr>
      </p:pic>
      <p:pic>
        <p:nvPicPr>
          <p:cNvPr id="33" name="Picture 32">
            <a:extLst>
              <a:ext uri="{FF2B5EF4-FFF2-40B4-BE49-F238E27FC236}">
                <a16:creationId xmlns:a16="http://schemas.microsoft.com/office/drawing/2014/main" id="{6B373E40-244E-409F-BE40-48A8588336CD}"/>
              </a:ext>
            </a:extLst>
          </p:cNvPr>
          <p:cNvPicPr>
            <a:picLocks noChangeAspect="1"/>
          </p:cNvPicPr>
          <p:nvPr/>
        </p:nvPicPr>
        <p:blipFill>
          <a:blip r:embed="rId6"/>
          <a:stretch>
            <a:fillRect/>
          </a:stretch>
        </p:blipFill>
        <p:spPr>
          <a:xfrm>
            <a:off x="7829304" y="5726371"/>
            <a:ext cx="643282" cy="558095"/>
          </a:xfrm>
          <a:prstGeom prst="rect">
            <a:avLst/>
          </a:prstGeom>
        </p:spPr>
      </p:pic>
      <p:pic>
        <p:nvPicPr>
          <p:cNvPr id="46" name="Picture 45">
            <a:extLst>
              <a:ext uri="{FF2B5EF4-FFF2-40B4-BE49-F238E27FC236}">
                <a16:creationId xmlns:a16="http://schemas.microsoft.com/office/drawing/2014/main" id="{0857B89A-1E92-4CCE-933B-B9B44B9E2553}"/>
              </a:ext>
            </a:extLst>
          </p:cNvPr>
          <p:cNvPicPr>
            <a:picLocks noChangeAspect="1"/>
          </p:cNvPicPr>
          <p:nvPr/>
        </p:nvPicPr>
        <p:blipFill>
          <a:blip r:embed="rId9"/>
          <a:stretch>
            <a:fillRect/>
          </a:stretch>
        </p:blipFill>
        <p:spPr>
          <a:xfrm>
            <a:off x="1941509" y="5541293"/>
            <a:ext cx="539255" cy="659780"/>
          </a:xfrm>
          <a:prstGeom prst="rect">
            <a:avLst/>
          </a:prstGeom>
        </p:spPr>
      </p:pic>
      <p:pic>
        <p:nvPicPr>
          <p:cNvPr id="48" name="Picture 47">
            <a:extLst>
              <a:ext uri="{FF2B5EF4-FFF2-40B4-BE49-F238E27FC236}">
                <a16:creationId xmlns:a16="http://schemas.microsoft.com/office/drawing/2014/main" id="{15C5AE94-206A-4C07-B2A9-AD2577422960}"/>
              </a:ext>
            </a:extLst>
          </p:cNvPr>
          <p:cNvPicPr>
            <a:picLocks noChangeAspect="1"/>
          </p:cNvPicPr>
          <p:nvPr/>
        </p:nvPicPr>
        <p:blipFill>
          <a:blip r:embed="rId10"/>
          <a:stretch>
            <a:fillRect/>
          </a:stretch>
        </p:blipFill>
        <p:spPr>
          <a:xfrm>
            <a:off x="2079292" y="4479582"/>
            <a:ext cx="289447" cy="554303"/>
          </a:xfrm>
          <a:prstGeom prst="rect">
            <a:avLst/>
          </a:prstGeom>
        </p:spPr>
      </p:pic>
      <p:pic>
        <p:nvPicPr>
          <p:cNvPr id="49" name="Picture 48">
            <a:extLst>
              <a:ext uri="{FF2B5EF4-FFF2-40B4-BE49-F238E27FC236}">
                <a16:creationId xmlns:a16="http://schemas.microsoft.com/office/drawing/2014/main" id="{F7137A59-66D1-491C-A756-871D0448871E}"/>
              </a:ext>
            </a:extLst>
          </p:cNvPr>
          <p:cNvPicPr>
            <a:picLocks noChangeAspect="1"/>
          </p:cNvPicPr>
          <p:nvPr/>
        </p:nvPicPr>
        <p:blipFill>
          <a:blip r:embed="rId11"/>
          <a:stretch>
            <a:fillRect/>
          </a:stretch>
        </p:blipFill>
        <p:spPr>
          <a:xfrm>
            <a:off x="3026301" y="5541293"/>
            <a:ext cx="289447" cy="554303"/>
          </a:xfrm>
          <a:prstGeom prst="rect">
            <a:avLst/>
          </a:prstGeom>
        </p:spPr>
      </p:pic>
      <p:pic>
        <p:nvPicPr>
          <p:cNvPr id="50" name="Picture 49">
            <a:extLst>
              <a:ext uri="{FF2B5EF4-FFF2-40B4-BE49-F238E27FC236}">
                <a16:creationId xmlns:a16="http://schemas.microsoft.com/office/drawing/2014/main" id="{AFBFF250-CE0A-4F68-A197-A4CDA74A4A7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338340" y="5715857"/>
            <a:ext cx="245403" cy="320943"/>
          </a:xfrm>
          <a:prstGeom prst="rect">
            <a:avLst/>
          </a:prstGeom>
        </p:spPr>
      </p:pic>
      <p:pic>
        <p:nvPicPr>
          <p:cNvPr id="51" name="Picture 50">
            <a:extLst>
              <a:ext uri="{FF2B5EF4-FFF2-40B4-BE49-F238E27FC236}">
                <a16:creationId xmlns:a16="http://schemas.microsoft.com/office/drawing/2014/main" id="{36B16EB8-9B6A-4431-8610-2BE3C3CFF7F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601089" y="5715856"/>
            <a:ext cx="245403" cy="320943"/>
          </a:xfrm>
          <a:prstGeom prst="rect">
            <a:avLst/>
          </a:prstGeom>
        </p:spPr>
      </p:pic>
      <p:sp>
        <p:nvSpPr>
          <p:cNvPr id="52" name="TextBox 51">
            <a:extLst>
              <a:ext uri="{FF2B5EF4-FFF2-40B4-BE49-F238E27FC236}">
                <a16:creationId xmlns:a16="http://schemas.microsoft.com/office/drawing/2014/main" id="{B0A128AB-2012-4851-A8ED-7109091EF99F}"/>
              </a:ext>
            </a:extLst>
          </p:cNvPr>
          <p:cNvSpPr txBox="1"/>
          <p:nvPr/>
        </p:nvSpPr>
        <p:spPr>
          <a:xfrm>
            <a:off x="1886462" y="4905095"/>
            <a:ext cx="681768"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a:t>
            </a:r>
          </a:p>
        </p:txBody>
      </p:sp>
      <p:sp>
        <p:nvSpPr>
          <p:cNvPr id="53" name="TextBox 52">
            <a:extLst>
              <a:ext uri="{FF2B5EF4-FFF2-40B4-BE49-F238E27FC236}">
                <a16:creationId xmlns:a16="http://schemas.microsoft.com/office/drawing/2014/main" id="{6B21D8AC-67F0-47DD-B277-3CFD0B55F1D0}"/>
              </a:ext>
            </a:extLst>
          </p:cNvPr>
          <p:cNvSpPr txBox="1"/>
          <p:nvPr/>
        </p:nvSpPr>
        <p:spPr>
          <a:xfrm>
            <a:off x="2645432" y="5988520"/>
            <a:ext cx="1039527" cy="8771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 Server</a:t>
            </a:r>
          </a:p>
        </p:txBody>
      </p:sp>
      <p:sp>
        <p:nvSpPr>
          <p:cNvPr id="54" name="TextBox 53">
            <a:extLst>
              <a:ext uri="{FF2B5EF4-FFF2-40B4-BE49-F238E27FC236}">
                <a16:creationId xmlns:a16="http://schemas.microsoft.com/office/drawing/2014/main" id="{0E1DDA28-57AB-4D10-9967-80E0926FEF6A}"/>
              </a:ext>
            </a:extLst>
          </p:cNvPr>
          <p:cNvSpPr txBox="1"/>
          <p:nvPr/>
        </p:nvSpPr>
        <p:spPr>
          <a:xfrm>
            <a:off x="3646332" y="5541742"/>
            <a:ext cx="855400"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Local Disk</a:t>
            </a:r>
          </a:p>
        </p:txBody>
      </p:sp>
      <p:sp>
        <p:nvSpPr>
          <p:cNvPr id="55" name="TextBox 54">
            <a:extLst>
              <a:ext uri="{FF2B5EF4-FFF2-40B4-BE49-F238E27FC236}">
                <a16:creationId xmlns:a16="http://schemas.microsoft.com/office/drawing/2014/main" id="{738CDE4F-3C18-4F0D-AA96-AB6E908A822E}"/>
              </a:ext>
            </a:extLst>
          </p:cNvPr>
          <p:cNvSpPr txBox="1"/>
          <p:nvPr/>
        </p:nvSpPr>
        <p:spPr>
          <a:xfrm>
            <a:off x="1730168" y="6085468"/>
            <a:ext cx="965322"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VM Cluster</a:t>
            </a:r>
          </a:p>
        </p:txBody>
      </p:sp>
      <p:cxnSp>
        <p:nvCxnSpPr>
          <p:cNvPr id="56" name="Straight Arrow Connector 55">
            <a:extLst>
              <a:ext uri="{FF2B5EF4-FFF2-40B4-BE49-F238E27FC236}">
                <a16:creationId xmlns:a16="http://schemas.microsoft.com/office/drawing/2014/main" id="{B239274E-4940-4D3A-B8B2-5A16E36ABF14}"/>
              </a:ext>
            </a:extLst>
          </p:cNvPr>
          <p:cNvCxnSpPr>
            <a:cxnSpLocks/>
          </p:cNvCxnSpPr>
          <p:nvPr/>
        </p:nvCxnSpPr>
        <p:spPr>
          <a:xfrm rot="5400000" flipH="1" flipV="1">
            <a:off x="6369533" y="1899486"/>
            <a:ext cx="861371" cy="6771371"/>
          </a:xfrm>
          <a:prstGeom prst="curvedConnector3">
            <a:avLst>
              <a:gd name="adj1" fmla="val 192019"/>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55">
            <a:extLst>
              <a:ext uri="{FF2B5EF4-FFF2-40B4-BE49-F238E27FC236}">
                <a16:creationId xmlns:a16="http://schemas.microsoft.com/office/drawing/2014/main" id="{79C1F680-687B-42B6-BE22-382CFF89EB90}"/>
              </a:ext>
            </a:extLst>
          </p:cNvPr>
          <p:cNvCxnSpPr>
            <a:cxnSpLocks/>
            <a:stCxn id="48" idx="0"/>
            <a:endCxn id="11" idx="0"/>
          </p:cNvCxnSpPr>
          <p:nvPr/>
        </p:nvCxnSpPr>
        <p:spPr>
          <a:xfrm rot="16200000" flipH="1">
            <a:off x="6081600" y="621997"/>
            <a:ext cx="374903" cy="8090072"/>
          </a:xfrm>
          <a:prstGeom prst="curvedConnector3">
            <a:avLst>
              <a:gd name="adj1" fmla="val -210699"/>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55">
            <a:extLst>
              <a:ext uri="{FF2B5EF4-FFF2-40B4-BE49-F238E27FC236}">
                <a16:creationId xmlns:a16="http://schemas.microsoft.com/office/drawing/2014/main" id="{532AA36F-C930-4B93-A696-D816D72493C3}"/>
              </a:ext>
            </a:extLst>
          </p:cNvPr>
          <p:cNvCxnSpPr>
            <a:cxnSpLocks/>
          </p:cNvCxnSpPr>
          <p:nvPr/>
        </p:nvCxnSpPr>
        <p:spPr>
          <a:xfrm>
            <a:off x="2480764" y="5819907"/>
            <a:ext cx="537805" cy="8865"/>
          </a:xfrm>
          <a:prstGeom prst="straightConnector1">
            <a:avLst/>
          </a:prstGeom>
          <a:ln w="28575">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376C192-B462-482F-A413-2C389455D095}"/>
              </a:ext>
            </a:extLst>
          </p:cNvPr>
          <p:cNvCxnSpPr>
            <a:cxnSpLocks/>
          </p:cNvCxnSpPr>
          <p:nvPr/>
        </p:nvCxnSpPr>
        <p:spPr>
          <a:xfrm>
            <a:off x="1924949" y="1563745"/>
            <a:ext cx="612991" cy="0"/>
          </a:xfrm>
          <a:prstGeom prst="straightConnector1">
            <a:avLst/>
          </a:prstGeom>
          <a:ln w="28575">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3B6E84D-4331-4ACB-B8DA-105230E3D5F8}"/>
              </a:ext>
            </a:extLst>
          </p:cNvPr>
          <p:cNvSpPr txBox="1"/>
          <p:nvPr/>
        </p:nvSpPr>
        <p:spPr>
          <a:xfrm>
            <a:off x="2455362" y="1325929"/>
            <a:ext cx="6204138" cy="1843582"/>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VM Extens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disks, files,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RS Agent: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Windows only files and folder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Backup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VMs, volumes, files, folders, apps</a:t>
            </a:r>
            <a:endParaRPr kumimoji="0" lang="en-US" sz="1400" b="0" i="1" u="none" strike="noStrike" kern="1200" cap="none" spc="0" normalizeH="0" baseline="0" noProof="0" dirty="0">
              <a:ln>
                <a:noFill/>
              </a:ln>
              <a:solidFill>
                <a:srgbClr val="FF0000"/>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QL DB Long Term Retention: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DB backup file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Azure Storage Snapshots: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Azure Files shares</a:t>
            </a:r>
            <a:endParaRPr kumimoji="0" lang="en-US" sz="1400" b="0" i="1" u="none" strike="noStrike" kern="1200" cap="none" spc="0" normalizeH="0" baseline="0" noProof="0" dirty="0">
              <a:ln>
                <a:noFill/>
              </a:ln>
              <a:solidFill>
                <a:srgbClr val="FF0000"/>
              </a:solidFill>
              <a:effectLst/>
              <a:uLnTx/>
              <a:uFillTx/>
              <a:latin typeface="Segoe UI 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78D7">
                    <a:lumMod val="50000"/>
                  </a:srgbClr>
                </a:solidFill>
                <a:effectLst/>
                <a:uLnTx/>
                <a:uFillTx/>
                <a:latin typeface="Segoe UI"/>
                <a:ea typeface="+mn-ea"/>
                <a:cs typeface="+mn-cs"/>
              </a:rPr>
              <a:t>Managed Backup for SQL Server:  </a:t>
            </a:r>
            <a:r>
              <a:rPr kumimoji="0" lang="en-US" sz="1400" b="0" i="0" u="none" strike="noStrike" kern="1200" cap="none" spc="0" normalizeH="0" baseline="0" noProof="0" dirty="0">
                <a:ln>
                  <a:noFill/>
                </a:ln>
                <a:solidFill>
                  <a:srgbClr val="0078D7">
                    <a:lumMod val="50000"/>
                  </a:srgbClr>
                </a:solidFill>
                <a:effectLst/>
                <a:uLnTx/>
                <a:uFillTx/>
                <a:latin typeface="Segoe UI Light"/>
                <a:ea typeface="+mn-ea"/>
                <a:cs typeface="+mn-cs"/>
              </a:rPr>
              <a:t>SQL in a VM backup files</a:t>
            </a:r>
          </a:p>
        </p:txBody>
      </p:sp>
      <p:cxnSp>
        <p:nvCxnSpPr>
          <p:cNvPr id="81" name="Straight Arrow Connector 80">
            <a:extLst>
              <a:ext uri="{FF2B5EF4-FFF2-40B4-BE49-F238E27FC236}">
                <a16:creationId xmlns:a16="http://schemas.microsoft.com/office/drawing/2014/main" id="{72289004-9C48-48EA-9AB2-88A5B412D35E}"/>
              </a:ext>
            </a:extLst>
          </p:cNvPr>
          <p:cNvCxnSpPr>
            <a:cxnSpLocks/>
          </p:cNvCxnSpPr>
          <p:nvPr/>
        </p:nvCxnSpPr>
        <p:spPr>
          <a:xfrm>
            <a:off x="1924949" y="1820899"/>
            <a:ext cx="612991" cy="0"/>
          </a:xfrm>
          <a:prstGeom prst="straightConnector1">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2895DDDC-CF7A-4423-9804-DE780DD3CF7D}"/>
              </a:ext>
            </a:extLst>
          </p:cNvPr>
          <p:cNvCxnSpPr>
            <a:cxnSpLocks/>
          </p:cNvCxnSpPr>
          <p:nvPr/>
        </p:nvCxnSpPr>
        <p:spPr>
          <a:xfrm>
            <a:off x="1924948" y="2094683"/>
            <a:ext cx="612991" cy="0"/>
          </a:xfrm>
          <a:prstGeom prst="straightConnector1">
            <a:avLst/>
          </a:prstGeom>
          <a:ln w="2857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F81EF342-7D7B-4307-948D-2A21BC38ACB7}"/>
              </a:ext>
            </a:extLst>
          </p:cNvPr>
          <p:cNvCxnSpPr>
            <a:cxnSpLocks/>
          </p:cNvCxnSpPr>
          <p:nvPr/>
        </p:nvCxnSpPr>
        <p:spPr>
          <a:xfrm>
            <a:off x="1928285" y="2355592"/>
            <a:ext cx="612991" cy="0"/>
          </a:xfrm>
          <a:prstGeom prst="straightConnector1">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37">
            <a:extLst>
              <a:ext uri="{FF2B5EF4-FFF2-40B4-BE49-F238E27FC236}">
                <a16:creationId xmlns:a16="http://schemas.microsoft.com/office/drawing/2014/main" id="{347D8946-8D60-48A7-A09E-3E46BBC05A52}"/>
              </a:ext>
            </a:extLst>
          </p:cNvPr>
          <p:cNvCxnSpPr>
            <a:cxnSpLocks/>
            <a:stCxn id="102" idx="0"/>
          </p:cNvCxnSpPr>
          <p:nvPr/>
        </p:nvCxnSpPr>
        <p:spPr>
          <a:xfrm rot="5400000" flipH="1" flipV="1">
            <a:off x="9774955" y="5338075"/>
            <a:ext cx="771407" cy="191690"/>
          </a:xfrm>
          <a:prstGeom prst="curvedConnector3">
            <a:avLst>
              <a:gd name="adj1" fmla="val 50000"/>
            </a:avLst>
          </a:prstGeom>
          <a:ln w="2857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id="{5DE3701F-E559-4233-B2BF-DC5C8DB85B0C}"/>
              </a:ext>
            </a:extLst>
          </p:cNvPr>
          <p:cNvPicPr>
            <a:picLocks noChangeAspect="1"/>
          </p:cNvPicPr>
          <p:nvPr/>
        </p:nvPicPr>
        <p:blipFill>
          <a:blip r:embed="rId13"/>
          <a:stretch>
            <a:fillRect/>
          </a:stretch>
        </p:blipFill>
        <p:spPr>
          <a:xfrm>
            <a:off x="9845775" y="5819623"/>
            <a:ext cx="438075" cy="458467"/>
          </a:xfrm>
          <a:prstGeom prst="rect">
            <a:avLst/>
          </a:prstGeom>
        </p:spPr>
      </p:pic>
      <p:cxnSp>
        <p:nvCxnSpPr>
          <p:cNvPr id="105" name="Straight Arrow Connector 104">
            <a:extLst>
              <a:ext uri="{FF2B5EF4-FFF2-40B4-BE49-F238E27FC236}">
                <a16:creationId xmlns:a16="http://schemas.microsoft.com/office/drawing/2014/main" id="{1F8253D0-3E60-4E2C-89E0-C9BD731A94C3}"/>
              </a:ext>
            </a:extLst>
          </p:cNvPr>
          <p:cNvCxnSpPr>
            <a:cxnSpLocks/>
          </p:cNvCxnSpPr>
          <p:nvPr/>
        </p:nvCxnSpPr>
        <p:spPr>
          <a:xfrm>
            <a:off x="1924948" y="2614208"/>
            <a:ext cx="612991" cy="0"/>
          </a:xfrm>
          <a:prstGeom prst="straightConnector1">
            <a:avLst/>
          </a:prstGeom>
          <a:ln w="28575">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5F329D07-64B0-4301-9087-BAA01E30236B}"/>
              </a:ext>
            </a:extLst>
          </p:cNvPr>
          <p:cNvSpPr txBox="1"/>
          <p:nvPr/>
        </p:nvSpPr>
        <p:spPr>
          <a:xfrm>
            <a:off x="7331272" y="4817474"/>
            <a:ext cx="1392346"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VM</a:t>
            </a:r>
          </a:p>
        </p:txBody>
      </p:sp>
      <p:pic>
        <p:nvPicPr>
          <p:cNvPr id="109" name="Picture 108">
            <a:extLst>
              <a:ext uri="{FF2B5EF4-FFF2-40B4-BE49-F238E27FC236}">
                <a16:creationId xmlns:a16="http://schemas.microsoft.com/office/drawing/2014/main" id="{A435729D-9466-4B31-AD3E-F554692155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36426" y="5747080"/>
            <a:ext cx="465041" cy="465527"/>
          </a:xfrm>
          <a:prstGeom prst="rect">
            <a:avLst/>
          </a:prstGeom>
        </p:spPr>
      </p:pic>
      <p:sp>
        <p:nvSpPr>
          <p:cNvPr id="110" name="TextBox 109">
            <a:extLst>
              <a:ext uri="{FF2B5EF4-FFF2-40B4-BE49-F238E27FC236}">
                <a16:creationId xmlns:a16="http://schemas.microsoft.com/office/drawing/2014/main" id="{6C6DB796-A3D0-491A-90A1-616BAA3C9838}"/>
              </a:ext>
            </a:extLst>
          </p:cNvPr>
          <p:cNvSpPr txBox="1"/>
          <p:nvPr/>
        </p:nvSpPr>
        <p:spPr>
          <a:xfrm>
            <a:off x="6451664" y="6083875"/>
            <a:ext cx="1392346" cy="6832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SQL Server in Azure VM</a:t>
            </a:r>
          </a:p>
        </p:txBody>
      </p:sp>
      <p:pic>
        <p:nvPicPr>
          <p:cNvPr id="111" name="Picture 110">
            <a:extLst>
              <a:ext uri="{FF2B5EF4-FFF2-40B4-BE49-F238E27FC236}">
                <a16:creationId xmlns:a16="http://schemas.microsoft.com/office/drawing/2014/main" id="{4995914E-A2A7-424C-B211-22F663FE9A5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29571" y="5887521"/>
            <a:ext cx="280056" cy="370783"/>
          </a:xfrm>
          <a:prstGeom prst="rect">
            <a:avLst/>
          </a:prstGeom>
        </p:spPr>
      </p:pic>
      <p:cxnSp>
        <p:nvCxnSpPr>
          <p:cNvPr id="112" name="Straight Arrow Connector 37">
            <a:extLst>
              <a:ext uri="{FF2B5EF4-FFF2-40B4-BE49-F238E27FC236}">
                <a16:creationId xmlns:a16="http://schemas.microsoft.com/office/drawing/2014/main" id="{BFDB3DEC-20E5-434F-8E09-5EFD798C51A3}"/>
              </a:ext>
            </a:extLst>
          </p:cNvPr>
          <p:cNvCxnSpPr>
            <a:cxnSpLocks/>
          </p:cNvCxnSpPr>
          <p:nvPr/>
        </p:nvCxnSpPr>
        <p:spPr>
          <a:xfrm rot="5400000" flipH="1" flipV="1">
            <a:off x="8347992" y="4040154"/>
            <a:ext cx="943336" cy="2700123"/>
          </a:xfrm>
          <a:prstGeom prst="curvedConnector2">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FC8C8B1-1DC7-4347-A3D9-2F70865BB1D3}"/>
              </a:ext>
            </a:extLst>
          </p:cNvPr>
          <p:cNvCxnSpPr>
            <a:cxnSpLocks/>
          </p:cNvCxnSpPr>
          <p:nvPr/>
        </p:nvCxnSpPr>
        <p:spPr>
          <a:xfrm>
            <a:off x="1950562" y="2894350"/>
            <a:ext cx="612991" cy="0"/>
          </a:xfrm>
          <a:prstGeom prst="straightConnector1">
            <a:avLst/>
          </a:prstGeom>
          <a:ln w="28575">
            <a:solidFill>
              <a:schemeClr val="accent5">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DF1B3305-9168-4356-B25C-5D21702017A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03917" y="4544005"/>
            <a:ext cx="388076" cy="338888"/>
          </a:xfrm>
          <a:prstGeom prst="rect">
            <a:avLst/>
          </a:prstGeom>
        </p:spPr>
      </p:pic>
      <p:sp>
        <p:nvSpPr>
          <p:cNvPr id="119" name="TextBox 118">
            <a:extLst>
              <a:ext uri="{FF2B5EF4-FFF2-40B4-BE49-F238E27FC236}">
                <a16:creationId xmlns:a16="http://schemas.microsoft.com/office/drawing/2014/main" id="{BCDB8F00-4142-4F42-9F9C-9D3877BF0A99}"/>
              </a:ext>
            </a:extLst>
          </p:cNvPr>
          <p:cNvSpPr txBox="1"/>
          <p:nvPr/>
        </p:nvSpPr>
        <p:spPr>
          <a:xfrm>
            <a:off x="2636360" y="4467537"/>
            <a:ext cx="1377973"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MARS Agent</a:t>
            </a:r>
          </a:p>
        </p:txBody>
      </p:sp>
    </p:spTree>
    <p:extLst>
      <p:ext uri="{BB962C8B-B14F-4D97-AF65-F5344CB8AC3E}">
        <p14:creationId xmlns:p14="http://schemas.microsoft.com/office/powerpoint/2010/main" val="408414868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78274003-C23B-4D42-9EB5-D46F4AA38113}"/>
              </a:ext>
            </a:extLst>
          </p:cNvPr>
          <p:cNvSpPr/>
          <p:nvPr/>
        </p:nvSpPr>
        <p:spPr bwMode="auto">
          <a:xfrm>
            <a:off x="3862700" y="4998358"/>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EC061A76-79D9-490D-86F7-0CCA77FC0466}"/>
              </a:ext>
            </a:extLst>
          </p:cNvPr>
          <p:cNvSpPr/>
          <p:nvPr/>
        </p:nvSpPr>
        <p:spPr bwMode="auto">
          <a:xfrm>
            <a:off x="3862700" y="3290131"/>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07100CE9-E14C-4E29-A3E7-1BFE438A2759}"/>
              </a:ext>
            </a:extLst>
          </p:cNvPr>
          <p:cNvSpPr/>
          <p:nvPr/>
        </p:nvSpPr>
        <p:spPr bwMode="auto">
          <a:xfrm>
            <a:off x="3862700" y="1580972"/>
            <a:ext cx="4794191" cy="1709159"/>
          </a:xfrm>
          <a:prstGeom prst="roundRect">
            <a:avLst/>
          </a:prstGeom>
          <a:solidFill>
            <a:srgbClr val="CBD6F0"/>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a:extLst>
              <a:ext uri="{FF2B5EF4-FFF2-40B4-BE49-F238E27FC236}">
                <a16:creationId xmlns:a16="http://schemas.microsoft.com/office/drawing/2014/main" id="{BD7A9D02-460B-404A-B28C-7AA6D2C75886}"/>
              </a:ext>
            </a:extLst>
          </p:cNvPr>
          <p:cNvSpPr txBox="1">
            <a:spLocks/>
          </p:cNvSpPr>
          <p:nvPr/>
        </p:nvSpPr>
        <p:spPr>
          <a:xfrm>
            <a:off x="883" y="498"/>
            <a:ext cx="12435592" cy="1289219"/>
          </a:xfrm>
          <a:prstGeom prst="rect">
            <a:avLst/>
          </a:prstGeom>
          <a:solidFill>
            <a:srgbClr val="0078D7"/>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Design Patterns for a Distributed System</a:t>
            </a:r>
          </a:p>
        </p:txBody>
      </p:sp>
      <p:pic>
        <p:nvPicPr>
          <p:cNvPr id="3" name="Picture 2">
            <a:extLst>
              <a:ext uri="{FF2B5EF4-FFF2-40B4-BE49-F238E27FC236}">
                <a16:creationId xmlns:a16="http://schemas.microsoft.com/office/drawing/2014/main" id="{3F7810A1-49D5-42B2-9459-52CF5ECE947E}"/>
              </a:ext>
            </a:extLst>
          </p:cNvPr>
          <p:cNvPicPr>
            <a:picLocks noChangeAspect="1"/>
          </p:cNvPicPr>
          <p:nvPr/>
        </p:nvPicPr>
        <p:blipFill>
          <a:blip r:embed="rId3"/>
          <a:stretch>
            <a:fillRect/>
          </a:stretch>
        </p:blipFill>
        <p:spPr>
          <a:xfrm>
            <a:off x="5514993" y="1814543"/>
            <a:ext cx="1210547" cy="1235117"/>
          </a:xfrm>
          <a:prstGeom prst="rect">
            <a:avLst/>
          </a:prstGeom>
        </p:spPr>
      </p:pic>
      <p:pic>
        <p:nvPicPr>
          <p:cNvPr id="48" name="Picture 47">
            <a:extLst>
              <a:ext uri="{FF2B5EF4-FFF2-40B4-BE49-F238E27FC236}">
                <a16:creationId xmlns:a16="http://schemas.microsoft.com/office/drawing/2014/main" id="{F8F89E37-9AA7-4101-8169-D757DDEC7C6F}"/>
              </a:ext>
            </a:extLst>
          </p:cNvPr>
          <p:cNvPicPr>
            <a:picLocks noChangeAspect="1"/>
          </p:cNvPicPr>
          <p:nvPr/>
        </p:nvPicPr>
        <p:blipFill>
          <a:blip r:embed="rId3"/>
          <a:stretch>
            <a:fillRect/>
          </a:stretch>
        </p:blipFill>
        <p:spPr>
          <a:xfrm>
            <a:off x="5667393" y="3479549"/>
            <a:ext cx="1210547" cy="1235117"/>
          </a:xfrm>
          <a:prstGeom prst="rect">
            <a:avLst/>
          </a:prstGeom>
        </p:spPr>
      </p:pic>
      <p:pic>
        <p:nvPicPr>
          <p:cNvPr id="4" name="Picture 3">
            <a:extLst>
              <a:ext uri="{FF2B5EF4-FFF2-40B4-BE49-F238E27FC236}">
                <a16:creationId xmlns:a16="http://schemas.microsoft.com/office/drawing/2014/main" id="{466E5205-8B2E-4B7A-BDEA-B113005EB0A4}"/>
              </a:ext>
            </a:extLst>
          </p:cNvPr>
          <p:cNvPicPr>
            <a:picLocks noChangeAspect="1"/>
          </p:cNvPicPr>
          <p:nvPr/>
        </p:nvPicPr>
        <p:blipFill>
          <a:blip r:embed="rId4"/>
          <a:stretch>
            <a:fillRect/>
          </a:stretch>
        </p:blipFill>
        <p:spPr>
          <a:xfrm>
            <a:off x="4994681" y="5450356"/>
            <a:ext cx="784215" cy="805165"/>
          </a:xfrm>
          <a:prstGeom prst="rect">
            <a:avLst/>
          </a:prstGeom>
        </p:spPr>
      </p:pic>
      <p:pic>
        <p:nvPicPr>
          <p:cNvPr id="6" name="Picture 5">
            <a:extLst>
              <a:ext uri="{FF2B5EF4-FFF2-40B4-BE49-F238E27FC236}">
                <a16:creationId xmlns:a16="http://schemas.microsoft.com/office/drawing/2014/main" id="{81DF6905-BA07-4237-A278-B514FD3E252E}"/>
              </a:ext>
            </a:extLst>
          </p:cNvPr>
          <p:cNvPicPr>
            <a:picLocks noChangeAspect="1"/>
          </p:cNvPicPr>
          <p:nvPr/>
        </p:nvPicPr>
        <p:blipFill>
          <a:blip r:embed="rId5"/>
          <a:stretch>
            <a:fillRect/>
          </a:stretch>
        </p:blipFill>
        <p:spPr>
          <a:xfrm>
            <a:off x="6877940" y="5450356"/>
            <a:ext cx="932666" cy="976081"/>
          </a:xfrm>
          <a:prstGeom prst="rect">
            <a:avLst/>
          </a:prstGeom>
        </p:spPr>
      </p:pic>
      <p:sp>
        <p:nvSpPr>
          <p:cNvPr id="51" name="Rectangle: Rounded Corners 50">
            <a:extLst>
              <a:ext uri="{FF2B5EF4-FFF2-40B4-BE49-F238E27FC236}">
                <a16:creationId xmlns:a16="http://schemas.microsoft.com/office/drawing/2014/main" id="{4663E939-E4D8-4267-AD6A-4E44116FA474}"/>
              </a:ext>
            </a:extLst>
          </p:cNvPr>
          <p:cNvSpPr/>
          <p:nvPr/>
        </p:nvSpPr>
        <p:spPr bwMode="auto">
          <a:xfrm>
            <a:off x="9019373" y="158096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Rounded Corners 51">
            <a:extLst>
              <a:ext uri="{FF2B5EF4-FFF2-40B4-BE49-F238E27FC236}">
                <a16:creationId xmlns:a16="http://schemas.microsoft.com/office/drawing/2014/main" id="{FFC5B76F-422A-464C-B653-3B6BAA8540E3}"/>
              </a:ext>
            </a:extLst>
          </p:cNvPr>
          <p:cNvSpPr/>
          <p:nvPr/>
        </p:nvSpPr>
        <p:spPr bwMode="auto">
          <a:xfrm>
            <a:off x="454707" y="158097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Rounded Corners 53">
            <a:extLst>
              <a:ext uri="{FF2B5EF4-FFF2-40B4-BE49-F238E27FC236}">
                <a16:creationId xmlns:a16="http://schemas.microsoft.com/office/drawing/2014/main" id="{746334C8-50B8-437C-97E1-F0E7D9517529}"/>
              </a:ext>
            </a:extLst>
          </p:cNvPr>
          <p:cNvSpPr/>
          <p:nvPr/>
        </p:nvSpPr>
        <p:spPr bwMode="auto">
          <a:xfrm>
            <a:off x="454707" y="3290130"/>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3E0CED7-4EC8-457F-9F66-7B6612A4B2E0}"/>
              </a:ext>
            </a:extLst>
          </p:cNvPr>
          <p:cNvPicPr>
            <a:picLocks noChangeAspect="1"/>
          </p:cNvPicPr>
          <p:nvPr/>
        </p:nvPicPr>
        <p:blipFill>
          <a:blip r:embed="rId6"/>
          <a:stretch>
            <a:fillRect/>
          </a:stretch>
        </p:blipFill>
        <p:spPr>
          <a:xfrm>
            <a:off x="9864419" y="2134474"/>
            <a:ext cx="1263189" cy="602148"/>
          </a:xfrm>
          <a:prstGeom prst="rect">
            <a:avLst/>
          </a:prstGeom>
        </p:spPr>
      </p:pic>
      <p:pic>
        <p:nvPicPr>
          <p:cNvPr id="10" name="Picture 9">
            <a:extLst>
              <a:ext uri="{FF2B5EF4-FFF2-40B4-BE49-F238E27FC236}">
                <a16:creationId xmlns:a16="http://schemas.microsoft.com/office/drawing/2014/main" id="{C754877E-0FE7-45AE-A65C-25187D75163B}"/>
              </a:ext>
            </a:extLst>
          </p:cNvPr>
          <p:cNvPicPr>
            <a:picLocks noChangeAspect="1"/>
          </p:cNvPicPr>
          <p:nvPr/>
        </p:nvPicPr>
        <p:blipFill>
          <a:blip r:embed="rId7"/>
          <a:stretch>
            <a:fillRect/>
          </a:stretch>
        </p:blipFill>
        <p:spPr>
          <a:xfrm>
            <a:off x="1626997" y="2099630"/>
            <a:ext cx="608702" cy="671835"/>
          </a:xfrm>
          <a:prstGeom prst="rect">
            <a:avLst/>
          </a:prstGeom>
        </p:spPr>
      </p:pic>
      <p:sp>
        <p:nvSpPr>
          <p:cNvPr id="61" name="Rectangle: Rounded Corners 60">
            <a:extLst>
              <a:ext uri="{FF2B5EF4-FFF2-40B4-BE49-F238E27FC236}">
                <a16:creationId xmlns:a16="http://schemas.microsoft.com/office/drawing/2014/main" id="{B19826B4-24D9-4500-A478-7C481C3A333E}"/>
              </a:ext>
            </a:extLst>
          </p:cNvPr>
          <p:cNvSpPr/>
          <p:nvPr/>
        </p:nvSpPr>
        <p:spPr bwMode="auto">
          <a:xfrm>
            <a:off x="9019371" y="329012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7AB4C4BF-2DF0-4435-B20E-FE9FE819B968}"/>
              </a:ext>
            </a:extLst>
          </p:cNvPr>
          <p:cNvPicPr>
            <a:picLocks noChangeAspect="1"/>
          </p:cNvPicPr>
          <p:nvPr/>
        </p:nvPicPr>
        <p:blipFill>
          <a:blip r:embed="rId8"/>
          <a:stretch>
            <a:fillRect/>
          </a:stretch>
        </p:blipFill>
        <p:spPr>
          <a:xfrm>
            <a:off x="1555810" y="3698214"/>
            <a:ext cx="751076" cy="664435"/>
          </a:xfrm>
          <a:prstGeom prst="rect">
            <a:avLst/>
          </a:prstGeom>
        </p:spPr>
      </p:pic>
      <p:pic>
        <p:nvPicPr>
          <p:cNvPr id="12" name="Picture 11">
            <a:extLst>
              <a:ext uri="{FF2B5EF4-FFF2-40B4-BE49-F238E27FC236}">
                <a16:creationId xmlns:a16="http://schemas.microsoft.com/office/drawing/2014/main" id="{D3B10976-EE9E-46E3-8C0F-11AF97C35463}"/>
              </a:ext>
            </a:extLst>
          </p:cNvPr>
          <p:cNvPicPr>
            <a:picLocks noChangeAspect="1"/>
          </p:cNvPicPr>
          <p:nvPr/>
        </p:nvPicPr>
        <p:blipFill>
          <a:blip r:embed="rId9"/>
          <a:stretch>
            <a:fillRect/>
          </a:stretch>
        </p:blipFill>
        <p:spPr>
          <a:xfrm>
            <a:off x="9608144" y="3600645"/>
            <a:ext cx="747684" cy="641543"/>
          </a:xfrm>
          <a:prstGeom prst="rect">
            <a:avLst/>
          </a:prstGeom>
        </p:spPr>
      </p:pic>
      <p:cxnSp>
        <p:nvCxnSpPr>
          <p:cNvPr id="16" name="Straight Arrow Connector 15">
            <a:extLst>
              <a:ext uri="{FF2B5EF4-FFF2-40B4-BE49-F238E27FC236}">
                <a16:creationId xmlns:a16="http://schemas.microsoft.com/office/drawing/2014/main" id="{895BA799-697D-4BC2-95B8-29BE9709EB32}"/>
              </a:ext>
            </a:extLst>
          </p:cNvPr>
          <p:cNvCxnSpPr>
            <a:cxnSpLocks/>
            <a:stCxn id="3" idx="1"/>
            <a:endCxn id="10" idx="3"/>
          </p:cNvCxnSpPr>
          <p:nvPr/>
        </p:nvCxnSpPr>
        <p:spPr>
          <a:xfrm flipH="1">
            <a:off x="2235699" y="2432102"/>
            <a:ext cx="3279294" cy="3446"/>
          </a:xfrm>
          <a:prstGeom prst="straightConnector1">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a:extLst>
              <a:ext uri="{FF2B5EF4-FFF2-40B4-BE49-F238E27FC236}">
                <a16:creationId xmlns:a16="http://schemas.microsoft.com/office/drawing/2014/main" id="{499EE037-2342-4F80-85B8-7F7B423805EF}"/>
              </a:ext>
            </a:extLst>
          </p:cNvPr>
          <p:cNvCxnSpPr>
            <a:cxnSpLocks/>
          </p:cNvCxnSpPr>
          <p:nvPr/>
        </p:nvCxnSpPr>
        <p:spPr>
          <a:xfrm flipH="1">
            <a:off x="2235699" y="2660516"/>
            <a:ext cx="3431693" cy="1247171"/>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6" name="Straight Arrow Connector 65">
            <a:extLst>
              <a:ext uri="{FF2B5EF4-FFF2-40B4-BE49-F238E27FC236}">
                <a16:creationId xmlns:a16="http://schemas.microsoft.com/office/drawing/2014/main" id="{C422BAEF-09DE-4E86-9A3A-DC5A23B6A19A}"/>
              </a:ext>
            </a:extLst>
          </p:cNvPr>
          <p:cNvCxnSpPr>
            <a:cxnSpLocks/>
            <a:stCxn id="13" idx="3"/>
          </p:cNvCxnSpPr>
          <p:nvPr/>
        </p:nvCxnSpPr>
        <p:spPr>
          <a:xfrm flipV="1">
            <a:off x="2306886" y="4008556"/>
            <a:ext cx="3334728" cy="21876"/>
          </a:xfrm>
          <a:prstGeom prst="straightConnector1">
            <a:avLst/>
          </a:prstGeom>
          <a:ln w="57150">
            <a:solidFill>
              <a:schemeClr val="accent3"/>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69" name="Straight Arrow Connector 68">
            <a:extLst>
              <a:ext uri="{FF2B5EF4-FFF2-40B4-BE49-F238E27FC236}">
                <a16:creationId xmlns:a16="http://schemas.microsoft.com/office/drawing/2014/main" id="{9DD59C1C-22DB-4A24-AA8C-02E4392E39B0}"/>
              </a:ext>
            </a:extLst>
          </p:cNvPr>
          <p:cNvCxnSpPr>
            <a:cxnSpLocks/>
            <a:stCxn id="9" idx="1"/>
            <a:endCxn id="3" idx="3"/>
          </p:cNvCxnSpPr>
          <p:nvPr/>
        </p:nvCxnSpPr>
        <p:spPr>
          <a:xfrm flipH="1" flipV="1">
            <a:off x="6725540" y="2432102"/>
            <a:ext cx="3138879" cy="3446"/>
          </a:xfrm>
          <a:prstGeom prst="straightConnector1">
            <a:avLst/>
          </a:prstGeom>
          <a:ln w="57150">
            <a:solidFill>
              <a:schemeClr val="accent4">
                <a:lumMod val="50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77" name="Straight Arrow Connector 76">
            <a:extLst>
              <a:ext uri="{FF2B5EF4-FFF2-40B4-BE49-F238E27FC236}">
                <a16:creationId xmlns:a16="http://schemas.microsoft.com/office/drawing/2014/main" id="{DC778737-E189-4BFA-96AA-5E205E1DF4F7}"/>
              </a:ext>
            </a:extLst>
          </p:cNvPr>
          <p:cNvCxnSpPr>
            <a:cxnSpLocks/>
            <a:endCxn id="12" idx="1"/>
          </p:cNvCxnSpPr>
          <p:nvPr/>
        </p:nvCxnSpPr>
        <p:spPr>
          <a:xfrm>
            <a:off x="6211514" y="2418776"/>
            <a:ext cx="3396630" cy="1502641"/>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83" name="Straight Arrow Connector 82">
            <a:extLst>
              <a:ext uri="{FF2B5EF4-FFF2-40B4-BE49-F238E27FC236}">
                <a16:creationId xmlns:a16="http://schemas.microsoft.com/office/drawing/2014/main" id="{BF164EEB-4039-4811-B61A-3009FB85A973}"/>
              </a:ext>
            </a:extLst>
          </p:cNvPr>
          <p:cNvCxnSpPr>
            <a:cxnSpLocks/>
            <a:stCxn id="48" idx="2"/>
          </p:cNvCxnSpPr>
          <p:nvPr/>
        </p:nvCxnSpPr>
        <p:spPr>
          <a:xfrm flipH="1">
            <a:off x="5623348" y="4714666"/>
            <a:ext cx="649319" cy="794694"/>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6" name="Straight Arrow Connector 85">
            <a:extLst>
              <a:ext uri="{FF2B5EF4-FFF2-40B4-BE49-F238E27FC236}">
                <a16:creationId xmlns:a16="http://schemas.microsoft.com/office/drawing/2014/main" id="{6798BA16-E42E-4CEC-8C5E-234580C263D7}"/>
              </a:ext>
            </a:extLst>
          </p:cNvPr>
          <p:cNvCxnSpPr>
            <a:cxnSpLocks/>
          </p:cNvCxnSpPr>
          <p:nvPr/>
        </p:nvCxnSpPr>
        <p:spPr>
          <a:xfrm>
            <a:off x="6532620" y="4714666"/>
            <a:ext cx="474931" cy="770892"/>
          </a:xfrm>
          <a:prstGeom prst="straightConnector1">
            <a:avLst/>
          </a:prstGeom>
          <a:ln w="57150">
            <a:solidFill>
              <a:srgbClr val="C0000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sp>
        <p:nvSpPr>
          <p:cNvPr id="91" name="TextBox 90">
            <a:extLst>
              <a:ext uri="{FF2B5EF4-FFF2-40B4-BE49-F238E27FC236}">
                <a16:creationId xmlns:a16="http://schemas.microsoft.com/office/drawing/2014/main" id="{02A3EF1D-C48B-492C-AB1E-93C765F0A59B}"/>
              </a:ext>
            </a:extLst>
          </p:cNvPr>
          <p:cNvSpPr txBox="1"/>
          <p:nvPr/>
        </p:nvSpPr>
        <p:spPr>
          <a:xfrm>
            <a:off x="3990666" y="1539608"/>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WEB</a:t>
            </a:r>
          </a:p>
        </p:txBody>
      </p:sp>
      <p:sp>
        <p:nvSpPr>
          <p:cNvPr id="92" name="TextBox 91">
            <a:extLst>
              <a:ext uri="{FF2B5EF4-FFF2-40B4-BE49-F238E27FC236}">
                <a16:creationId xmlns:a16="http://schemas.microsoft.com/office/drawing/2014/main" id="{1DF8A9BA-BB57-4E6F-B8E9-FCA5FF3223F1}"/>
              </a:ext>
            </a:extLst>
          </p:cNvPr>
          <p:cNvSpPr txBox="1"/>
          <p:nvPr/>
        </p:nvSpPr>
        <p:spPr>
          <a:xfrm>
            <a:off x="3990666" y="3239754"/>
            <a:ext cx="1101804"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APP</a:t>
            </a:r>
          </a:p>
        </p:txBody>
      </p:sp>
      <p:sp>
        <p:nvSpPr>
          <p:cNvPr id="93" name="TextBox 92">
            <a:extLst>
              <a:ext uri="{FF2B5EF4-FFF2-40B4-BE49-F238E27FC236}">
                <a16:creationId xmlns:a16="http://schemas.microsoft.com/office/drawing/2014/main" id="{18D4BD72-1C63-432F-91BE-957D23276FE4}"/>
              </a:ext>
            </a:extLst>
          </p:cNvPr>
          <p:cNvSpPr txBox="1"/>
          <p:nvPr/>
        </p:nvSpPr>
        <p:spPr>
          <a:xfrm>
            <a:off x="3990666" y="4941350"/>
            <a:ext cx="1258840" cy="6832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1" i="0" u="none" strike="noStrike" kern="1200" cap="none" spc="0" normalizeH="0" baseline="0" noProof="0" dirty="0">
                <a:ln>
                  <a:noFill/>
                </a:ln>
                <a:solidFill>
                  <a:srgbClr val="0072C6">
                    <a:lumMod val="50000"/>
                  </a:srgbClr>
                </a:solidFill>
                <a:effectLst/>
                <a:uLnTx/>
                <a:uFillTx/>
                <a:latin typeface="Segoe UI Light"/>
                <a:ea typeface="+mn-ea"/>
                <a:cs typeface="+mn-cs"/>
              </a:rPr>
              <a:t>DATA</a:t>
            </a:r>
          </a:p>
        </p:txBody>
      </p:sp>
      <p:sp>
        <p:nvSpPr>
          <p:cNvPr id="94" name="TextBox 93">
            <a:extLst>
              <a:ext uri="{FF2B5EF4-FFF2-40B4-BE49-F238E27FC236}">
                <a16:creationId xmlns:a16="http://schemas.microsoft.com/office/drawing/2014/main" id="{B76E8D8B-9070-472D-9160-873ECCE6583C}"/>
              </a:ext>
            </a:extLst>
          </p:cNvPr>
          <p:cNvSpPr txBox="1"/>
          <p:nvPr/>
        </p:nvSpPr>
        <p:spPr>
          <a:xfrm>
            <a:off x="10167887" y="2622459"/>
            <a:ext cx="914004"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DN</a:t>
            </a:r>
          </a:p>
        </p:txBody>
      </p:sp>
      <p:sp>
        <p:nvSpPr>
          <p:cNvPr id="95" name="TextBox 94">
            <a:extLst>
              <a:ext uri="{FF2B5EF4-FFF2-40B4-BE49-F238E27FC236}">
                <a16:creationId xmlns:a16="http://schemas.microsoft.com/office/drawing/2014/main" id="{DA2D3759-38FD-463D-8C10-AECE1D368CA4}"/>
              </a:ext>
            </a:extLst>
          </p:cNvPr>
          <p:cNvSpPr txBox="1"/>
          <p:nvPr/>
        </p:nvSpPr>
        <p:spPr>
          <a:xfrm>
            <a:off x="9421735" y="4121390"/>
            <a:ext cx="112050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Queue</a:t>
            </a:r>
          </a:p>
        </p:txBody>
      </p:sp>
      <p:sp>
        <p:nvSpPr>
          <p:cNvPr id="98" name="TextBox 97">
            <a:extLst>
              <a:ext uri="{FF2B5EF4-FFF2-40B4-BE49-F238E27FC236}">
                <a16:creationId xmlns:a16="http://schemas.microsoft.com/office/drawing/2014/main" id="{230DB74F-D787-4677-9141-0D2EF1F3FEF0}"/>
              </a:ext>
            </a:extLst>
          </p:cNvPr>
          <p:cNvSpPr txBox="1"/>
          <p:nvPr/>
        </p:nvSpPr>
        <p:spPr>
          <a:xfrm>
            <a:off x="1372171" y="2659322"/>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ache</a:t>
            </a:r>
          </a:p>
        </p:txBody>
      </p:sp>
      <p:sp>
        <p:nvSpPr>
          <p:cNvPr id="99" name="TextBox 98">
            <a:extLst>
              <a:ext uri="{FF2B5EF4-FFF2-40B4-BE49-F238E27FC236}">
                <a16:creationId xmlns:a16="http://schemas.microsoft.com/office/drawing/2014/main" id="{3E61F2C3-C949-4DAE-9324-3C29AB8DC033}"/>
              </a:ext>
            </a:extLst>
          </p:cNvPr>
          <p:cNvSpPr txBox="1"/>
          <p:nvPr/>
        </p:nvSpPr>
        <p:spPr>
          <a:xfrm>
            <a:off x="1012334" y="4209852"/>
            <a:ext cx="1838027"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PI Management</a:t>
            </a:r>
          </a:p>
        </p:txBody>
      </p:sp>
      <p:sp>
        <p:nvSpPr>
          <p:cNvPr id="100" name="TextBox 99">
            <a:extLst>
              <a:ext uri="{FF2B5EF4-FFF2-40B4-BE49-F238E27FC236}">
                <a16:creationId xmlns:a16="http://schemas.microsoft.com/office/drawing/2014/main" id="{5DB33ED2-A0E3-4512-82F6-95B84F3AD5F1}"/>
              </a:ext>
            </a:extLst>
          </p:cNvPr>
          <p:cNvSpPr txBox="1"/>
          <p:nvPr/>
        </p:nvSpPr>
        <p:spPr>
          <a:xfrm>
            <a:off x="5795004" y="5077436"/>
            <a:ext cx="1098251"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Retry</a:t>
            </a:r>
          </a:p>
        </p:txBody>
      </p:sp>
      <p:sp>
        <p:nvSpPr>
          <p:cNvPr id="101" name="TextBox 100">
            <a:extLst>
              <a:ext uri="{FF2B5EF4-FFF2-40B4-BE49-F238E27FC236}">
                <a16:creationId xmlns:a16="http://schemas.microsoft.com/office/drawing/2014/main" id="{CCD50235-9C54-432E-B008-8EBDC68E83EE}"/>
              </a:ext>
            </a:extLst>
          </p:cNvPr>
          <p:cNvSpPr txBox="1"/>
          <p:nvPr/>
        </p:nvSpPr>
        <p:spPr>
          <a:xfrm>
            <a:off x="5749610" y="5516928"/>
            <a:ext cx="1189038"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Circuit Breaker</a:t>
            </a:r>
          </a:p>
        </p:txBody>
      </p:sp>
      <p:pic>
        <p:nvPicPr>
          <p:cNvPr id="102" name="Picture 101">
            <a:extLst>
              <a:ext uri="{FF2B5EF4-FFF2-40B4-BE49-F238E27FC236}">
                <a16:creationId xmlns:a16="http://schemas.microsoft.com/office/drawing/2014/main" id="{69CEE6EB-2ACA-4EDC-8741-521405432AF5}"/>
              </a:ext>
            </a:extLst>
          </p:cNvPr>
          <p:cNvPicPr>
            <a:picLocks noChangeAspect="1"/>
          </p:cNvPicPr>
          <p:nvPr/>
        </p:nvPicPr>
        <p:blipFill>
          <a:blip r:embed="rId10"/>
          <a:stretch>
            <a:fillRect/>
          </a:stretch>
        </p:blipFill>
        <p:spPr>
          <a:xfrm>
            <a:off x="10718308" y="3610822"/>
            <a:ext cx="760556" cy="631366"/>
          </a:xfrm>
          <a:prstGeom prst="rect">
            <a:avLst/>
          </a:prstGeom>
        </p:spPr>
      </p:pic>
      <p:sp>
        <p:nvSpPr>
          <p:cNvPr id="103" name="TextBox 102">
            <a:extLst>
              <a:ext uri="{FF2B5EF4-FFF2-40B4-BE49-F238E27FC236}">
                <a16:creationId xmlns:a16="http://schemas.microsoft.com/office/drawing/2014/main" id="{D002D9D9-C634-4D07-A5A4-CFF9A01315C9}"/>
              </a:ext>
            </a:extLst>
          </p:cNvPr>
          <p:cNvSpPr txBox="1"/>
          <p:nvPr/>
        </p:nvSpPr>
        <p:spPr>
          <a:xfrm>
            <a:off x="10489646" y="4118971"/>
            <a:ext cx="1217880"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Worker</a:t>
            </a:r>
          </a:p>
        </p:txBody>
      </p:sp>
      <p:cxnSp>
        <p:nvCxnSpPr>
          <p:cNvPr id="106" name="Straight Arrow Connector 105">
            <a:extLst>
              <a:ext uri="{FF2B5EF4-FFF2-40B4-BE49-F238E27FC236}">
                <a16:creationId xmlns:a16="http://schemas.microsoft.com/office/drawing/2014/main" id="{23750791-D2EB-4B58-811D-507A06DCDA33}"/>
              </a:ext>
            </a:extLst>
          </p:cNvPr>
          <p:cNvCxnSpPr>
            <a:cxnSpLocks/>
            <a:stCxn id="12" idx="3"/>
            <a:endCxn id="102" idx="1"/>
          </p:cNvCxnSpPr>
          <p:nvPr/>
        </p:nvCxnSpPr>
        <p:spPr>
          <a:xfrm>
            <a:off x="10355828" y="3921417"/>
            <a:ext cx="362480" cy="5088"/>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09" name="Rectangle: Rounded Corners 108">
            <a:extLst>
              <a:ext uri="{FF2B5EF4-FFF2-40B4-BE49-F238E27FC236}">
                <a16:creationId xmlns:a16="http://schemas.microsoft.com/office/drawing/2014/main" id="{16865854-261A-4E18-91D7-2A9363785FFD}"/>
              </a:ext>
            </a:extLst>
          </p:cNvPr>
          <p:cNvSpPr/>
          <p:nvPr/>
        </p:nvSpPr>
        <p:spPr bwMode="auto">
          <a:xfrm>
            <a:off x="9019371" y="4998166"/>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0" name="Straight Arrow Connector 79">
            <a:extLst>
              <a:ext uri="{FF2B5EF4-FFF2-40B4-BE49-F238E27FC236}">
                <a16:creationId xmlns:a16="http://schemas.microsoft.com/office/drawing/2014/main" id="{3BB612F3-8347-4369-AFA8-5AE26BAA0B98}"/>
              </a:ext>
            </a:extLst>
          </p:cNvPr>
          <p:cNvCxnSpPr>
            <a:cxnSpLocks/>
          </p:cNvCxnSpPr>
          <p:nvPr/>
        </p:nvCxnSpPr>
        <p:spPr>
          <a:xfrm flipH="1">
            <a:off x="7533560" y="4525650"/>
            <a:ext cx="3184748" cy="1205984"/>
          </a:xfrm>
          <a:prstGeom prst="straightConnector1">
            <a:avLst/>
          </a:prstGeom>
          <a:ln w="57150">
            <a:solidFill>
              <a:schemeClr val="accent6">
                <a:lumMod val="75000"/>
              </a:schemeClr>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pic>
        <p:nvPicPr>
          <p:cNvPr id="110" name="Picture 109">
            <a:extLst>
              <a:ext uri="{FF2B5EF4-FFF2-40B4-BE49-F238E27FC236}">
                <a16:creationId xmlns:a16="http://schemas.microsoft.com/office/drawing/2014/main" id="{489BB78D-01A1-4AF6-A326-1EE575B581E0}"/>
              </a:ext>
            </a:extLst>
          </p:cNvPr>
          <p:cNvPicPr>
            <a:picLocks noChangeAspect="1"/>
          </p:cNvPicPr>
          <p:nvPr/>
        </p:nvPicPr>
        <p:blipFill>
          <a:blip r:embed="rId11"/>
          <a:stretch>
            <a:fillRect/>
          </a:stretch>
        </p:blipFill>
        <p:spPr>
          <a:xfrm>
            <a:off x="10183683" y="5344674"/>
            <a:ext cx="624657" cy="669975"/>
          </a:xfrm>
          <a:prstGeom prst="rect">
            <a:avLst/>
          </a:prstGeom>
        </p:spPr>
      </p:pic>
      <p:sp>
        <p:nvSpPr>
          <p:cNvPr id="111" name="TextBox 110">
            <a:extLst>
              <a:ext uri="{FF2B5EF4-FFF2-40B4-BE49-F238E27FC236}">
                <a16:creationId xmlns:a16="http://schemas.microsoft.com/office/drawing/2014/main" id="{5EB89507-FED2-48AD-80E3-12F0A594AFDB}"/>
              </a:ext>
            </a:extLst>
          </p:cNvPr>
          <p:cNvSpPr txBox="1"/>
          <p:nvPr/>
        </p:nvSpPr>
        <p:spPr>
          <a:xfrm>
            <a:off x="9641355" y="5860293"/>
            <a:ext cx="1791425" cy="5724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mbassador</a:t>
            </a:r>
          </a:p>
        </p:txBody>
      </p:sp>
      <p:cxnSp>
        <p:nvCxnSpPr>
          <p:cNvPr id="112" name="Straight Arrow Connector 111">
            <a:extLst>
              <a:ext uri="{FF2B5EF4-FFF2-40B4-BE49-F238E27FC236}">
                <a16:creationId xmlns:a16="http://schemas.microsoft.com/office/drawing/2014/main" id="{98175DFC-2BBB-4818-A817-5CBCD047947B}"/>
              </a:ext>
            </a:extLst>
          </p:cNvPr>
          <p:cNvCxnSpPr>
            <a:cxnSpLocks/>
            <a:stCxn id="110" idx="3"/>
          </p:cNvCxnSpPr>
          <p:nvPr/>
        </p:nvCxnSpPr>
        <p:spPr>
          <a:xfrm flipV="1">
            <a:off x="10808340" y="5679661"/>
            <a:ext cx="1628135" cy="1"/>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18" name="Straight Arrow Connector 117">
            <a:extLst>
              <a:ext uri="{FF2B5EF4-FFF2-40B4-BE49-F238E27FC236}">
                <a16:creationId xmlns:a16="http://schemas.microsoft.com/office/drawing/2014/main" id="{C9D09909-E8B5-42FD-8C3D-446F6EBCF979}"/>
              </a:ext>
            </a:extLst>
          </p:cNvPr>
          <p:cNvCxnSpPr>
            <a:cxnSpLocks/>
            <a:stCxn id="48" idx="3"/>
            <a:endCxn id="110" idx="1"/>
          </p:cNvCxnSpPr>
          <p:nvPr/>
        </p:nvCxnSpPr>
        <p:spPr>
          <a:xfrm>
            <a:off x="6877940" y="4097108"/>
            <a:ext cx="3305743" cy="1582554"/>
          </a:xfrm>
          <a:prstGeom prst="straightConnector1">
            <a:avLst/>
          </a:prstGeom>
          <a:ln w="57150">
            <a:solidFill>
              <a:schemeClr val="accent2"/>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21" name="Rectangle: Rounded Corners 120">
            <a:extLst>
              <a:ext uri="{FF2B5EF4-FFF2-40B4-BE49-F238E27FC236}">
                <a16:creationId xmlns:a16="http://schemas.microsoft.com/office/drawing/2014/main" id="{E140A25F-6D6D-4C3A-9DBA-A11FA8F64B79}"/>
              </a:ext>
            </a:extLst>
          </p:cNvPr>
          <p:cNvSpPr/>
          <p:nvPr/>
        </p:nvSpPr>
        <p:spPr bwMode="auto">
          <a:xfrm>
            <a:off x="451238" y="4996499"/>
            <a:ext cx="2953283" cy="1709159"/>
          </a:xfrm>
          <a:prstGeom prst="roundRect">
            <a:avLst/>
          </a:prstGeom>
          <a:solidFill>
            <a:schemeClr val="bg1">
              <a:lumMod val="95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TextBox 122">
            <a:extLst>
              <a:ext uri="{FF2B5EF4-FFF2-40B4-BE49-F238E27FC236}">
                <a16:creationId xmlns:a16="http://schemas.microsoft.com/office/drawing/2014/main" id="{F85E33E3-4C02-498C-8D61-FCA782F129D7}"/>
              </a:ext>
            </a:extLst>
          </p:cNvPr>
          <p:cNvSpPr txBox="1"/>
          <p:nvPr/>
        </p:nvSpPr>
        <p:spPr>
          <a:xfrm>
            <a:off x="886919" y="5857333"/>
            <a:ext cx="2137300" cy="8494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72C6">
                    <a:lumMod val="50000"/>
                  </a:srgbClr>
                </a:solidFill>
                <a:effectLst/>
                <a:uLnTx/>
                <a:uFillTx/>
                <a:latin typeface="Segoe UI Light"/>
                <a:ea typeface="+mn-ea"/>
                <a:cs typeface="+mn-cs"/>
              </a:rPr>
              <a:t>Anti-Corruption Layer</a:t>
            </a:r>
          </a:p>
        </p:txBody>
      </p:sp>
      <p:pic>
        <p:nvPicPr>
          <p:cNvPr id="124" name="Picture 123">
            <a:extLst>
              <a:ext uri="{FF2B5EF4-FFF2-40B4-BE49-F238E27FC236}">
                <a16:creationId xmlns:a16="http://schemas.microsoft.com/office/drawing/2014/main" id="{6EE3AEE2-85C4-4AE8-97FD-73F8AC2F7089}"/>
              </a:ext>
            </a:extLst>
          </p:cNvPr>
          <p:cNvPicPr>
            <a:picLocks noChangeAspect="1"/>
          </p:cNvPicPr>
          <p:nvPr/>
        </p:nvPicPr>
        <p:blipFill>
          <a:blip r:embed="rId12"/>
          <a:stretch>
            <a:fillRect/>
          </a:stretch>
        </p:blipFill>
        <p:spPr>
          <a:xfrm>
            <a:off x="1623527" y="5313092"/>
            <a:ext cx="594630" cy="665281"/>
          </a:xfrm>
          <a:prstGeom prst="rect">
            <a:avLst/>
          </a:prstGeom>
        </p:spPr>
      </p:pic>
      <p:cxnSp>
        <p:nvCxnSpPr>
          <p:cNvPr id="62" name="Straight Arrow Connector 61">
            <a:extLst>
              <a:ext uri="{FF2B5EF4-FFF2-40B4-BE49-F238E27FC236}">
                <a16:creationId xmlns:a16="http://schemas.microsoft.com/office/drawing/2014/main" id="{11A41A93-2723-4303-ACD3-D5482FAAC3C6}"/>
              </a:ext>
            </a:extLst>
          </p:cNvPr>
          <p:cNvCxnSpPr>
            <a:cxnSpLocks/>
            <a:stCxn id="10" idx="1"/>
            <a:endCxn id="4" idx="2"/>
          </p:cNvCxnSpPr>
          <p:nvPr/>
        </p:nvCxnSpPr>
        <p:spPr>
          <a:xfrm rot="10800000" flipH="1" flipV="1">
            <a:off x="1626997" y="2435547"/>
            <a:ext cx="3759792" cy="3819973"/>
          </a:xfrm>
          <a:prstGeom prst="bentConnector4">
            <a:avLst>
              <a:gd name="adj1" fmla="val -35721"/>
              <a:gd name="adj2" fmla="val 114960"/>
            </a:avLst>
          </a:prstGeom>
          <a:ln w="57150">
            <a:solidFill>
              <a:srgbClr val="00B050"/>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8" name="Straight Arrow Connector 127">
            <a:extLst>
              <a:ext uri="{FF2B5EF4-FFF2-40B4-BE49-F238E27FC236}">
                <a16:creationId xmlns:a16="http://schemas.microsoft.com/office/drawing/2014/main" id="{20D7F8D9-D8F4-4A18-8845-54FF2CE7D639}"/>
              </a:ext>
            </a:extLst>
          </p:cNvPr>
          <p:cNvCxnSpPr>
            <a:cxnSpLocks/>
            <a:endCxn id="124" idx="3"/>
          </p:cNvCxnSpPr>
          <p:nvPr/>
        </p:nvCxnSpPr>
        <p:spPr>
          <a:xfrm flipH="1">
            <a:off x="2218157" y="4301177"/>
            <a:ext cx="3611742" cy="1344556"/>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cxnSp>
        <p:nvCxnSpPr>
          <p:cNvPr id="131" name="Straight Arrow Connector 130">
            <a:extLst>
              <a:ext uri="{FF2B5EF4-FFF2-40B4-BE49-F238E27FC236}">
                <a16:creationId xmlns:a16="http://schemas.microsoft.com/office/drawing/2014/main" id="{8B46257B-7D73-48B4-8427-A13D4B94CCB3}"/>
              </a:ext>
            </a:extLst>
          </p:cNvPr>
          <p:cNvCxnSpPr>
            <a:cxnSpLocks/>
          </p:cNvCxnSpPr>
          <p:nvPr/>
        </p:nvCxnSpPr>
        <p:spPr>
          <a:xfrm flipH="1">
            <a:off x="883" y="5645733"/>
            <a:ext cx="1632169" cy="0"/>
          </a:xfrm>
          <a:prstGeom prst="straightConnector1">
            <a:avLst/>
          </a:prstGeom>
          <a:ln w="57150">
            <a:solidFill>
              <a:schemeClr val="accent1"/>
            </a:solidFill>
            <a:headEnd type="non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80249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4"/>
                                        </p:tgtEl>
                                        <p:attrNameLst>
                                          <p:attrName>style.visibility</p:attrName>
                                        </p:attrNameLst>
                                      </p:cBhvr>
                                      <p:to>
                                        <p:strVal val="visible"/>
                                      </p:to>
                                    </p:set>
                                    <p:animEffect transition="in" filter="fade">
                                      <p:cBhvr>
                                        <p:cTn id="13" dur="500"/>
                                        <p:tgtEl>
                                          <p:spTgt spid="94"/>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right)">
                                      <p:cBhvr>
                                        <p:cTn id="17" dur="5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8"/>
                                        </p:tgtEl>
                                        <p:attrNameLst>
                                          <p:attrName>style.visibility</p:attrName>
                                        </p:attrNameLst>
                                      </p:cBhvr>
                                      <p:to>
                                        <p:strVal val="visible"/>
                                      </p:to>
                                    </p:set>
                                    <p:animEffect transition="in" filter="fade">
                                      <p:cBhvr>
                                        <p:cTn id="28" dur="500"/>
                                        <p:tgtEl>
                                          <p:spTgt spid="98"/>
                                        </p:tgtEl>
                                      </p:cBhvr>
                                    </p:animEffect>
                                  </p:childTnLst>
                                </p:cTn>
                              </p:par>
                            </p:childTnLst>
                          </p:cTn>
                        </p:par>
                        <p:par>
                          <p:cTn id="29" fill="hold">
                            <p:stCondLst>
                              <p:cond delay="500"/>
                            </p:stCondLst>
                            <p:childTnLst>
                              <p:par>
                                <p:cTn id="30" presetID="22" presetClass="entr" presetSubtype="4" fill="hold" nodeType="after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wipe(down)">
                                      <p:cBhvr>
                                        <p:cTn id="32" dur="500"/>
                                        <p:tgtEl>
                                          <p:spTgt spid="62"/>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wipe(left)">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par>
                                <p:cTn id="42" presetID="10" presetClass="entr" presetSubtype="0" fill="hold"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3"/>
                                        </p:tgtEl>
                                        <p:attrNameLst>
                                          <p:attrName>style.visibility</p:attrName>
                                        </p:attrNameLst>
                                      </p:cBhvr>
                                      <p:to>
                                        <p:strVal val="visible"/>
                                      </p:to>
                                    </p:set>
                                    <p:animEffect transition="in" filter="fade">
                                      <p:cBhvr>
                                        <p:cTn id="50" dur="500"/>
                                        <p:tgtEl>
                                          <p:spTgt spid="103"/>
                                        </p:tgtEl>
                                      </p:cBhvr>
                                    </p:animEffect>
                                  </p:childTnLst>
                                </p:cTn>
                              </p:par>
                              <p:par>
                                <p:cTn id="51" presetID="10"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animEffect transition="in" filter="fade">
                                      <p:cBhvr>
                                        <p:cTn id="53" dur="500"/>
                                        <p:tgtEl>
                                          <p:spTgt spid="102"/>
                                        </p:tgtEl>
                                      </p:cBhvr>
                                    </p:animEffect>
                                  </p:childTnLst>
                                </p:cTn>
                              </p:par>
                            </p:childTnLst>
                          </p:cTn>
                        </p:par>
                        <p:par>
                          <p:cTn id="54" fill="hold">
                            <p:stCondLst>
                              <p:cond delay="500"/>
                            </p:stCondLst>
                            <p:childTnLst>
                              <p:par>
                                <p:cTn id="55" presetID="22" presetClass="entr" presetSubtype="1" fill="hold" nodeType="after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wipe(up)">
                                      <p:cBhvr>
                                        <p:cTn id="57" dur="500"/>
                                        <p:tgtEl>
                                          <p:spTgt spid="77"/>
                                        </p:tgtEl>
                                      </p:cBhvr>
                                    </p:animEffect>
                                  </p:childTnLst>
                                </p:cTn>
                              </p:par>
                            </p:childTnLst>
                          </p:cTn>
                        </p:par>
                        <p:par>
                          <p:cTn id="58" fill="hold">
                            <p:stCondLst>
                              <p:cond delay="1000"/>
                            </p:stCondLst>
                            <p:childTnLst>
                              <p:par>
                                <p:cTn id="59" presetID="22" presetClass="entr" presetSubtype="1" fill="hold" nodeType="afterEffect">
                                  <p:stCondLst>
                                    <p:cond delay="0"/>
                                  </p:stCondLst>
                                  <p:childTnLst>
                                    <p:set>
                                      <p:cBhvr>
                                        <p:cTn id="60" dur="1" fill="hold">
                                          <p:stCondLst>
                                            <p:cond delay="0"/>
                                          </p:stCondLst>
                                        </p:cTn>
                                        <p:tgtEl>
                                          <p:spTgt spid="106"/>
                                        </p:tgtEl>
                                        <p:attrNameLst>
                                          <p:attrName>style.visibility</p:attrName>
                                        </p:attrNameLst>
                                      </p:cBhvr>
                                      <p:to>
                                        <p:strVal val="visible"/>
                                      </p:to>
                                    </p:set>
                                    <p:animEffect transition="in" filter="wipe(up)">
                                      <p:cBhvr>
                                        <p:cTn id="61" dur="500"/>
                                        <p:tgtEl>
                                          <p:spTgt spid="106"/>
                                        </p:tgtEl>
                                      </p:cBhvr>
                                    </p:animEffect>
                                  </p:childTnLst>
                                </p:cTn>
                              </p:par>
                            </p:childTnLst>
                          </p:cTn>
                        </p:par>
                        <p:par>
                          <p:cTn id="62" fill="hold">
                            <p:stCondLst>
                              <p:cond delay="1500"/>
                            </p:stCondLst>
                            <p:childTnLst>
                              <p:par>
                                <p:cTn id="63" presetID="22" presetClass="entr" presetSubtype="1" fill="hold" nodeType="after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wipe(up)">
                                      <p:cBhvr>
                                        <p:cTn id="65" dur="500"/>
                                        <p:tgtEl>
                                          <p:spTgt spid="80"/>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86"/>
                                        </p:tgtEl>
                                        <p:attrNameLst>
                                          <p:attrName>style.visibility</p:attrName>
                                        </p:attrNameLst>
                                      </p:cBhvr>
                                      <p:to>
                                        <p:strVal val="visible"/>
                                      </p:to>
                                    </p:set>
                                    <p:animEffect transition="in" filter="wipe(down)">
                                      <p:cBhvr>
                                        <p:cTn id="70" dur="500"/>
                                        <p:tgtEl>
                                          <p:spTgt spid="86"/>
                                        </p:tgtEl>
                                      </p:cBhvr>
                                    </p:animEffect>
                                  </p:childTnLst>
                                </p:cTn>
                              </p:par>
                              <p:par>
                                <p:cTn id="71" presetID="22" presetClass="entr" presetSubtype="4" fill="hold"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wipe(down)">
                                      <p:cBhvr>
                                        <p:cTn id="73" dur="500"/>
                                        <p:tgtEl>
                                          <p:spTgt spid="83"/>
                                        </p:tgtEl>
                                      </p:cBhvr>
                                    </p:animEffect>
                                  </p:childTnLst>
                                </p:cTn>
                              </p:par>
                            </p:childTnLst>
                          </p:cTn>
                        </p:par>
                        <p:par>
                          <p:cTn id="74" fill="hold">
                            <p:stCondLst>
                              <p:cond delay="500"/>
                            </p:stCondLst>
                            <p:childTnLst>
                              <p:par>
                                <p:cTn id="75" presetID="10" presetClass="entr" presetSubtype="0" fill="hold" grpId="0" nodeType="after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par>
                          <p:cTn id="78" fill="hold">
                            <p:stCondLst>
                              <p:cond delay="1000"/>
                            </p:stCondLst>
                            <p:childTnLst>
                              <p:par>
                                <p:cTn id="79" presetID="10" presetClass="entr" presetSubtype="0" fill="hold" grpId="0" nodeType="afterEffect">
                                  <p:stCondLst>
                                    <p:cond delay="0"/>
                                  </p:stCondLst>
                                  <p:childTnLst>
                                    <p:set>
                                      <p:cBhvr>
                                        <p:cTn id="80" dur="1" fill="hold">
                                          <p:stCondLst>
                                            <p:cond delay="0"/>
                                          </p:stCondLst>
                                        </p:cTn>
                                        <p:tgtEl>
                                          <p:spTgt spid="101"/>
                                        </p:tgtEl>
                                        <p:attrNameLst>
                                          <p:attrName>style.visibility</p:attrName>
                                        </p:attrNameLst>
                                      </p:cBhvr>
                                      <p:to>
                                        <p:strVal val="visible"/>
                                      </p:to>
                                    </p:set>
                                    <p:animEffect transition="in" filter="fade">
                                      <p:cBhvr>
                                        <p:cTn id="81" dur="500"/>
                                        <p:tgtEl>
                                          <p:spTgt spid="101"/>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500"/>
                                        <p:tgtEl>
                                          <p:spTgt spid="54"/>
                                        </p:tgtEl>
                                      </p:cBhvr>
                                    </p:animEffect>
                                  </p:childTnLst>
                                </p:cTn>
                              </p:par>
                              <p:par>
                                <p:cTn id="87" presetID="10" presetClass="entr" presetSubtype="0" fill="hold" nodeType="with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fade">
                                      <p:cBhvr>
                                        <p:cTn id="89" dur="500"/>
                                        <p:tgtEl>
                                          <p:spTgt spid="1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Effect transition="in" filter="fade">
                                      <p:cBhvr>
                                        <p:cTn id="92" dur="500"/>
                                        <p:tgtEl>
                                          <p:spTgt spid="99"/>
                                        </p:tgtEl>
                                      </p:cBhvr>
                                    </p:animEffect>
                                  </p:childTnLst>
                                </p:cTn>
                              </p:par>
                            </p:childTnLst>
                          </p:cTn>
                        </p:par>
                        <p:par>
                          <p:cTn id="93" fill="hold">
                            <p:stCondLst>
                              <p:cond delay="500"/>
                            </p:stCondLst>
                            <p:childTnLst>
                              <p:par>
                                <p:cTn id="94" presetID="22" presetClass="entr" presetSubtype="1" fill="hold" nodeType="afterEffect">
                                  <p:stCondLst>
                                    <p:cond delay="0"/>
                                  </p:stCondLst>
                                  <p:childTnLst>
                                    <p:set>
                                      <p:cBhvr>
                                        <p:cTn id="95" dur="1" fill="hold">
                                          <p:stCondLst>
                                            <p:cond delay="0"/>
                                          </p:stCondLst>
                                        </p:cTn>
                                        <p:tgtEl>
                                          <p:spTgt spid="64"/>
                                        </p:tgtEl>
                                        <p:attrNameLst>
                                          <p:attrName>style.visibility</p:attrName>
                                        </p:attrNameLst>
                                      </p:cBhvr>
                                      <p:to>
                                        <p:strVal val="visible"/>
                                      </p:to>
                                    </p:set>
                                    <p:animEffect transition="in" filter="wipe(up)">
                                      <p:cBhvr>
                                        <p:cTn id="96" dur="500"/>
                                        <p:tgtEl>
                                          <p:spTgt spid="64"/>
                                        </p:tgtEl>
                                      </p:cBhvr>
                                    </p:animEffect>
                                  </p:childTnLst>
                                </p:cTn>
                              </p:par>
                            </p:childTnLst>
                          </p:cTn>
                        </p:par>
                        <p:par>
                          <p:cTn id="97" fill="hold">
                            <p:stCondLst>
                              <p:cond delay="1000"/>
                            </p:stCondLst>
                            <p:childTnLst>
                              <p:par>
                                <p:cTn id="98" presetID="22" presetClass="entr" presetSubtype="8" fill="hold" nodeType="after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wipe(left)">
                                      <p:cBhvr>
                                        <p:cTn id="100" dur="500"/>
                                        <p:tgtEl>
                                          <p:spTgt spid="66"/>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09"/>
                                        </p:tgtEl>
                                        <p:attrNameLst>
                                          <p:attrName>style.visibility</p:attrName>
                                        </p:attrNameLst>
                                      </p:cBhvr>
                                      <p:to>
                                        <p:strVal val="visible"/>
                                      </p:to>
                                    </p:set>
                                    <p:animEffect transition="in" filter="fade">
                                      <p:cBhvr>
                                        <p:cTn id="105" dur="500"/>
                                        <p:tgtEl>
                                          <p:spTgt spid="10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11"/>
                                        </p:tgtEl>
                                        <p:attrNameLst>
                                          <p:attrName>style.visibility</p:attrName>
                                        </p:attrNameLst>
                                      </p:cBhvr>
                                      <p:to>
                                        <p:strVal val="visible"/>
                                      </p:to>
                                    </p:set>
                                    <p:animEffect transition="in" filter="fade">
                                      <p:cBhvr>
                                        <p:cTn id="108" dur="500"/>
                                        <p:tgtEl>
                                          <p:spTgt spid="111"/>
                                        </p:tgtEl>
                                      </p:cBhvr>
                                    </p:animEffect>
                                  </p:childTnLst>
                                </p:cTn>
                              </p:par>
                              <p:par>
                                <p:cTn id="109" presetID="10" presetClass="entr" presetSubtype="0" fill="hold" nodeType="withEffect">
                                  <p:stCondLst>
                                    <p:cond delay="0"/>
                                  </p:stCondLst>
                                  <p:childTnLst>
                                    <p:set>
                                      <p:cBhvr>
                                        <p:cTn id="110" dur="1" fill="hold">
                                          <p:stCondLst>
                                            <p:cond delay="0"/>
                                          </p:stCondLst>
                                        </p:cTn>
                                        <p:tgtEl>
                                          <p:spTgt spid="110"/>
                                        </p:tgtEl>
                                        <p:attrNameLst>
                                          <p:attrName>style.visibility</p:attrName>
                                        </p:attrNameLst>
                                      </p:cBhvr>
                                      <p:to>
                                        <p:strVal val="visible"/>
                                      </p:to>
                                    </p:set>
                                    <p:animEffect transition="in" filter="fade">
                                      <p:cBhvr>
                                        <p:cTn id="111" dur="500"/>
                                        <p:tgtEl>
                                          <p:spTgt spid="110"/>
                                        </p:tgtEl>
                                      </p:cBhvr>
                                    </p:animEffect>
                                  </p:childTnLst>
                                </p:cTn>
                              </p:par>
                            </p:childTnLst>
                          </p:cTn>
                        </p:par>
                        <p:par>
                          <p:cTn id="112" fill="hold">
                            <p:stCondLst>
                              <p:cond delay="500"/>
                            </p:stCondLst>
                            <p:childTnLst>
                              <p:par>
                                <p:cTn id="113" presetID="22" presetClass="entr" presetSubtype="1" fill="hold" nodeType="afterEffect">
                                  <p:stCondLst>
                                    <p:cond delay="0"/>
                                  </p:stCondLst>
                                  <p:childTnLst>
                                    <p:set>
                                      <p:cBhvr>
                                        <p:cTn id="114" dur="1" fill="hold">
                                          <p:stCondLst>
                                            <p:cond delay="0"/>
                                          </p:stCondLst>
                                        </p:cTn>
                                        <p:tgtEl>
                                          <p:spTgt spid="118"/>
                                        </p:tgtEl>
                                        <p:attrNameLst>
                                          <p:attrName>style.visibility</p:attrName>
                                        </p:attrNameLst>
                                      </p:cBhvr>
                                      <p:to>
                                        <p:strVal val="visible"/>
                                      </p:to>
                                    </p:set>
                                    <p:animEffect transition="in" filter="wipe(up)">
                                      <p:cBhvr>
                                        <p:cTn id="115" dur="500"/>
                                        <p:tgtEl>
                                          <p:spTgt spid="118"/>
                                        </p:tgtEl>
                                      </p:cBhvr>
                                    </p:animEffect>
                                  </p:childTnLst>
                                </p:cTn>
                              </p:par>
                            </p:childTnLst>
                          </p:cTn>
                        </p:par>
                        <p:par>
                          <p:cTn id="116" fill="hold">
                            <p:stCondLst>
                              <p:cond delay="1000"/>
                            </p:stCondLst>
                            <p:childTnLst>
                              <p:par>
                                <p:cTn id="117" presetID="22" presetClass="entr" presetSubtype="1" fill="hold" nodeType="afterEffect">
                                  <p:stCondLst>
                                    <p:cond delay="0"/>
                                  </p:stCondLst>
                                  <p:childTnLst>
                                    <p:set>
                                      <p:cBhvr>
                                        <p:cTn id="118" dur="1" fill="hold">
                                          <p:stCondLst>
                                            <p:cond delay="0"/>
                                          </p:stCondLst>
                                        </p:cTn>
                                        <p:tgtEl>
                                          <p:spTgt spid="112"/>
                                        </p:tgtEl>
                                        <p:attrNameLst>
                                          <p:attrName>style.visibility</p:attrName>
                                        </p:attrNameLst>
                                      </p:cBhvr>
                                      <p:to>
                                        <p:strVal val="visible"/>
                                      </p:to>
                                    </p:set>
                                    <p:animEffect transition="in" filter="wipe(up)">
                                      <p:cBhvr>
                                        <p:cTn id="119" dur="500"/>
                                        <p:tgtEl>
                                          <p:spTgt spid="112"/>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121"/>
                                        </p:tgtEl>
                                        <p:attrNameLst>
                                          <p:attrName>style.visibility</p:attrName>
                                        </p:attrNameLst>
                                      </p:cBhvr>
                                      <p:to>
                                        <p:strVal val="visible"/>
                                      </p:to>
                                    </p:set>
                                    <p:animEffect transition="in" filter="fade">
                                      <p:cBhvr>
                                        <p:cTn id="124" dur="500"/>
                                        <p:tgtEl>
                                          <p:spTgt spid="121"/>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23"/>
                                        </p:tgtEl>
                                        <p:attrNameLst>
                                          <p:attrName>style.visibility</p:attrName>
                                        </p:attrNameLst>
                                      </p:cBhvr>
                                      <p:to>
                                        <p:strVal val="visible"/>
                                      </p:to>
                                    </p:set>
                                    <p:animEffect transition="in" filter="fade">
                                      <p:cBhvr>
                                        <p:cTn id="127" dur="500"/>
                                        <p:tgtEl>
                                          <p:spTgt spid="123"/>
                                        </p:tgtEl>
                                      </p:cBhvr>
                                    </p:animEffect>
                                  </p:childTnLst>
                                </p:cTn>
                              </p:par>
                              <p:par>
                                <p:cTn id="128" presetID="10" presetClass="entr" presetSubtype="0" fill="hold" nodeType="withEffect">
                                  <p:stCondLst>
                                    <p:cond delay="0"/>
                                  </p:stCondLst>
                                  <p:childTnLst>
                                    <p:set>
                                      <p:cBhvr>
                                        <p:cTn id="129" dur="1" fill="hold">
                                          <p:stCondLst>
                                            <p:cond delay="0"/>
                                          </p:stCondLst>
                                        </p:cTn>
                                        <p:tgtEl>
                                          <p:spTgt spid="124"/>
                                        </p:tgtEl>
                                        <p:attrNameLst>
                                          <p:attrName>style.visibility</p:attrName>
                                        </p:attrNameLst>
                                      </p:cBhvr>
                                      <p:to>
                                        <p:strVal val="visible"/>
                                      </p:to>
                                    </p:set>
                                    <p:animEffect transition="in" filter="fade">
                                      <p:cBhvr>
                                        <p:cTn id="130" dur="500"/>
                                        <p:tgtEl>
                                          <p:spTgt spid="124"/>
                                        </p:tgtEl>
                                      </p:cBhvr>
                                    </p:animEffect>
                                  </p:childTnLst>
                                </p:cTn>
                              </p:par>
                            </p:childTnLst>
                          </p:cTn>
                        </p:par>
                        <p:par>
                          <p:cTn id="131" fill="hold">
                            <p:stCondLst>
                              <p:cond delay="500"/>
                            </p:stCondLst>
                            <p:childTnLst>
                              <p:par>
                                <p:cTn id="132" presetID="22" presetClass="entr" presetSubtype="2" fill="hold" nodeType="afterEffect">
                                  <p:stCondLst>
                                    <p:cond delay="0"/>
                                  </p:stCondLst>
                                  <p:childTnLst>
                                    <p:set>
                                      <p:cBhvr>
                                        <p:cTn id="133" dur="1" fill="hold">
                                          <p:stCondLst>
                                            <p:cond delay="0"/>
                                          </p:stCondLst>
                                        </p:cTn>
                                        <p:tgtEl>
                                          <p:spTgt spid="128"/>
                                        </p:tgtEl>
                                        <p:attrNameLst>
                                          <p:attrName>style.visibility</p:attrName>
                                        </p:attrNameLst>
                                      </p:cBhvr>
                                      <p:to>
                                        <p:strVal val="visible"/>
                                      </p:to>
                                    </p:set>
                                    <p:animEffect transition="in" filter="wipe(right)">
                                      <p:cBhvr>
                                        <p:cTn id="134" dur="500"/>
                                        <p:tgtEl>
                                          <p:spTgt spid="128"/>
                                        </p:tgtEl>
                                      </p:cBhvr>
                                    </p:animEffect>
                                  </p:childTnLst>
                                </p:cTn>
                              </p:par>
                            </p:childTnLst>
                          </p:cTn>
                        </p:par>
                        <p:par>
                          <p:cTn id="135" fill="hold">
                            <p:stCondLst>
                              <p:cond delay="1000"/>
                            </p:stCondLst>
                            <p:childTnLst>
                              <p:par>
                                <p:cTn id="136" presetID="22" presetClass="entr" presetSubtype="2" fill="hold" nodeType="afterEffect">
                                  <p:stCondLst>
                                    <p:cond delay="0"/>
                                  </p:stCondLst>
                                  <p:childTnLst>
                                    <p:set>
                                      <p:cBhvr>
                                        <p:cTn id="137" dur="1" fill="hold">
                                          <p:stCondLst>
                                            <p:cond delay="0"/>
                                          </p:stCondLst>
                                        </p:cTn>
                                        <p:tgtEl>
                                          <p:spTgt spid="131"/>
                                        </p:tgtEl>
                                        <p:attrNameLst>
                                          <p:attrName>style.visibility</p:attrName>
                                        </p:attrNameLst>
                                      </p:cBhvr>
                                      <p:to>
                                        <p:strVal val="visible"/>
                                      </p:to>
                                    </p:set>
                                    <p:animEffect transition="in" filter="wipe(right)">
                                      <p:cBhvr>
                                        <p:cTn id="138"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4" grpId="0" animBg="1"/>
      <p:bldP spid="61" grpId="0" animBg="1"/>
      <p:bldP spid="94" grpId="0"/>
      <p:bldP spid="95" grpId="0"/>
      <p:bldP spid="98" grpId="0"/>
      <p:bldP spid="99" grpId="0"/>
      <p:bldP spid="100" grpId="0"/>
      <p:bldP spid="101" grpId="0"/>
      <p:bldP spid="103" grpId="0"/>
      <p:bldP spid="109" grpId="0" animBg="1"/>
      <p:bldP spid="111" grpId="0"/>
      <p:bldP spid="121" grpId="0" animBg="1"/>
      <p:bldP spid="1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819056" y="1905461"/>
            <a:ext cx="7929598" cy="3876061"/>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56" dirty="0">
                <a:solidFill>
                  <a:srgbClr val="505050"/>
                </a:solidFill>
                <a:latin typeface="Segoe UI" panose="020B0502040204020203" pitchFamily="34" charset="0"/>
              </a:rPr>
              <a:t>Native monitoring and diagnostics for all your Azure resources</a:t>
            </a:r>
          </a:p>
          <a:p>
            <a:r>
              <a:rPr lang="en-US" sz="2856" dirty="0">
                <a:solidFill>
                  <a:srgbClr val="505050"/>
                </a:solidFill>
                <a:latin typeface="Segoe UI" panose="020B0502040204020203" pitchFamily="34" charset="0"/>
              </a:rPr>
              <a:t>Set up alerts and take automated actions</a:t>
            </a:r>
          </a:p>
          <a:p>
            <a:pPr lvl="1"/>
            <a:r>
              <a:rPr lang="en-US" sz="1800" dirty="0">
                <a:solidFill>
                  <a:srgbClr val="505050"/>
                </a:solidFill>
                <a:latin typeface="Segoe UI" panose="020B0502040204020203" pitchFamily="34" charset="0"/>
              </a:rPr>
              <a:t>Metric alerts (near real-time in preview)</a:t>
            </a:r>
          </a:p>
          <a:p>
            <a:pPr lvl="1"/>
            <a:r>
              <a:rPr lang="en-US" sz="1800" dirty="0">
                <a:solidFill>
                  <a:srgbClr val="505050"/>
                </a:solidFill>
                <a:latin typeface="Segoe UI" panose="020B0502040204020203" pitchFamily="34" charset="0"/>
              </a:rPr>
              <a:t>Activity log alerts</a:t>
            </a:r>
          </a:p>
          <a:p>
            <a:r>
              <a:rPr lang="en-US" sz="2856" dirty="0">
                <a:solidFill>
                  <a:srgbClr val="505050"/>
                </a:solidFill>
                <a:latin typeface="Segoe UI" panose="020B0502040204020203" pitchFamily="34" charset="0"/>
              </a:rPr>
              <a:t>Diagnose operational issues quickly</a:t>
            </a:r>
          </a:p>
          <a:p>
            <a:r>
              <a:rPr lang="en-US" sz="2856" dirty="0">
                <a:solidFill>
                  <a:srgbClr val="505050"/>
                </a:solidFill>
                <a:latin typeface="Segoe UI" panose="020B0502040204020203" pitchFamily="34" charset="0"/>
              </a:rPr>
              <a:t>Integrate with your existing tools</a:t>
            </a:r>
          </a:p>
          <a:p>
            <a:pPr marL="0" indent="0">
              <a:buNone/>
            </a:pPr>
            <a:endParaRPr lang="en-US" sz="2856" dirty="0">
              <a:solidFill>
                <a:srgbClr val="505050"/>
              </a:solidFill>
              <a:latin typeface="Segoe UI" panose="020B0502040204020203" pitchFamily="34" charset="0"/>
            </a:endParaRPr>
          </a:p>
          <a:p>
            <a:pPr marL="0" indent="0">
              <a:buNone/>
            </a:pPr>
            <a:r>
              <a:rPr lang="en-US" sz="3200" dirty="0">
                <a:hlinkClick r:id="rId3"/>
              </a:rPr>
              <a:t>https://aka.ms/azmonitor</a:t>
            </a:r>
            <a:endParaRPr lang="en-US" sz="2856" dirty="0">
              <a:solidFill>
                <a:srgbClr val="505050"/>
              </a:solidFill>
              <a:latin typeface="Segoe UI" panose="020B0502040204020203" pitchFamily="34" charset="0"/>
            </a:endParaRPr>
          </a:p>
        </p:txBody>
      </p:sp>
      <p:sp>
        <p:nvSpPr>
          <p:cNvPr id="2" name="Title 1"/>
          <p:cNvSpPr>
            <a:spLocks noGrp="1"/>
          </p:cNvSpPr>
          <p:nvPr>
            <p:ph type="title"/>
          </p:nvPr>
        </p:nvSpPr>
        <p:spPr>
          <a:xfrm>
            <a:off x="-1" y="0"/>
            <a:ext cx="12436475" cy="1084658"/>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Azure Monitor</a:t>
            </a:r>
          </a:p>
        </p:txBody>
      </p:sp>
      <p:pic>
        <p:nvPicPr>
          <p:cNvPr id="5122" name="Picture 2" descr="https://azurecomcdn.azureedge.net/cvt-bcbb9a6e6a1c24ebb3ed88d9f84591af867675cffae130f25dcc934edcaf9d0f/images/page/services/monitor/manage-monitoring-data.png">
            <a:extLst>
              <a:ext uri="{FF2B5EF4-FFF2-40B4-BE49-F238E27FC236}">
                <a16:creationId xmlns:a16="http://schemas.microsoft.com/office/drawing/2014/main" id="{574FACBA-11ED-4574-8E92-C83F31D54E0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87951" y="2493881"/>
            <a:ext cx="3098963" cy="1651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03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883" y="498"/>
            <a:ext cx="12434711" cy="1033975"/>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Monitor</a:t>
            </a:r>
          </a:p>
        </p:txBody>
      </p:sp>
      <p:sp>
        <p:nvSpPr>
          <p:cNvPr id="4" name="Rectangle 3">
            <a:extLst>
              <a:ext uri="{FF2B5EF4-FFF2-40B4-BE49-F238E27FC236}">
                <a16:creationId xmlns:a16="http://schemas.microsoft.com/office/drawing/2014/main" id="{821D9E68-3800-459D-86B0-7006077CEB7F}"/>
              </a:ext>
            </a:extLst>
          </p:cNvPr>
          <p:cNvSpPr/>
          <p:nvPr/>
        </p:nvSpPr>
        <p:spPr bwMode="auto">
          <a:xfrm>
            <a:off x="10673690" y="1289717"/>
            <a:ext cx="1762784"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BC52C3DC-B3B1-42DA-805E-207892813116}"/>
              </a:ext>
            </a:extLst>
          </p:cNvPr>
          <p:cNvCxnSpPr/>
          <p:nvPr/>
        </p:nvCxnSpPr>
        <p:spPr>
          <a:xfrm>
            <a:off x="10661550" y="1289710"/>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Diagram 7">
            <a:extLst>
              <a:ext uri="{FF2B5EF4-FFF2-40B4-BE49-F238E27FC236}">
                <a16:creationId xmlns:a16="http://schemas.microsoft.com/office/drawing/2014/main" id="{45925063-DE14-4A32-8D92-2CE377C9D9BF}"/>
              </a:ext>
            </a:extLst>
          </p:cNvPr>
          <p:cNvGraphicFramePr/>
          <p:nvPr>
            <p:extLst/>
          </p:nvPr>
        </p:nvGraphicFramePr>
        <p:xfrm>
          <a:off x="10787930" y="1458672"/>
          <a:ext cx="1612232" cy="5366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BC5E23B6-09E2-4173-A361-B457FF490BC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62747" y="1837944"/>
            <a:ext cx="10356402" cy="4631484"/>
          </a:xfrm>
          <a:prstGeom prst="rect">
            <a:avLst/>
          </a:prstGeom>
          <a:ln>
            <a:solidFill>
              <a:schemeClr val="tx1"/>
            </a:solidFill>
          </a:ln>
        </p:spPr>
      </p:pic>
    </p:spTree>
    <p:extLst>
      <p:ext uri="{BB962C8B-B14F-4D97-AF65-F5344CB8AC3E}">
        <p14:creationId xmlns:p14="http://schemas.microsoft.com/office/powerpoint/2010/main" val="1691279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1500"/>
                            </p:stCondLst>
                            <p:childTnLst>
                              <p:par>
                                <p:cTn id="12" presetID="10" presetClass="entr" presetSubtype="0" fill="hold" grpId="0" nodeType="afterEffect">
                                  <p:stCondLst>
                                    <p:cond delay="0"/>
                                  </p:stCondLst>
                                  <p:childTnLst>
                                    <p:set>
                                      <p:cBhvr>
                                        <p:cTn id="13" dur="1" fill="hold">
                                          <p:stCondLst>
                                            <p:cond delay="0"/>
                                          </p:stCondLst>
                                        </p:cTn>
                                        <p:tgtEl>
                                          <p:spTgt spid="8">
                                            <p:graphicEl>
                                              <a:dgm id="{63FC1FE9-0BD7-4E0E-9187-5D957E97DB20}"/>
                                            </p:graphicEl>
                                          </p:spTgt>
                                        </p:tgtEl>
                                        <p:attrNameLst>
                                          <p:attrName>style.visibility</p:attrName>
                                        </p:attrNameLst>
                                      </p:cBhvr>
                                      <p:to>
                                        <p:strVal val="visible"/>
                                      </p:to>
                                    </p:set>
                                    <p:animEffect transition="in" filter="fade">
                                      <p:cBhvr>
                                        <p:cTn id="14" dur="500"/>
                                        <p:tgtEl>
                                          <p:spTgt spid="8">
                                            <p:graphicEl>
                                              <a:dgm id="{63FC1FE9-0BD7-4E0E-9187-5D957E97DB20}"/>
                                            </p:graphicEl>
                                          </p:spTgt>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8">
                                            <p:graphicEl>
                                              <a:dgm id="{DBCD4A4B-4A7B-4F56-939C-CC772B5E474C}"/>
                                            </p:graphicEl>
                                          </p:spTgt>
                                        </p:tgtEl>
                                        <p:attrNameLst>
                                          <p:attrName>style.visibility</p:attrName>
                                        </p:attrNameLst>
                                      </p:cBhvr>
                                      <p:to>
                                        <p:strVal val="visible"/>
                                      </p:to>
                                    </p:set>
                                    <p:animEffect transition="in" filter="fade">
                                      <p:cBhvr>
                                        <p:cTn id="18" dur="500"/>
                                        <p:tgtEl>
                                          <p:spTgt spid="8">
                                            <p:graphicEl>
                                              <a:dgm id="{DBCD4A4B-4A7B-4F56-939C-CC772B5E474C}"/>
                                            </p:graphicEl>
                                          </p:spTgt>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8">
                                            <p:graphicEl>
                                              <a:dgm id="{24F7414B-96AC-4156-B5A9-E9256EE3A38B}"/>
                                            </p:graphicEl>
                                          </p:spTgt>
                                        </p:tgtEl>
                                        <p:attrNameLst>
                                          <p:attrName>style.visibility</p:attrName>
                                        </p:attrNameLst>
                                      </p:cBhvr>
                                      <p:to>
                                        <p:strVal val="visible"/>
                                      </p:to>
                                    </p:set>
                                    <p:animEffect transition="in" filter="fade">
                                      <p:cBhvr>
                                        <p:cTn id="22" dur="500"/>
                                        <p:tgtEl>
                                          <p:spTgt spid="8">
                                            <p:graphicEl>
                                              <a:dgm id="{24F7414B-96AC-4156-B5A9-E9256EE3A38B}"/>
                                            </p:graphicEl>
                                          </p:spTgt>
                                        </p:tgtEl>
                                      </p:cBhvr>
                                    </p:animEffect>
                                  </p:childTnLst>
                                </p:cTn>
                              </p:par>
                            </p:childTnLst>
                          </p:cTn>
                        </p:par>
                        <p:par>
                          <p:cTn id="23" fill="hold">
                            <p:stCondLst>
                              <p:cond delay="3000"/>
                            </p:stCondLst>
                            <p:childTnLst>
                              <p:par>
                                <p:cTn id="24" presetID="10" presetClass="entr" presetSubtype="0" fill="hold" grpId="0" nodeType="afterEffect">
                                  <p:stCondLst>
                                    <p:cond delay="0"/>
                                  </p:stCondLst>
                                  <p:childTnLst>
                                    <p:set>
                                      <p:cBhvr>
                                        <p:cTn id="25" dur="1" fill="hold">
                                          <p:stCondLst>
                                            <p:cond delay="0"/>
                                          </p:stCondLst>
                                        </p:cTn>
                                        <p:tgtEl>
                                          <p:spTgt spid="8">
                                            <p:graphicEl>
                                              <a:dgm id="{CACC16B1-C980-478D-81B9-9497B45E3E3C}"/>
                                            </p:graphicEl>
                                          </p:spTgt>
                                        </p:tgtEl>
                                        <p:attrNameLst>
                                          <p:attrName>style.visibility</p:attrName>
                                        </p:attrNameLst>
                                      </p:cBhvr>
                                      <p:to>
                                        <p:strVal val="visible"/>
                                      </p:to>
                                    </p:set>
                                    <p:animEffect transition="in" filter="fade">
                                      <p:cBhvr>
                                        <p:cTn id="26" dur="500"/>
                                        <p:tgtEl>
                                          <p:spTgt spid="8">
                                            <p:graphicEl>
                                              <a:dgm id="{CACC16B1-C980-478D-81B9-9497B45E3E3C}"/>
                                            </p:graphicEl>
                                          </p:spTgt>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8">
                                            <p:graphicEl>
                                              <a:dgm id="{2125485D-B99F-4AE6-820E-13A0D61AC020}"/>
                                            </p:graphicEl>
                                          </p:spTgt>
                                        </p:tgtEl>
                                        <p:attrNameLst>
                                          <p:attrName>style.visibility</p:attrName>
                                        </p:attrNameLst>
                                      </p:cBhvr>
                                      <p:to>
                                        <p:strVal val="visible"/>
                                      </p:to>
                                    </p:set>
                                    <p:animEffect transition="in" filter="fade">
                                      <p:cBhvr>
                                        <p:cTn id="30" dur="500"/>
                                        <p:tgtEl>
                                          <p:spTgt spid="8">
                                            <p:graphicEl>
                                              <a:dgm id="{2125485D-B99F-4AE6-820E-13A0D61AC020}"/>
                                            </p:graphicEl>
                                          </p:spTgt>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8">
                                            <p:graphicEl>
                                              <a:dgm id="{0A5FC056-6CC5-44D7-A0D8-7CEF7B9C6F1F}"/>
                                            </p:graphicEl>
                                          </p:spTgt>
                                        </p:tgtEl>
                                        <p:attrNameLst>
                                          <p:attrName>style.visibility</p:attrName>
                                        </p:attrNameLst>
                                      </p:cBhvr>
                                      <p:to>
                                        <p:strVal val="visible"/>
                                      </p:to>
                                    </p:set>
                                    <p:animEffect transition="in" filter="fade">
                                      <p:cBhvr>
                                        <p:cTn id="34" dur="500"/>
                                        <p:tgtEl>
                                          <p:spTgt spid="8">
                                            <p:graphicEl>
                                              <a:dgm id="{0A5FC056-6CC5-44D7-A0D8-7CEF7B9C6F1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8" grpId="0" uiExpand="1">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941026" y="1620131"/>
            <a:ext cx="5393894" cy="4106445"/>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solidFill>
                  <a:srgbClr val="505050"/>
                </a:solidFill>
                <a:latin typeface="Segoe UI" panose="020B0502040204020203" pitchFamily="34" charset="0"/>
              </a:rPr>
              <a:t>Collect and correlate data from multiple sources</a:t>
            </a:r>
          </a:p>
          <a:p>
            <a:r>
              <a:rPr lang="en-US" sz="2448" dirty="0">
                <a:solidFill>
                  <a:srgbClr val="505050"/>
                </a:solidFill>
                <a:latin typeface="Segoe UI" panose="020B0502040204020203" pitchFamily="34" charset="0"/>
              </a:rPr>
              <a:t>Collect and analyze Azure activity logs</a:t>
            </a:r>
          </a:p>
          <a:p>
            <a:r>
              <a:rPr lang="en-US" sz="2448" dirty="0">
                <a:solidFill>
                  <a:srgbClr val="505050"/>
                </a:solidFill>
                <a:latin typeface="Segoe UI" panose="020B0502040204020203" pitchFamily="34" charset="0"/>
              </a:rPr>
              <a:t>Customize dashboards to focus on what matters most to you</a:t>
            </a:r>
          </a:p>
          <a:p>
            <a:r>
              <a:rPr lang="en-US" sz="2448" dirty="0">
                <a:solidFill>
                  <a:srgbClr val="505050"/>
                </a:solidFill>
                <a:latin typeface="Segoe UI" panose="020B0502040204020203" pitchFamily="34" charset="0"/>
              </a:rPr>
              <a:t>Perform rich data exploration with interactive queries</a:t>
            </a:r>
          </a:p>
          <a:p>
            <a:r>
              <a:rPr lang="en-US" sz="2448" dirty="0">
                <a:solidFill>
                  <a:srgbClr val="505050"/>
                </a:solidFill>
                <a:latin typeface="Segoe UI" panose="020B0502040204020203" pitchFamily="34" charset="0"/>
              </a:rPr>
              <a:t>Use smart analytics powered by machine learning</a:t>
            </a:r>
          </a:p>
          <a:p>
            <a:r>
              <a:rPr lang="en-US" sz="2448" dirty="0">
                <a:solidFill>
                  <a:srgbClr val="505050"/>
                </a:solidFill>
                <a:latin typeface="Segoe UI" panose="020B0502040204020203" pitchFamily="34" charset="0"/>
              </a:rPr>
              <a:t>Turn insights into action with built-in notification and automation</a:t>
            </a:r>
          </a:p>
        </p:txBody>
      </p:sp>
      <p:sp>
        <p:nvSpPr>
          <p:cNvPr id="2" name="Title 1"/>
          <p:cNvSpPr>
            <a:spLocks noGrp="1"/>
          </p:cNvSpPr>
          <p:nvPr>
            <p:ph type="title"/>
          </p:nvPr>
        </p:nvSpPr>
        <p:spPr>
          <a:xfrm>
            <a:off x="0" y="0"/>
            <a:ext cx="12436475" cy="1071417"/>
          </a:xfrm>
          <a:solidFill>
            <a:schemeClr val="accent1"/>
          </a:solidFill>
          <a:effectLst/>
        </p:spPr>
        <p:txBody>
          <a:bodyPr vert="horz" wrap="square" lIns="146304" tIns="91440" rIns="146304" bIns="91440" rtlCol="0" anchor="ctr">
            <a:noAutofit/>
          </a:bodyPr>
          <a:lstStyle/>
          <a:p>
            <a:r>
              <a:rPr lang="en-GB" spc="0" dirty="0">
                <a:ln/>
                <a:solidFill>
                  <a:srgbClr val="FFFFFF"/>
                </a:solidFill>
                <a:latin typeface="Segoe UI Light"/>
              </a:rPr>
              <a:t>Log Analytics</a:t>
            </a:r>
          </a:p>
        </p:txBody>
      </p:sp>
      <p:pic>
        <p:nvPicPr>
          <p:cNvPr id="2050" name="Picture 2" descr="https://azurecomcdn.azureedge.net/cvt-0977e077c364093de92527097be01c8146690f9a69e7b78112c7db59e9f730c8/images/page/services/operational-insights/00-overview.png">
            <a:extLst>
              <a:ext uri="{FF2B5EF4-FFF2-40B4-BE49-F238E27FC236}">
                <a16:creationId xmlns:a16="http://schemas.microsoft.com/office/drawing/2014/main" id="{C590A83E-3F81-4DB3-BAF5-CCE992A4642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87951" y="2307316"/>
            <a:ext cx="3060105" cy="19429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comcdn.azureedge.net/cvt-3fc01a0e37054acaf8f55d320dae6fcc78c149ce68244e35321c217d57b656e5/images/page/services/operational-insights/turn-insights.png">
            <a:extLst>
              <a:ext uri="{FF2B5EF4-FFF2-40B4-BE49-F238E27FC236}">
                <a16:creationId xmlns:a16="http://schemas.microsoft.com/office/drawing/2014/main" id="{CC9B1064-A517-4188-87C3-6C3CE882BF8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077404" y="4672731"/>
            <a:ext cx="2253791" cy="2321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52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4778</TotalTime>
  <Words>6365</Words>
  <Application>Microsoft Office PowerPoint</Application>
  <PresentationFormat>Custom</PresentationFormat>
  <Paragraphs>1394</Paragraphs>
  <Slides>69</Slides>
  <Notes>67</Notes>
  <HiddenSlides>13</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81" baseType="lpstr">
      <vt:lpstr>Arial</vt:lpstr>
      <vt:lpstr>Calibri</vt:lpstr>
      <vt:lpstr>Consolas</vt:lpstr>
      <vt:lpstr>Segoe Pro</vt:lpstr>
      <vt:lpstr>Segoe UI</vt:lpstr>
      <vt:lpstr>Segoe UI Bold</vt:lpstr>
      <vt:lpstr>Segoe UI Light</vt:lpstr>
      <vt:lpstr>Segoe UI Semibold</vt:lpstr>
      <vt:lpstr>Segoe UI Semilight</vt:lpstr>
      <vt:lpstr>Wingdings</vt:lpstr>
      <vt:lpstr>MS-Blue2</vt:lpstr>
      <vt:lpstr>think-cell Slide</vt:lpstr>
      <vt:lpstr>Design for Operations</vt:lpstr>
      <vt:lpstr>PowerPoint Presentation</vt:lpstr>
      <vt:lpstr>Azure is a cloud partnership</vt:lpstr>
      <vt:lpstr>PowerPoint Presentation</vt:lpstr>
      <vt:lpstr>Design an application monitoring and alerting strategy</vt:lpstr>
      <vt:lpstr>What does visibility mean to you?</vt:lpstr>
      <vt:lpstr>Azure Monitor</vt:lpstr>
      <vt:lpstr>PowerPoint Presentation</vt:lpstr>
      <vt:lpstr>Log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lication Insights</vt:lpstr>
      <vt:lpstr>Application Insights Ecosystem</vt:lpstr>
      <vt:lpstr>PowerPoint Presentation</vt:lpstr>
      <vt:lpstr>Application Map</vt:lpstr>
      <vt:lpstr>PowerPoint Presentation</vt:lpstr>
      <vt:lpstr>Design a platform monitoring and alerting strategy</vt:lpstr>
      <vt:lpstr>Azure Resource Health</vt:lpstr>
      <vt:lpstr>Azure Advisor</vt:lpstr>
      <vt:lpstr>Azure Activity Log</vt:lpstr>
      <vt:lpstr>Network Watch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an operations automation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Azure Automation - DSC</vt:lpstr>
      <vt:lpstr>Azure Event Grid</vt:lpstr>
      <vt:lpstr>Manage all events in one place</vt:lpstr>
      <vt:lpstr>Scenarios</vt:lpstr>
      <vt:lpstr>PowerPoint Presentation</vt:lpstr>
      <vt:lpstr>PowerPoint Presentation</vt:lpstr>
      <vt:lpstr>PowerPoint Presentation</vt:lpstr>
      <vt:lpstr>Topics in Motion  - Recent changes to 70-535 exam - Moved from Operations to Compute objective</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Backup Scenario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Patrick El-Azem</cp:lastModifiedBy>
  <cp:revision>360</cp:revision>
  <cp:lastPrinted>2016-01-18T01:17:12Z</cp:lastPrinted>
  <dcterms:created xsi:type="dcterms:W3CDTF">2015-10-04T02:15:29Z</dcterms:created>
  <dcterms:modified xsi:type="dcterms:W3CDTF">2018-05-15T16:5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